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slideLayouts/slideLayout57.xml" ContentType="application/vnd.openxmlformats-officedocument.presentationml.slideLayout+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charts/colors6.xml" ContentType="application/vnd.ms-office.chartcolorstyl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charts/style11.xml" ContentType="application/vnd.ms-office.chartstyl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heme/themeOverride1.xml" ContentType="application/vnd.openxmlformats-officedocument.themeOverride+xml"/>
  <Override PartName="/ppt/charts/chart13.xml" ContentType="application/vnd.openxmlformats-officedocument.drawingml.chart+xml"/>
  <Override PartName="/ppt/tableStyles.xml" ContentType="application/vnd.openxmlformats-officedocument.presentationml.tableStyles+xml"/>
  <Override PartName="/ppt/tags/tag16.xml" ContentType="application/vnd.openxmlformats-officedocument.presentationml.tags+xml"/>
  <Override PartName="/ppt/ink/ink2.xml" ContentType="application/inkml+xml"/>
  <Override PartName="/ppt/charts/colors12.xml" ContentType="application/vnd.ms-office.chartcolorstyle+xml"/>
  <Override PartName="/ppt/slideMasters/slideMaster8.xml" ContentType="application/vnd.openxmlformats-officedocument.presentationml.slideMaster+xml"/>
  <Override PartName="/ppt/charts/chart7.xml" ContentType="application/vnd.openxmlformats-officedocument.drawingml.chart+xml"/>
  <Override PartName="/ppt/charts/style9.xml" ContentType="application/vnd.ms-office.chartstyle+xml"/>
  <Override PartName="/ppt/tags/tag12.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charts/style5.xml" ContentType="application/vnd.ms-office.chartstyl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Default Extension="bin" ContentType="application/vnd.openxmlformats-officedocument.oleObject"/>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charts/colors7.xml" ContentType="application/vnd.ms-office.chartcolorstyle+xml"/>
  <Override PartName="/ppt/charts/style12.xml" ContentType="application/vnd.ms-office.chart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ink/ink3.xml" ContentType="application/inkml+xml"/>
  <Override PartName="/ppt/charts/colors3.xml" ContentType="application/vnd.ms-office.chartcolorstyle+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charts/chart8.xml" ContentType="application/vnd.openxmlformats-officedocument.drawingml.chart+xml"/>
  <Override PartName="/ppt/slideMasters/slideMaster9.xml" ContentType="application/vnd.openxmlformats-officedocument.presentationml.slideMaster+xml"/>
  <Override PartName="/ppt/slideLayouts/slideLayout10.xml" ContentType="application/vnd.openxmlformats-officedocument.presentationml.slideLayout+xml"/>
  <Default Extension="vml" ContentType="application/vnd.openxmlformats-officedocument.vmlDrawing"/>
  <Override PartName="/ppt/charts/chart10.xml" ContentType="application/vnd.openxmlformats-officedocument.drawingml.chart+xml"/>
  <Override PartName="/ppt/tags/tag13.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heme/theme7.xml" ContentType="application/vnd.openxmlformats-officedocument.theme+xml"/>
  <Override PartName="/ppt/theme/theme11.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Default Extension="svg" ContentType="image/svg+xml"/>
  <Override PartName="/ppt/charts/colors8.xml" ContentType="application/vnd.ms-office.chartcolorstyle+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xml" ContentType="application/vnd.openxmlformats-officedocument.presentationml.tags+xml"/>
  <Override PartName="/ppt/charts/colors4.xml" ContentType="application/vnd.ms-office.chartcolorstyl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ink/ink4.xml" ContentType="application/inkml+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commentAuthors.xml" ContentType="application/vnd.openxmlformats-officedocument.presentationml.commentAuthors+xml"/>
  <Override PartName="/ppt/tags/tag14.xml" ContentType="application/vnd.openxmlformats-officedocument.presentationml.tags+xml"/>
  <Override PartName="/ppt/charts/style7.xml" ContentType="application/vnd.ms-office.chartstyle+xml"/>
  <Override PartName="/ppt/charts/colors10.xml" ContentType="application/vnd.ms-office.chartcolorstyle+xml"/>
  <Override PartName="/ppt/slideMasters/slideMaster6.xml" ContentType="application/vnd.openxmlformats-officedocument.presentationml.slideMaster+xml"/>
  <Override PartName="/ppt/theme/theme8.xml" ContentType="application/vnd.openxmlformats-officedocument.theme+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charts/colors9.xml" ContentType="application/vnd.ms-office.chartcolor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Override PartName="/ppt/charts/colors5.xml" ContentType="application/vnd.ms-office.chartcolorstyle+xml"/>
  <Override PartName="/ppt/charts/style10.xml" ContentType="application/vnd.ms-office.chart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Default Extension="xlsb" ContentType="application/vnd.ms-excel.sheet.binary.macroEnabled.12"/>
  <Override PartName="/ppt/ink/ink5.xml" ContentType="application/inkml+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charts/chart12.xml" ContentType="application/vnd.openxmlformats-officedocument.drawingml.chart+xml"/>
  <Override PartName="/ppt/ink/ink1.xml" ContentType="application/inkml+xml"/>
  <Override PartName="/ppt/charts/colors1.xml" ContentType="application/vnd.ms-office.chartcolorstyle+xml"/>
  <Override PartName="/ppt/charts/colors11.xml" ContentType="application/vnd.ms-office.chartcolorstyle+xml"/>
  <Override PartName="/ppt/tags/tag15.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slideMasters/slideMaster7.xml" ContentType="application/vnd.openxmlformats-officedocument.presentationml.slideMaster+xml"/>
  <Override PartName="/ppt/theme/theme9.xml" ContentType="application/vnd.openxmlformats-officedocument.theme+xml"/>
  <Override PartName="/ppt/slides/slide8.xml" ContentType="application/vnd.openxmlformats-officedocument.presentationml.slide+xml"/>
  <Override PartName="/ppt/slideLayouts/slideLayout68.xml" ContentType="application/vnd.openxmlformats-officedocument.presentationml.slideLayout+xml"/>
  <Override PartName="/ppt/tags/tag11.xml" ContentType="application/vnd.openxmlformats-officedocument.presentationml.tags+xml"/>
  <Override PartName="/ppt/charts/chart2.xml" ContentType="application/vnd.openxmlformats-officedocument.drawingml.chart+xml"/>
  <Override PartName="/ppt/charts/style4.xml" ContentType="application/vnd.ms-office.chartstyle+xml"/>
  <Override PartName="/ppt/slides/slide29.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 id="2147483797" r:id="rId2"/>
    <p:sldMasterId id="2147483808" r:id="rId3"/>
    <p:sldMasterId id="2147483821" r:id="rId4"/>
    <p:sldMasterId id="2147483834" r:id="rId5"/>
    <p:sldMasterId id="2147483859" r:id="rId6"/>
    <p:sldMasterId id="2147483872" r:id="rId7"/>
    <p:sldMasterId id="2147483878" r:id="rId8"/>
    <p:sldMasterId id="2147483898" r:id="rId9"/>
  </p:sldMasterIdLst>
  <p:notesMasterIdLst>
    <p:notesMasterId r:id="rId48"/>
  </p:notesMasterIdLst>
  <p:handoutMasterIdLst>
    <p:handoutMasterId r:id="rId49"/>
  </p:handoutMasterIdLst>
  <p:sldIdLst>
    <p:sldId id="2082" r:id="rId10"/>
    <p:sldId id="2145707328" r:id="rId11"/>
    <p:sldId id="2145707239" r:id="rId12"/>
    <p:sldId id="2145707242" r:id="rId13"/>
    <p:sldId id="2145707243" r:id="rId14"/>
    <p:sldId id="2145707244" r:id="rId15"/>
    <p:sldId id="2145707245" r:id="rId16"/>
    <p:sldId id="2145707331" r:id="rId17"/>
    <p:sldId id="2145707212" r:id="rId18"/>
    <p:sldId id="2145707255" r:id="rId19"/>
    <p:sldId id="2145707256" r:id="rId20"/>
    <p:sldId id="2145707258" r:id="rId21"/>
    <p:sldId id="2616" r:id="rId22"/>
    <p:sldId id="2145707237" r:id="rId23"/>
    <p:sldId id="2145707354" r:id="rId24"/>
    <p:sldId id="2145707355" r:id="rId25"/>
    <p:sldId id="2145707356" r:id="rId26"/>
    <p:sldId id="2145707357" r:id="rId27"/>
    <p:sldId id="2145707358" r:id="rId28"/>
    <p:sldId id="2145707220" r:id="rId29"/>
    <p:sldId id="294" r:id="rId30"/>
    <p:sldId id="271" r:id="rId31"/>
    <p:sldId id="2145707348" r:id="rId32"/>
    <p:sldId id="2145707206" r:id="rId33"/>
    <p:sldId id="2145707333" r:id="rId34"/>
    <p:sldId id="2145707334" r:id="rId35"/>
    <p:sldId id="2145707335" r:id="rId36"/>
    <p:sldId id="2145707336" r:id="rId37"/>
    <p:sldId id="2145707350" r:id="rId38"/>
    <p:sldId id="2145707351" r:id="rId39"/>
    <p:sldId id="2145707352" r:id="rId40"/>
    <p:sldId id="2145707346" r:id="rId41"/>
    <p:sldId id="2289" r:id="rId42"/>
    <p:sldId id="2145707340" r:id="rId43"/>
    <p:sldId id="2145707341" r:id="rId44"/>
    <p:sldId id="2145707342" r:id="rId45"/>
    <p:sldId id="2145707343" r:id="rId46"/>
    <p:sldId id="2145707344" r:id="rId47"/>
  </p:sldIdLst>
  <p:sldSz cx="12638088" cy="6858000"/>
  <p:notesSz cx="7315200" cy="9601200"/>
  <p:defaultTex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183" userDrawn="1">
          <p15:clr>
            <a:srgbClr val="A4A3A4"/>
          </p15:clr>
        </p15:guide>
        <p15:guide id="2" pos="4026" userDrawn="1">
          <p15:clr>
            <a:srgbClr val="A4A3A4"/>
          </p15:clr>
        </p15:guide>
        <p15:guide id="3" orient="horz" pos="3453" userDrawn="1">
          <p15:clr>
            <a:srgbClr val="A4A3A4"/>
          </p15:clr>
        </p15:guide>
        <p15:guide id="4" pos="1826" userDrawn="1">
          <p15:clr>
            <a:srgbClr val="A4A3A4"/>
          </p15:clr>
        </p15:guide>
      </p15:sldGuideLst>
    </p:ext>
    <p:ext uri="{2D200454-40CA-4A62-9FC3-DE9A4176ACB9}">
      <p15:notesGuideLst xmlns:p15="http://schemas.microsoft.com/office/powerpoint/2012/main" xmlns="">
        <p15:guide id="1" orient="horz" pos="3023"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khiwo Makhanya" initials="SM" lastIdx="0" clrIdx="0">
    <p:extLst>
      <p:ext uri="{19B8F6BF-5375-455C-9EA6-DF929625EA0E}">
        <p15:presenceInfo xmlns:p15="http://schemas.microsoft.com/office/powerpoint/2012/main" xmlns="" userId="S-1-5-21-1289566852-2462759627-2482189774-1644" providerId="AD"/>
      </p:ext>
    </p:extLst>
  </p:cmAuthor>
  <p:cmAuthor id="2" name="Pragasen Naidoo" initials="PN" lastIdx="8" clrIdx="1">
    <p:extLst>
      <p:ext uri="{19B8F6BF-5375-455C-9EA6-DF929625EA0E}">
        <p15:presenceInfo xmlns:p15="http://schemas.microsoft.com/office/powerpoint/2012/main" xmlns="" userId="S-1-5-21-1289566852-2462759627-2482189774-8709" providerId="AD"/>
      </p:ext>
    </p:extLst>
  </p:cmAuthor>
  <p:cmAuthor id="3" name="Zovuyo Xuma" initials="ZX" lastIdx="36" clrIdx="2">
    <p:extLst>
      <p:ext uri="{19B8F6BF-5375-455C-9EA6-DF929625EA0E}">
        <p15:presenceInfo xmlns:p15="http://schemas.microsoft.com/office/powerpoint/2012/main" xmlns="" userId="S-1-5-21-1289566852-2462759627-2482189774-26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FF"/>
    <a:srgbClr val="F18B1B"/>
    <a:srgbClr val="000099"/>
    <a:srgbClr val="CC3300"/>
    <a:srgbClr val="A5A5A5"/>
    <a:srgbClr val="002D71"/>
    <a:srgbClr val="00FF00"/>
    <a:srgbClr val="006464"/>
    <a:srgbClr val="3A6A93"/>
    <a:srgbClr val="00F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10" autoAdjust="0"/>
    <p:restoredTop sz="95228" autoAdjust="0"/>
  </p:normalViewPr>
  <p:slideViewPr>
    <p:cSldViewPr snapToGrid="0" snapToObjects="1">
      <p:cViewPr varScale="1">
        <p:scale>
          <a:sx n="69" d="100"/>
          <a:sy n="69" d="100"/>
        </p:scale>
        <p:origin x="-618" y="-108"/>
      </p:cViewPr>
      <p:guideLst>
        <p:guide orient="horz" pos="2183"/>
        <p:guide orient="horz" pos="3453"/>
        <p:guide pos="4026"/>
        <p:guide pos="1826"/>
      </p:guideLst>
    </p:cSldViewPr>
  </p:slideViewPr>
  <p:outlineViewPr>
    <p:cViewPr>
      <p:scale>
        <a:sx n="33" d="100"/>
        <a:sy n="33" d="100"/>
      </p:scale>
      <p:origin x="0" y="-18414"/>
    </p:cViewPr>
  </p:outlineViewPr>
  <p:notesTextViewPr>
    <p:cViewPr>
      <p:scale>
        <a:sx n="3" d="2"/>
        <a:sy n="3" d="2"/>
      </p:scale>
      <p:origin x="0" y="0"/>
    </p:cViewPr>
  </p:notesTextViewPr>
  <p:sorterViewPr>
    <p:cViewPr varScale="1">
      <p:scale>
        <a:sx n="100" d="100"/>
        <a:sy n="100" d="100"/>
      </p:scale>
      <p:origin x="0" y="-4099"/>
    </p:cViewPr>
  </p:sorterViewPr>
  <p:notesViewPr>
    <p:cSldViewPr snapToGrid="0" snapToObjects="1">
      <p:cViewPr varScale="1">
        <p:scale>
          <a:sx n="59" d="100"/>
          <a:sy n="59" d="100"/>
        </p:scale>
        <p:origin x="-2741" y="-72"/>
      </p:cViewPr>
      <p:guideLst>
        <p:guide orient="horz" pos="3023"/>
        <p:guide pos="2304"/>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Binary_Worksheet1.xlsb"/><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microsoft.com/office/2011/relationships/chartStyle" Target="style9.xml"/><Relationship Id="rId2" Type="http://schemas.microsoft.com/office/2011/relationships/chartColorStyle" Target="colors9.xml"/><Relationship Id="rId1" Type="http://schemas.openxmlformats.org/officeDocument/2006/relationships/package" Target="../embeddings/Microsoft_Office_Excel_Worksheet8.xlsx"/></Relationships>
</file>

<file path=ppt/charts/_rels/chart11.xml.rels><?xml version="1.0" encoding="UTF-8" standalone="yes"?>
<Relationships xmlns="http://schemas.openxmlformats.org/package/2006/relationships"><Relationship Id="rId3" Type="http://schemas.microsoft.com/office/2011/relationships/chartStyle" Target="style10.xml"/><Relationship Id="rId2" Type="http://schemas.microsoft.com/office/2011/relationships/chartColorStyle" Target="colors10.xml"/><Relationship Id="rId1" Type="http://schemas.openxmlformats.org/officeDocument/2006/relationships/package" Target="../embeddings/Microsoft_Office_Excel_Worksheet9.xlsx"/></Relationships>
</file>

<file path=ppt/charts/_rels/chart12.xml.rels><?xml version="1.0" encoding="UTF-8" standalone="yes"?>
<Relationships xmlns="http://schemas.openxmlformats.org/package/2006/relationships"><Relationship Id="rId3" Type="http://schemas.microsoft.com/office/2011/relationships/chartStyle" Target="style11.xml"/><Relationship Id="rId2" Type="http://schemas.microsoft.com/office/2011/relationships/chartColorStyle" Target="colors11.xml"/><Relationship Id="rId1" Type="http://schemas.openxmlformats.org/officeDocument/2006/relationships/package" Target="../embeddings/Microsoft_Office_Excel_Worksheet10.xlsx"/></Relationships>
</file>

<file path=ppt/charts/_rels/chart13.xml.rels><?xml version="1.0" encoding="UTF-8" standalone="yes"?>
<Relationships xmlns="http://schemas.openxmlformats.org/package/2006/relationships"><Relationship Id="rId3" Type="http://schemas.microsoft.com/office/2011/relationships/chartStyle" Target="style12.xml"/><Relationship Id="rId2" Type="http://schemas.microsoft.com/office/2011/relationships/chartColorStyle" Target="colors12.xml"/><Relationship Id="rId1" Type="http://schemas.openxmlformats.org/officeDocument/2006/relationships/oleObject" Target="file:///C:\Users\mogorosil\Documents\Planning%20and%20Performance\Corporate%20Planning\Quarterly%20Business%20Performance%20Reporting\Q3_2021_22\CEF%20Group%20Q3%202021_2022%20Scorecard%20v7.xlsx" TargetMode="External"/></Relationships>
</file>

<file path=ppt/charts/_rels/chart2.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Office_Excel_Worksheet4.xlsx"/></Relationships>
</file>

<file path=ppt/charts/_rels/chart5.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Office_Excel_Worksheet5.xlsx"/></Relationships>
</file>

<file path=ppt/charts/_rels/chart6.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Microsoft_Office_Excel_Worksheet6.xlsx"/></Relationships>
</file>

<file path=ppt/charts/_rels/chart7.xml.rels><?xml version="1.0" encoding="UTF-8" standalone="yes"?>
<Relationships xmlns="http://schemas.openxmlformats.org/package/2006/relationships"><Relationship Id="rId3" Type="http://schemas.microsoft.com/office/2011/relationships/chartColorStyle" Target="colors6.xml"/><Relationship Id="rId2" Type="http://schemas.openxmlformats.org/officeDocument/2006/relationships/oleObject" Target="file:///C:\Users\mogorosil\Documents\Planning%20and%20Performance\Corporate%20Planning\Quarterly%20Business%20Performance%20Reporting\Q4_2020_21\CEF%20Group%20Q4%202020_21%20Scorecard%20v3.xlsx" TargetMode="External"/><Relationship Id="rId1" Type="http://schemas.openxmlformats.org/officeDocument/2006/relationships/themeOverride" Target="../theme/themeOverride2.xml"/><Relationship Id="rId4" Type="http://schemas.microsoft.com/office/2011/relationships/chartStyle" Target="style6.xml"/></Relationships>
</file>

<file path=ppt/charts/_rels/chart8.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oleObject" Target="file:///C:\Users\mogorosil\Documents\Planning%20and%20Performance\Corporate%20Planning\Quarterly%20Business%20Performance%20Reporting\Q3_2021_22\CEF%20Group%20Q3%202021_2022%20Scorecard%20v1.xlsx" TargetMode="External"/></Relationships>
</file>

<file path=ppt/charts/_rels/chart9.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package" Target="../embeddings/Microsoft_Office_Excel_Worksheet7.xlsx"/></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plotArea>
      <c:layout>
        <c:manualLayout>
          <c:layoutTarget val="inner"/>
          <c:xMode val="edge"/>
          <c:yMode val="edge"/>
          <c:x val="1.6336789192585615E-2"/>
          <c:y val="1.7373872368860677E-2"/>
          <c:w val="0.96732642161482874"/>
          <c:h val="0.96525225526227854"/>
        </c:manualLayout>
      </c:layout>
      <c:barChart>
        <c:barDir val="col"/>
        <c:grouping val="stacked"/>
        <c:ser>
          <c:idx val="0"/>
          <c:order val="0"/>
          <c:spPr>
            <a:solidFill>
              <a:srgbClr val="A6A6A6"/>
            </a:solidFill>
            <a:ln w="9525" algn="ctr">
              <a:solidFill>
                <a:srgbClr val="FFFFFF"/>
              </a:solidFill>
              <a:prstDash val="solid"/>
            </a:ln>
          </c:spPr>
          <c:dPt>
            <c:idx val="2"/>
            <c:spPr>
              <a:solidFill>
                <a:schemeClr val="folHlink"/>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1-5F03-428E-A8F7-4E6FDAD833ED}"/>
              </c:ext>
            </c:extLst>
          </c:dPt>
          <c:val>
            <c:numRef>
              <c:f>Sheet1!$A$1:$G$1</c:f>
              <c:numCache>
                <c:formatCode>General</c:formatCode>
                <c:ptCount val="7"/>
                <c:pt idx="0">
                  <c:v>0.8</c:v>
                </c:pt>
                <c:pt idx="1">
                  <c:v>0.2</c:v>
                </c:pt>
                <c:pt idx="2">
                  <c:v>-8.9</c:v>
                </c:pt>
                <c:pt idx="3">
                  <c:v>4.9000000000000004</c:v>
                </c:pt>
                <c:pt idx="4">
                  <c:v>3.1</c:v>
                </c:pt>
                <c:pt idx="5">
                  <c:v>2.4</c:v>
                </c:pt>
                <c:pt idx="6">
                  <c:v>2.6</c:v>
                </c:pt>
              </c:numCache>
            </c:numRef>
          </c:val>
          <c:extLst xmlns:c16r2="http://schemas.microsoft.com/office/drawing/2015/06/chart">
            <c:ext xmlns:c16="http://schemas.microsoft.com/office/drawing/2014/chart" uri="{C3380CC4-5D6E-409C-BE32-E72D297353CC}">
              <c16:uniqueId val="{00000002-5F03-428E-A8F7-4E6FDAD833ED}"/>
            </c:ext>
          </c:extLst>
        </c:ser>
        <c:dLbls/>
        <c:gapWidth val="0"/>
        <c:overlap val="100"/>
        <c:axId val="206308096"/>
        <c:axId val="206310016"/>
      </c:barChart>
      <c:catAx>
        <c:axId val="206308096"/>
        <c:scaling>
          <c:orientation val="minMax"/>
        </c:scaling>
        <c:axPos val="b"/>
        <c:majorGridlines>
          <c:spPr>
            <a:ln>
              <a:noFill/>
            </a:ln>
          </c:spPr>
        </c:majorGridlines>
        <c:majorTickMark val="none"/>
        <c:tickLblPos val="none"/>
        <c:spPr>
          <a:ln w="9525" algn="ctr">
            <a:solidFill>
              <a:schemeClr val="tx1"/>
            </a:solidFill>
            <a:prstDash val="solid"/>
          </a:ln>
        </c:spPr>
        <c:crossAx val="206310016"/>
        <c:crossesAt val="0"/>
        <c:lblAlgn val="ctr"/>
        <c:lblOffset val="100"/>
      </c:catAx>
      <c:valAx>
        <c:axId val="206310016"/>
        <c:scaling>
          <c:orientation val="minMax"/>
          <c:max val="18.065363053738299"/>
          <c:min val="-13.322425741821755"/>
        </c:scaling>
        <c:delete val="1"/>
        <c:axPos val="l"/>
        <c:numFmt formatCode="General" sourceLinked="1"/>
        <c:tickLblPos val="none"/>
        <c:crossAx val="206308096"/>
        <c:crosses val="min"/>
        <c:crossBetween val="between"/>
      </c:valAx>
    </c:plotArea>
    <c:dispBlanksAs val="gap"/>
    <c:showDLblsOverMax val="1"/>
  </c:chart>
  <c:externalData r:id="rId2"/>
</c:chartSpace>
</file>

<file path=ppt/charts/chart10.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000" b="1" i="0" u="none" strike="noStrike" kern="1200" spc="0" baseline="0">
                <a:solidFill>
                  <a:schemeClr val="tx1"/>
                </a:solidFill>
                <a:latin typeface="+mn-lt"/>
                <a:ea typeface="+mn-ea"/>
                <a:cs typeface="+mn-cs"/>
              </a:defRPr>
            </a:pPr>
            <a:r>
              <a:rPr lang="en-ZA" sz="1000" b="1" dirty="0">
                <a:solidFill>
                  <a:schemeClr val="tx1"/>
                </a:solidFill>
              </a:rPr>
              <a:t>NPAT </a:t>
            </a:r>
          </a:p>
        </c:rich>
      </c:tx>
      <c:layout>
        <c:manualLayout>
          <c:xMode val="edge"/>
          <c:yMode val="edge"/>
          <c:x val="0.35354444444444438"/>
          <c:y val="8.8194444444444475E-3"/>
        </c:manualLayout>
      </c:layout>
      <c:spPr>
        <a:noFill/>
        <a:ln>
          <a:noFill/>
        </a:ln>
        <a:effectLst/>
      </c:spPr>
    </c:title>
    <c:plotArea>
      <c:layout>
        <c:manualLayout>
          <c:layoutTarget val="inner"/>
          <c:xMode val="edge"/>
          <c:yMode val="edge"/>
          <c:x val="8.8194444444444475E-3"/>
          <c:y val="0.15434027777777781"/>
          <c:w val="0.98698402777777772"/>
          <c:h val="0.64112638888888884"/>
        </c:manualLayout>
      </c:layout>
      <c:barChart>
        <c:barDir val="col"/>
        <c:grouping val="clustered"/>
        <c:ser>
          <c:idx val="0"/>
          <c:order val="0"/>
          <c:tx>
            <c:strRef>
              <c:f>Sheet1!$B$1</c:f>
              <c:strCache>
                <c:ptCount val="1"/>
                <c:pt idx="0">
                  <c:v>Actual Q3 2022</c:v>
                </c:pt>
              </c:strCache>
            </c:strRef>
          </c:tx>
          <c:spPr>
            <a:solidFill>
              <a:srgbClr val="002D7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1-539F-431A-8B7C-346CBF3C2649}"/>
              </c:ext>
            </c:extLst>
          </c:dPt>
          <c:dLbls>
            <c:dLbl>
              <c:idx val="0"/>
              <c:layout>
                <c:manualLayout>
                  <c:x val="-1.4036058889755933E-2"/>
                  <c:y val="7.0348709958760469E-2"/>
                </c:manualLayout>
              </c:layout>
              <c:tx>
                <c:rich>
                  <a:bodyPr rot="0" spcFirstLastPara="1" vertOverflow="ellipsis" vert="horz" wrap="square" anchor="ctr" anchorCtr="1"/>
                  <a:lstStyle/>
                  <a:p>
                    <a:pPr>
                      <a:defRPr sz="900" b="1" i="0" u="none" strike="noStrike" kern="1200" baseline="0">
                        <a:solidFill>
                          <a:schemeClr val="bg1">
                            <a:lumMod val="95000"/>
                          </a:schemeClr>
                        </a:solidFill>
                        <a:latin typeface="+mn-lt"/>
                        <a:ea typeface="+mn-ea"/>
                        <a:cs typeface="+mn-cs"/>
                      </a:defRPr>
                    </a:pPr>
                    <a:fld id="{1D5E453E-020D-415C-B59A-86BDC6062C20}" type="VALUE">
                      <a:rPr lang="en-US" b="1">
                        <a:solidFill>
                          <a:schemeClr val="tx1"/>
                        </a:solidFill>
                      </a:rPr>
                      <a:pPr>
                        <a:defRPr sz="900" b="1" i="0" u="none" strike="noStrike" kern="1200" baseline="0">
                          <a:solidFill>
                            <a:schemeClr val="bg1">
                              <a:lumMod val="95000"/>
                            </a:schemeClr>
                          </a:solidFill>
                          <a:latin typeface="+mn-lt"/>
                          <a:ea typeface="+mn-ea"/>
                          <a:cs typeface="+mn-cs"/>
                        </a:defRPr>
                      </a:pPr>
                      <a:t>[VALUE]</a:t>
                    </a:fld>
                    <a:endParaRPr lang="en-ZA"/>
                  </a:p>
                </c:rich>
              </c:tx>
              <c:spPr>
                <a:noFill/>
                <a:ln>
                  <a:noFill/>
                </a:ln>
                <a:effectLst/>
              </c:spPr>
              <c:dLblPos val="outEnd"/>
              <c:showVal val="1"/>
              <c:extLst xmlns:c16r2="http://schemas.microsoft.com/office/drawing/2015/06/chart">
                <c:ext xmlns:c15="http://schemas.microsoft.com/office/drawing/2012/chart" uri="{CE6537A1-D6FC-4f65-9D91-7224C49458BB}">
                  <c15:layout>
                    <c:manualLayout>
                      <c:w val="0.33688484939229985"/>
                      <c:h val="0.2366819947421917"/>
                    </c:manualLayout>
                  </c15:layout>
                  <c15:dlblFieldTable/>
                  <c15:showDataLabelsRange val="0"/>
                </c:ext>
                <c:ext xmlns:c16="http://schemas.microsoft.com/office/drawing/2014/chart" uri="{C3380CC4-5D6E-409C-BE32-E72D297353CC}">
                  <c16:uniqueId val="{00000001-539F-431A-8B7C-346CBF3C2649}"/>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PAT</c:v>
                </c:pt>
              </c:strCache>
            </c:strRef>
          </c:cat>
          <c:val>
            <c:numRef>
              <c:f>Sheet1!$B$2</c:f>
              <c:numCache>
                <c:formatCode>#,##0</c:formatCode>
                <c:ptCount val="1"/>
                <c:pt idx="0">
                  <c:v>-303</c:v>
                </c:pt>
              </c:numCache>
            </c:numRef>
          </c:val>
          <c:extLst xmlns:c16r2="http://schemas.microsoft.com/office/drawing/2015/06/chart">
            <c:ext xmlns:c16="http://schemas.microsoft.com/office/drawing/2014/chart" uri="{C3380CC4-5D6E-409C-BE32-E72D297353CC}">
              <c16:uniqueId val="{00000002-539F-431A-8B7C-346CBF3C2649}"/>
            </c:ext>
          </c:extLst>
        </c:ser>
        <c:ser>
          <c:idx val="1"/>
          <c:order val="1"/>
          <c:tx>
            <c:strRef>
              <c:f>Sheet1!$C$1</c:f>
              <c:strCache>
                <c:ptCount val="1"/>
                <c:pt idx="0">
                  <c:v>Budget Q3 2022</c:v>
                </c:pt>
              </c:strCache>
            </c:strRef>
          </c:tx>
          <c:spPr>
            <a:solidFill>
              <a:srgbClr val="002D71">
                <a:alpha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4-539F-431A-8B7C-346CBF3C2649}"/>
              </c:ext>
            </c:extLst>
          </c:dPt>
          <c:dLbls>
            <c:dLbl>
              <c:idx val="0"/>
              <c:layout>
                <c:manualLayout>
                  <c:x val="-8.380194952600179E-17"/>
                  <c:y val="9.3232031794162798E-2"/>
                </c:manualLayout>
              </c:layout>
              <c:dLblPos val="outEnd"/>
              <c:showVal val="1"/>
              <c:extLst xmlns:c16r2="http://schemas.microsoft.com/office/drawing/2015/06/chart">
                <c:ext xmlns:c15="http://schemas.microsoft.com/office/drawing/2012/chart" uri="{CE6537A1-D6FC-4f65-9D91-7224C49458BB}">
                  <c15:layout>
                    <c:manualLayout>
                      <c:w val="0.29721085653900309"/>
                      <c:h val="0.2875558237297336"/>
                    </c:manualLayout>
                  </c15:layout>
                </c:ext>
                <c:ext xmlns:c16="http://schemas.microsoft.com/office/drawing/2014/chart" uri="{C3380CC4-5D6E-409C-BE32-E72D297353CC}">
                  <c16:uniqueId val="{00000004-539F-431A-8B7C-346CBF3C2649}"/>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PAT</c:v>
                </c:pt>
              </c:strCache>
            </c:strRef>
          </c:cat>
          <c:val>
            <c:numRef>
              <c:f>Sheet1!$C$2</c:f>
              <c:numCache>
                <c:formatCode>#,##0</c:formatCode>
                <c:ptCount val="1"/>
                <c:pt idx="0">
                  <c:v>-1316</c:v>
                </c:pt>
              </c:numCache>
            </c:numRef>
          </c:val>
          <c:extLst xmlns:c16r2="http://schemas.microsoft.com/office/drawing/2015/06/chart">
            <c:ext xmlns:c16="http://schemas.microsoft.com/office/drawing/2014/chart" uri="{C3380CC4-5D6E-409C-BE32-E72D297353CC}">
              <c16:uniqueId val="{00000005-539F-431A-8B7C-346CBF3C2649}"/>
            </c:ext>
          </c:extLst>
        </c:ser>
        <c:dLbls>
          <c:showVal val="1"/>
        </c:dLbls>
        <c:gapWidth val="219"/>
        <c:overlap val="-27"/>
        <c:axId val="132225664"/>
        <c:axId val="132223744"/>
      </c:barChart>
      <c:valAx>
        <c:axId val="132223744"/>
        <c:scaling>
          <c:orientation val="minMax"/>
        </c:scaling>
        <c:delete val="1"/>
        <c:axPos val="r"/>
        <c:majorGridlines>
          <c:spPr>
            <a:ln w="9525" cap="flat" cmpd="sng" algn="ctr">
              <a:no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t>R’M</a:t>
                </a:r>
              </a:p>
            </c:rich>
          </c:tx>
          <c:layout>
            <c:manualLayout>
              <c:xMode val="edge"/>
              <c:yMode val="edge"/>
              <c:x val="0.8597135559887471"/>
              <c:y val="0.39426003403466242"/>
            </c:manualLayout>
          </c:layout>
          <c:spPr>
            <a:noFill/>
            <a:ln>
              <a:noFill/>
            </a:ln>
            <a:effectLst/>
          </c:spPr>
        </c:title>
        <c:numFmt formatCode="#,##0" sourceLinked="1"/>
        <c:tickLblPos val="none"/>
        <c:crossAx val="132225664"/>
        <c:crosses val="max"/>
        <c:crossBetween val="between"/>
      </c:valAx>
      <c:catAx>
        <c:axId val="132225664"/>
        <c:scaling>
          <c:orientation val="minMax"/>
        </c:scaling>
        <c:delete val="1"/>
        <c:axPos val="b"/>
        <c:numFmt formatCode="General" sourceLinked="1"/>
        <c:tickLblPos val="none"/>
        <c:crossAx val="132223744"/>
        <c:crosses val="autoZero"/>
        <c:auto val="1"/>
        <c:lblAlgn val="ctr"/>
        <c:lblOffset val="100"/>
      </c:catAx>
      <c:spPr>
        <a:noFill/>
        <a:ln>
          <a:noFill/>
        </a:ln>
        <a:effectLst/>
      </c:spPr>
    </c:plotArea>
    <c:legend>
      <c:legendPos val="b"/>
      <c:layout>
        <c:manualLayout>
          <c:xMode val="edge"/>
          <c:yMode val="edge"/>
          <c:x val="0"/>
          <c:y val="0.80905416666666652"/>
          <c:w val="1"/>
          <c:h val="0.18931875000000004"/>
        </c:manualLayout>
      </c:layout>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chart>
  <c:spPr>
    <a:noFill/>
    <a:ln>
      <a:noFill/>
    </a:ln>
    <a:effectLst/>
  </c:spPr>
  <c:txPr>
    <a:bodyPr/>
    <a:lstStyle/>
    <a:p>
      <a:pPr>
        <a:defRPr sz="900"/>
      </a:pPr>
      <a:endParaRPr lang="en-US"/>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000" b="1" i="0" u="none" strike="noStrike" kern="1200" spc="0" baseline="0">
                <a:solidFill>
                  <a:schemeClr val="tx1"/>
                </a:solidFill>
                <a:latin typeface="+mn-lt"/>
                <a:ea typeface="+mn-ea"/>
                <a:cs typeface="+mn-cs"/>
              </a:defRPr>
            </a:pPr>
            <a:r>
              <a:rPr lang="en-ZA" sz="1000" b="1">
                <a:solidFill>
                  <a:schemeClr val="tx1"/>
                </a:solidFill>
              </a:rPr>
              <a:t>OPEX</a:t>
            </a:r>
          </a:p>
        </c:rich>
      </c:tx>
      <c:layout>
        <c:manualLayout>
          <c:xMode val="edge"/>
          <c:yMode val="edge"/>
          <c:x val="0.35354444444444438"/>
          <c:y val="8.8194444444444475E-3"/>
        </c:manualLayout>
      </c:layout>
      <c:spPr>
        <a:noFill/>
        <a:ln>
          <a:noFill/>
        </a:ln>
        <a:effectLst/>
      </c:spPr>
    </c:title>
    <c:plotArea>
      <c:layout>
        <c:manualLayout>
          <c:layoutTarget val="inner"/>
          <c:xMode val="edge"/>
          <c:yMode val="edge"/>
          <c:x val="8.8194444444444475E-3"/>
          <c:y val="0.15434027777777781"/>
          <c:w val="0.98698402777777772"/>
          <c:h val="0.6146680555555557"/>
        </c:manualLayout>
      </c:layout>
      <c:barChart>
        <c:barDir val="col"/>
        <c:grouping val="clustered"/>
        <c:ser>
          <c:idx val="0"/>
          <c:order val="0"/>
          <c:tx>
            <c:strRef>
              <c:f>Sheet1!$B$1</c:f>
              <c:strCache>
                <c:ptCount val="1"/>
                <c:pt idx="0">
                  <c:v>Actual Q3 2022</c:v>
                </c:pt>
              </c:strCache>
            </c:strRef>
          </c:tx>
          <c:spPr>
            <a:solidFill>
              <a:srgbClr val="475C46"/>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1-9033-4A11-A78B-6267FDABE6A0}"/>
              </c:ext>
            </c:extLst>
          </c:dPt>
          <c:dLbls>
            <c:dLbl>
              <c:idx val="0"/>
              <c:layout>
                <c:manualLayout>
                  <c:x val="0"/>
                  <c:y val="6.7210511729512062E-2"/>
                </c:manualLayout>
              </c:layout>
              <c:tx>
                <c:rich>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r>
                      <a:rPr lang="en-US" dirty="0">
                        <a:solidFill>
                          <a:schemeClr val="tx1"/>
                        </a:solidFill>
                      </a:rPr>
                      <a:t>1.6</a:t>
                    </a:r>
                    <a:endParaRPr lang="en-US" dirty="0"/>
                  </a:p>
                </c:rich>
              </c:tx>
              <c:spPr>
                <a:noFill/>
                <a:ln>
                  <a:noFill/>
                </a:ln>
                <a:effectLst/>
              </c:spPr>
              <c:dLblPos val="outEnd"/>
              <c:showVal val="1"/>
              <c:extLst xmlns:c16r2="http://schemas.microsoft.com/office/drawing/2015/06/chart">
                <c:ext xmlns:c15="http://schemas.microsoft.com/office/drawing/2012/chart" uri="{CE6537A1-D6FC-4f65-9D91-7224C49458BB}">
                  <c15:layout>
                    <c:manualLayout>
                      <c:w val="0.31097013184832406"/>
                      <c:h val="0.19143434343434343"/>
                    </c:manualLayout>
                  </c15:layout>
                </c:ext>
                <c:ext xmlns:c16="http://schemas.microsoft.com/office/drawing/2014/chart" uri="{C3380CC4-5D6E-409C-BE32-E72D297353CC}">
                  <c16:uniqueId val="{00000001-9033-4A11-A78B-6267FDABE6A0}"/>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EX</c:v>
                </c:pt>
              </c:strCache>
            </c:strRef>
          </c:cat>
          <c:val>
            <c:numRef>
              <c:f>Sheet1!$B$2</c:f>
              <c:numCache>
                <c:formatCode>#,##0</c:formatCode>
                <c:ptCount val="1"/>
                <c:pt idx="0">
                  <c:v>15667</c:v>
                </c:pt>
              </c:numCache>
            </c:numRef>
          </c:val>
          <c:extLst xmlns:c16r2="http://schemas.microsoft.com/office/drawing/2015/06/chart">
            <c:ext xmlns:c16="http://schemas.microsoft.com/office/drawing/2014/chart" uri="{C3380CC4-5D6E-409C-BE32-E72D297353CC}">
              <c16:uniqueId val="{00000002-9033-4A11-A78B-6267FDABE6A0}"/>
            </c:ext>
          </c:extLst>
        </c:ser>
        <c:ser>
          <c:idx val="1"/>
          <c:order val="1"/>
          <c:tx>
            <c:strRef>
              <c:f>Sheet1!$C$1</c:f>
              <c:strCache>
                <c:ptCount val="1"/>
                <c:pt idx="0">
                  <c:v>Budget Q3 2022</c:v>
                </c:pt>
              </c:strCache>
            </c:strRef>
          </c:tx>
          <c:spPr>
            <a:solidFill>
              <a:srgbClr val="475C46">
                <a:alpha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4-9033-4A11-A78B-6267FDABE6A0}"/>
              </c:ext>
            </c:extLst>
          </c:dPt>
          <c:dLbls>
            <c:dLbl>
              <c:idx val="0"/>
              <c:tx>
                <c:rich>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r>
                      <a:rPr lang="en-US" dirty="0"/>
                      <a:t>2.4</a:t>
                    </a:r>
                  </a:p>
                </c:rich>
              </c:tx>
              <c:spPr>
                <a:noFill/>
                <a:ln>
                  <a:noFill/>
                </a:ln>
                <a:effectLst/>
              </c:spPr>
              <c:dLblPos val="inEnd"/>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9033-4A11-A78B-6267FDABE6A0}"/>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EX</c:v>
                </c:pt>
              </c:strCache>
            </c:strRef>
          </c:cat>
          <c:val>
            <c:numRef>
              <c:f>Sheet1!$C$2</c:f>
              <c:numCache>
                <c:formatCode>#,##0</c:formatCode>
                <c:ptCount val="1"/>
                <c:pt idx="0">
                  <c:v>2378</c:v>
                </c:pt>
              </c:numCache>
            </c:numRef>
          </c:val>
          <c:extLst xmlns:c16r2="http://schemas.microsoft.com/office/drawing/2015/06/chart">
            <c:ext xmlns:c16="http://schemas.microsoft.com/office/drawing/2014/chart" uri="{C3380CC4-5D6E-409C-BE32-E72D297353CC}">
              <c16:uniqueId val="{00000005-9033-4A11-A78B-6267FDABE6A0}"/>
            </c:ext>
          </c:extLst>
        </c:ser>
        <c:dLbls>
          <c:showVal val="1"/>
        </c:dLbls>
        <c:gapWidth val="219"/>
        <c:overlap val="-27"/>
        <c:axId val="132155264"/>
        <c:axId val="132153344"/>
      </c:barChart>
      <c:valAx>
        <c:axId val="132153344"/>
        <c:scaling>
          <c:orientation val="minMax"/>
        </c:scaling>
        <c:delete val="1"/>
        <c:axPos val="r"/>
        <c:majorGridlines>
          <c:spPr>
            <a:ln w="9525" cap="flat" cmpd="sng" algn="ctr">
              <a:no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t>R’M</a:t>
                </a:r>
              </a:p>
            </c:rich>
          </c:tx>
          <c:layout>
            <c:manualLayout>
              <c:xMode val="edge"/>
              <c:yMode val="edge"/>
              <c:x val="0.87348506880357535"/>
              <c:y val="0.40437037314313856"/>
            </c:manualLayout>
          </c:layout>
          <c:spPr>
            <a:noFill/>
            <a:ln>
              <a:noFill/>
            </a:ln>
            <a:effectLst/>
          </c:spPr>
        </c:title>
        <c:numFmt formatCode="#,##0" sourceLinked="1"/>
        <c:tickLblPos val="none"/>
        <c:crossAx val="132155264"/>
        <c:crosses val="max"/>
        <c:crossBetween val="between"/>
      </c:valAx>
      <c:catAx>
        <c:axId val="132155264"/>
        <c:scaling>
          <c:orientation val="minMax"/>
        </c:scaling>
        <c:delete val="1"/>
        <c:axPos val="b"/>
        <c:numFmt formatCode="General" sourceLinked="1"/>
        <c:tickLblPos val="none"/>
        <c:crossAx val="132153344"/>
        <c:crosses val="autoZero"/>
        <c:auto val="1"/>
        <c:lblAlgn val="ctr"/>
        <c:lblOffset val="100"/>
      </c:catAx>
      <c:spPr>
        <a:noFill/>
        <a:ln>
          <a:noFill/>
        </a:ln>
        <a:effectLst/>
      </c:spPr>
    </c:plotArea>
    <c:legend>
      <c:legendPos val="b"/>
      <c:layout>
        <c:manualLayout>
          <c:xMode val="edge"/>
          <c:yMode val="edge"/>
          <c:x val="0"/>
          <c:y val="0.8106812499999998"/>
          <c:w val="1"/>
          <c:h val="0.18931875000000004"/>
        </c:manualLayout>
      </c:layout>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chart>
  <c:spPr>
    <a:noFill/>
    <a:ln>
      <a:noFill/>
    </a:ln>
    <a:effectLst/>
  </c:spPr>
  <c:txPr>
    <a:bodyPr/>
    <a:lstStyle/>
    <a:p>
      <a:pPr>
        <a:defRPr sz="900"/>
      </a:pPr>
      <a:endParaRPr lang="en-US"/>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ZA" sz="1000" b="1" dirty="0">
                <a:solidFill>
                  <a:schemeClr val="tx1"/>
                </a:solidFill>
              </a:rPr>
              <a:t>TOTAL CASH</a:t>
            </a:r>
          </a:p>
        </c:rich>
      </c:tx>
      <c:layout>
        <c:manualLayout>
          <c:xMode val="edge"/>
          <c:yMode val="edge"/>
          <c:x val="0.21930277777777779"/>
          <c:y val="0"/>
        </c:manualLayout>
      </c:layout>
      <c:spPr>
        <a:noFill/>
        <a:ln>
          <a:noFill/>
        </a:ln>
        <a:effectLst/>
      </c:spPr>
    </c:title>
    <c:plotArea>
      <c:layout>
        <c:manualLayout>
          <c:layoutTarget val="inner"/>
          <c:xMode val="edge"/>
          <c:yMode val="edge"/>
          <c:x val="1.3015666886461863E-2"/>
          <c:y val="0.10465082797522554"/>
          <c:w val="0.98698402777777772"/>
          <c:h val="0.65876527777777782"/>
        </c:manualLayout>
      </c:layout>
      <c:barChart>
        <c:barDir val="col"/>
        <c:grouping val="stacked"/>
        <c:ser>
          <c:idx val="0"/>
          <c:order val="0"/>
          <c:tx>
            <c:strRef>
              <c:f>Sheet1!$B$1</c:f>
              <c:strCache>
                <c:ptCount val="1"/>
                <c:pt idx="0">
                  <c:v>After Commitments</c:v>
                </c:pt>
              </c:strCache>
            </c:strRef>
          </c:tx>
          <c:spPr>
            <a:solidFill>
              <a:srgbClr val="33339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1-9419-449B-A645-95E3307D15E8}"/>
              </c:ext>
            </c:extLst>
          </c:dPt>
          <c:dLbls>
            <c:dLbl>
              <c:idx val="0"/>
              <c:layout>
                <c:manualLayout>
                  <c:x val="1.2259820958095901E-2"/>
                  <c:y val="-6.0658516006771072E-2"/>
                </c:manualLayout>
              </c:layout>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layout>
                    <c:manualLayout>
                      <c:w val="0.33607213505599021"/>
                      <c:h val="0.23435830840241526"/>
                    </c:manualLayout>
                  </c15:layout>
                </c:ext>
                <c:ext xmlns:c16="http://schemas.microsoft.com/office/drawing/2014/chart" uri="{C3380CC4-5D6E-409C-BE32-E72D297353CC}">
                  <c16:uniqueId val="{00000001-9419-449B-A645-95E3307D15E8}"/>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 CASH</c:v>
                </c:pt>
              </c:strCache>
            </c:strRef>
          </c:cat>
          <c:val>
            <c:numRef>
              <c:f>Sheet1!$B$2</c:f>
              <c:numCache>
                <c:formatCode>#,##0</c:formatCode>
                <c:ptCount val="1"/>
                <c:pt idx="0">
                  <c:v>-6151.7190000000001</c:v>
                </c:pt>
              </c:numCache>
            </c:numRef>
          </c:val>
          <c:extLst xmlns:c16r2="http://schemas.microsoft.com/office/drawing/2015/06/chart">
            <c:ext xmlns:c16="http://schemas.microsoft.com/office/drawing/2014/chart" uri="{C3380CC4-5D6E-409C-BE32-E72D297353CC}">
              <c16:uniqueId val="{00000002-9419-449B-A645-95E3307D15E8}"/>
            </c:ext>
          </c:extLst>
        </c:ser>
        <c:ser>
          <c:idx val="1"/>
          <c:order val="1"/>
          <c:tx>
            <c:strRef>
              <c:f>Sheet1!$C$1</c:f>
              <c:strCache>
                <c:ptCount val="1"/>
                <c:pt idx="0">
                  <c:v>Commitments</c:v>
                </c:pt>
              </c:strCache>
            </c:strRef>
          </c:tx>
          <c:spPr>
            <a:solidFill>
              <a:srgbClr val="333399">
                <a:alpha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4-9419-449B-A645-95E3307D15E8}"/>
              </c:ext>
            </c:extLst>
          </c:dPt>
          <c:dLbls>
            <c:dLbl>
              <c:idx val="0"/>
              <c:layout>
                <c:manualLayout>
                  <c:x val="-4.1900974763000883E-17"/>
                  <c:y val="2.949002704170171E-2"/>
                </c:manualLayout>
              </c:layout>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ctr"/>
              <c:showVal val="1"/>
              <c:extLst xmlns:c16r2="http://schemas.microsoft.com/office/drawing/2015/06/chart">
                <c:ext xmlns:c15="http://schemas.microsoft.com/office/drawing/2012/chart" uri="{CE6537A1-D6FC-4f65-9D91-7224C49458BB}">
                  <c15:layout>
                    <c:manualLayout>
                      <c:w val="0.34876530767968256"/>
                      <c:h val="0.16329621309712652"/>
                    </c:manualLayout>
                  </c15:layout>
                </c:ext>
                <c:ext xmlns:c16="http://schemas.microsoft.com/office/drawing/2014/chart" uri="{C3380CC4-5D6E-409C-BE32-E72D297353CC}">
                  <c16:uniqueId val="{00000004-9419-449B-A645-95E3307D15E8}"/>
                </c:ext>
              </c:extLst>
            </c:dLbl>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OTAL CASH</c:v>
                </c:pt>
              </c:strCache>
            </c:strRef>
          </c:cat>
          <c:val>
            <c:numRef>
              <c:f>Sheet1!$C$2</c:f>
              <c:numCache>
                <c:formatCode>#,##0</c:formatCode>
                <c:ptCount val="1"/>
                <c:pt idx="0">
                  <c:v>21079.212</c:v>
                </c:pt>
              </c:numCache>
            </c:numRef>
          </c:val>
          <c:extLst xmlns:c16r2="http://schemas.microsoft.com/office/drawing/2015/06/chart">
            <c:ext xmlns:c16="http://schemas.microsoft.com/office/drawing/2014/chart" uri="{C3380CC4-5D6E-409C-BE32-E72D297353CC}">
              <c16:uniqueId val="{00000005-9419-449B-A645-95E3307D15E8}"/>
            </c:ext>
          </c:extLst>
        </c:ser>
        <c:dLbls/>
        <c:gapWidth val="219"/>
        <c:overlap val="100"/>
        <c:axId val="132333952"/>
        <c:axId val="132319488"/>
      </c:barChart>
      <c:lineChart>
        <c:grouping val="standard"/>
        <c:ser>
          <c:idx val="2"/>
          <c:order val="2"/>
          <c:tx>
            <c:strRef>
              <c:f>Sheet1!$D$1</c:f>
              <c:strCache>
                <c:ptCount val="1"/>
                <c:pt idx="0">
                  <c:v>TOTAL</c:v>
                </c:pt>
              </c:strCache>
            </c:strRef>
          </c:tx>
          <c:spPr>
            <a:ln w="28575" cap="rnd">
              <a:noFill/>
              <a:round/>
            </a:ln>
            <a:effectLst/>
          </c:spPr>
          <c:marker>
            <c:symbol val="circle"/>
            <c:size val="5"/>
            <c:spPr>
              <a:solidFill>
                <a:srgbClr val="800000"/>
              </a:solidFill>
              <a:ln w="9525">
                <a:solidFill>
                  <a:schemeClr val="accent3"/>
                </a:solidFill>
              </a:ln>
              <a:effectLst/>
            </c:spPr>
          </c:marker>
          <c:dLbls>
            <c:dLbl>
              <c:idx val="0"/>
              <c:layout>
                <c:manualLayout>
                  <c:x val="-0.21462389106604512"/>
                  <c:y val="-0.15157293008549017"/>
                </c:manualLayout>
              </c:layout>
              <c:tx>
                <c:rich>
                  <a:bodyPr/>
                  <a:lstStyle/>
                  <a:p>
                    <a:r>
                      <a:rPr lang="en-US" dirty="0"/>
                      <a:t>14</a:t>
                    </a:r>
                    <a:r>
                      <a:rPr lang="en-US" baseline="0" dirty="0"/>
                      <a:t> 927</a:t>
                    </a:r>
                    <a:endParaRPr lang="en-US" dirty="0"/>
                  </a:p>
                </c:rich>
              </c:tx>
              <c:showVal val="1"/>
              <c:extLst xmlns:c16r2="http://schemas.microsoft.com/office/drawing/2015/06/chart">
                <c:ext xmlns:c15="http://schemas.microsoft.com/office/drawing/2012/chart" uri="{CE6537A1-D6FC-4f65-9D91-7224C49458BB}">
                  <c15:layout>
                    <c:manualLayout>
                      <c:w val="0.32585669737080791"/>
                      <c:h val="0.12949408595854314"/>
                    </c:manualLayout>
                  </c15:layout>
                </c:ext>
                <c:ext xmlns:c16="http://schemas.microsoft.com/office/drawing/2014/chart" uri="{C3380CC4-5D6E-409C-BE32-E72D297353CC}">
                  <c16:uniqueId val="{00000006-9419-449B-A645-95E3307D15E8}"/>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strRef>
              <c:f>Sheet1!$A$2</c:f>
              <c:strCache>
                <c:ptCount val="1"/>
                <c:pt idx="0">
                  <c:v>TOTAL CASH</c:v>
                </c:pt>
              </c:strCache>
            </c:strRef>
          </c:cat>
          <c:val>
            <c:numRef>
              <c:f>Sheet1!$D$2</c:f>
              <c:numCache>
                <c:formatCode>#,##0</c:formatCode>
                <c:ptCount val="1"/>
                <c:pt idx="0">
                  <c:v>14927.493</c:v>
                </c:pt>
              </c:numCache>
            </c:numRef>
          </c:val>
          <c:extLst xmlns:c16r2="http://schemas.microsoft.com/office/drawing/2015/06/chart">
            <c:ext xmlns:c16="http://schemas.microsoft.com/office/drawing/2014/chart" uri="{C3380CC4-5D6E-409C-BE32-E72D297353CC}">
              <c16:uniqueId val="{00000007-9419-449B-A645-95E3307D15E8}"/>
            </c:ext>
          </c:extLst>
        </c:ser>
        <c:dLbls/>
        <c:marker val="1"/>
        <c:axId val="132337024"/>
        <c:axId val="132335488"/>
      </c:lineChart>
      <c:valAx>
        <c:axId val="132319488"/>
        <c:scaling>
          <c:orientation val="minMax"/>
        </c:scaling>
        <c:delete val="1"/>
        <c:axPos val="r"/>
        <c:majorGridlines>
          <c:spPr>
            <a:ln w="9525" cap="flat" cmpd="sng" algn="ctr">
              <a:no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t>R’M</a:t>
                </a:r>
              </a:p>
            </c:rich>
          </c:tx>
          <c:layout>
            <c:manualLayout>
              <c:xMode val="edge"/>
              <c:yMode val="edge"/>
              <c:x val="0.88230416666666656"/>
              <c:y val="0.40437013888888895"/>
            </c:manualLayout>
          </c:layout>
          <c:spPr>
            <a:noFill/>
            <a:ln>
              <a:noFill/>
            </a:ln>
            <a:effectLst/>
          </c:spPr>
        </c:title>
        <c:numFmt formatCode="#,##0" sourceLinked="1"/>
        <c:tickLblPos val="none"/>
        <c:crossAx val="132333952"/>
        <c:crosses val="max"/>
        <c:crossBetween val="between"/>
      </c:valAx>
      <c:catAx>
        <c:axId val="132333952"/>
        <c:scaling>
          <c:orientation val="minMax"/>
        </c:scaling>
        <c:delete val="1"/>
        <c:axPos val="b"/>
        <c:numFmt formatCode="General" sourceLinked="1"/>
        <c:tickLblPos val="none"/>
        <c:crossAx val="132319488"/>
        <c:crosses val="autoZero"/>
        <c:auto val="1"/>
        <c:lblAlgn val="ctr"/>
        <c:lblOffset val="100"/>
      </c:catAx>
      <c:valAx>
        <c:axId val="132335488"/>
        <c:scaling>
          <c:orientation val="minMax"/>
        </c:scaling>
        <c:delete val="1"/>
        <c:axPos val="l"/>
        <c:numFmt formatCode="#,##0" sourceLinked="1"/>
        <c:tickLblPos val="none"/>
        <c:crossAx val="132337024"/>
        <c:crosses val="autoZero"/>
        <c:crossBetween val="between"/>
      </c:valAx>
      <c:catAx>
        <c:axId val="132337024"/>
        <c:scaling>
          <c:orientation val="minMax"/>
        </c:scaling>
        <c:delete val="1"/>
        <c:axPos val="b"/>
        <c:numFmt formatCode="General" sourceLinked="1"/>
        <c:tickLblPos val="none"/>
        <c:crossAx val="132335488"/>
        <c:crosses val="autoZero"/>
        <c:auto val="1"/>
        <c:lblAlgn val="ctr"/>
        <c:lblOffset val="100"/>
      </c:catAx>
      <c:spPr>
        <a:noFill/>
        <a:ln>
          <a:noFill/>
        </a:ln>
        <a:effectLst/>
      </c:spPr>
    </c:plotArea>
    <c:legend>
      <c:legendPos val="b"/>
      <c:layout>
        <c:manualLayout>
          <c:xMode val="edge"/>
          <c:yMode val="edge"/>
          <c:x val="0"/>
          <c:y val="0.6872090277777777"/>
          <c:w val="1"/>
          <c:h val="0.31279097222222235"/>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sz="900"/>
      </a:pPr>
      <a:endParaRPr lang="en-US"/>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clustered"/>
        <c:ser>
          <c:idx val="0"/>
          <c:order val="0"/>
          <c:spPr>
            <a:solidFill>
              <a:schemeClr val="accent1"/>
            </a:solidFill>
            <a:ln>
              <a:noFill/>
            </a:ln>
            <a:effectLst/>
          </c:spPr>
          <c:dPt>
            <c:idx val="0"/>
            <c:spPr>
              <a:solidFill>
                <a:srgbClr val="92D050"/>
              </a:solidFill>
              <a:ln>
                <a:noFill/>
              </a:ln>
              <a:effectLst/>
            </c:spPr>
            <c:extLst xmlns:c16r2="http://schemas.microsoft.com/office/drawing/2015/06/chart">
              <c:ext xmlns:c16="http://schemas.microsoft.com/office/drawing/2014/chart" uri="{C3380CC4-5D6E-409C-BE32-E72D297353CC}">
                <c16:uniqueId val="{00000001-E4A6-4C2B-B0FB-94E9F5926360}"/>
              </c:ext>
            </c:extLst>
          </c:dPt>
          <c:dPt>
            <c:idx val="1"/>
            <c:spPr>
              <a:solidFill>
                <a:schemeClr val="accent1"/>
              </a:solidFill>
              <a:ln>
                <a:solidFill>
                  <a:srgbClr val="FFC000"/>
                </a:solidFill>
              </a:ln>
              <a:effectLst/>
            </c:spPr>
            <c:extLst xmlns:c16r2="http://schemas.microsoft.com/office/drawing/2015/06/chart">
              <c:ext xmlns:c16="http://schemas.microsoft.com/office/drawing/2014/chart" uri="{C3380CC4-5D6E-409C-BE32-E72D297353CC}">
                <c16:uniqueId val="{00000003-E4A6-4C2B-B0FB-94E9F5926360}"/>
              </c:ext>
            </c:extLst>
          </c:dPt>
          <c:dPt>
            <c:idx val="2"/>
            <c:spPr>
              <a:solidFill>
                <a:srgbClr val="FF0000"/>
              </a:solidFill>
              <a:ln>
                <a:noFill/>
              </a:ln>
              <a:effectLst/>
            </c:spPr>
            <c:extLst xmlns:c16r2="http://schemas.microsoft.com/office/drawing/2015/06/chart">
              <c:ext xmlns:c16="http://schemas.microsoft.com/office/drawing/2014/chart" uri="{C3380CC4-5D6E-409C-BE32-E72D297353CC}">
                <c16:uniqueId val="{00000005-E4A6-4C2B-B0FB-94E9F5926360}"/>
              </c:ext>
            </c:extLst>
          </c:dPt>
          <c:dPt>
            <c:idx val="3"/>
            <c:spPr>
              <a:solidFill>
                <a:srgbClr val="66FFFF"/>
              </a:solidFill>
              <a:ln>
                <a:solidFill>
                  <a:srgbClr val="66FFFF"/>
                </a:solidFill>
              </a:ln>
              <a:effectLst/>
            </c:spPr>
            <c:extLst xmlns:c16r2="http://schemas.microsoft.com/office/drawing/2015/06/chart">
              <c:ext xmlns:c16="http://schemas.microsoft.com/office/drawing/2014/chart" uri="{C3380CC4-5D6E-409C-BE32-E72D297353CC}">
                <c16:uniqueId val="{00000007-E4A6-4C2B-B0FB-94E9F5926360}"/>
              </c:ext>
            </c:extLst>
          </c:dPt>
          <c:dPt>
            <c:idx val="4"/>
            <c:spPr>
              <a:solidFill>
                <a:srgbClr val="00B050"/>
              </a:solidFill>
              <a:ln>
                <a:noFill/>
              </a:ln>
              <a:effectLst/>
            </c:spPr>
            <c:extLst xmlns:c16r2="http://schemas.microsoft.com/office/drawing/2015/06/chart">
              <c:ext xmlns:c16="http://schemas.microsoft.com/office/drawing/2014/chart" uri="{C3380CC4-5D6E-409C-BE32-E72D297353CC}">
                <c16:uniqueId val="{00000009-E4A6-4C2B-B0FB-94E9F592636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4:$B$18</c:f>
              <c:strCache>
                <c:ptCount val="5"/>
                <c:pt idx="0">
                  <c:v>KPIs Achieved </c:v>
                </c:pt>
                <c:pt idx="1">
                  <c:v>KPIs Partially Achieved</c:v>
                </c:pt>
                <c:pt idx="2">
                  <c:v>KPIs Not Achieved</c:v>
                </c:pt>
                <c:pt idx="3">
                  <c:v>KPIS Not Scored</c:v>
                </c:pt>
                <c:pt idx="4">
                  <c:v>KPIs above Targets</c:v>
                </c:pt>
              </c:strCache>
            </c:strRef>
          </c:cat>
          <c:val>
            <c:numRef>
              <c:f>Sheet1!$C$14:$C$18</c:f>
              <c:numCache>
                <c:formatCode>General</c:formatCode>
                <c:ptCount val="5"/>
                <c:pt idx="0">
                  <c:v>8</c:v>
                </c:pt>
                <c:pt idx="1">
                  <c:v>2</c:v>
                </c:pt>
                <c:pt idx="2">
                  <c:v>3</c:v>
                </c:pt>
                <c:pt idx="3">
                  <c:v>0</c:v>
                </c:pt>
                <c:pt idx="4">
                  <c:v>7</c:v>
                </c:pt>
              </c:numCache>
            </c:numRef>
          </c:val>
          <c:extLst xmlns:c16r2="http://schemas.microsoft.com/office/drawing/2015/06/chart">
            <c:ext xmlns:c16="http://schemas.microsoft.com/office/drawing/2014/chart" uri="{C3380CC4-5D6E-409C-BE32-E72D297353CC}">
              <c16:uniqueId val="{0000000A-E4A6-4C2B-B0FB-94E9F5926360}"/>
            </c:ext>
          </c:extLst>
        </c:ser>
        <c:dLbls/>
        <c:gapWidth val="219"/>
        <c:overlap val="-27"/>
        <c:axId val="132448640"/>
        <c:axId val="132450176"/>
      </c:barChart>
      <c:catAx>
        <c:axId val="13244864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32450176"/>
        <c:crosses val="autoZero"/>
        <c:auto val="1"/>
        <c:lblAlgn val="ctr"/>
        <c:lblOffset val="100"/>
      </c:catAx>
      <c:valAx>
        <c:axId val="13245017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2448640"/>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000" b="1" i="0" u="none" strike="noStrike" kern="1200" spc="0" baseline="0">
                <a:solidFill>
                  <a:schemeClr val="tx1"/>
                </a:solidFill>
                <a:latin typeface="+mn-lt"/>
                <a:ea typeface="+mn-ea"/>
                <a:cs typeface="+mn-cs"/>
              </a:defRPr>
            </a:pPr>
            <a:r>
              <a:rPr lang="en-ZA" sz="1000" b="1" dirty="0">
                <a:solidFill>
                  <a:schemeClr val="tx1"/>
                </a:solidFill>
              </a:rPr>
              <a:t>NET INVESTMENT</a:t>
            </a:r>
          </a:p>
        </c:rich>
      </c:tx>
      <c:layout>
        <c:manualLayout>
          <c:xMode val="edge"/>
          <c:yMode val="edge"/>
          <c:x val="0.1585347242818024"/>
          <c:y val="0"/>
        </c:manualLayout>
      </c:layout>
      <c:spPr>
        <a:noFill/>
        <a:ln>
          <a:noFill/>
        </a:ln>
        <a:effectLst/>
      </c:spPr>
    </c:title>
    <c:plotArea>
      <c:layout>
        <c:manualLayout>
          <c:layoutTarget val="inner"/>
          <c:xMode val="edge"/>
          <c:yMode val="edge"/>
          <c:x val="8.8196422041331123E-3"/>
          <c:y val="0.29308609732992041"/>
          <c:w val="0.98698402777777772"/>
          <c:h val="0.44946414122945189"/>
        </c:manualLayout>
      </c:layout>
      <c:barChart>
        <c:barDir val="col"/>
        <c:grouping val="clustered"/>
        <c:ser>
          <c:idx val="0"/>
          <c:order val="0"/>
          <c:tx>
            <c:strRef>
              <c:f>Sheet1!$B$1</c:f>
              <c:strCache>
                <c:ptCount val="1"/>
                <c:pt idx="0">
                  <c:v>Actual Q3 2022</c:v>
                </c:pt>
              </c:strCache>
            </c:strRef>
          </c:tx>
          <c:spPr>
            <a:solidFill>
              <a:schemeClr val="accent5">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1-4D67-4E21-BB37-AF6DFF30502F}"/>
              </c:ext>
            </c:extLst>
          </c:dPt>
          <c:dLbls>
            <c:dLbl>
              <c:idx val="0"/>
              <c:layout>
                <c:manualLayout>
                  <c:x val="-4.5710682334512941E-3"/>
                  <c:y val="3.3279536299320706E-2"/>
                </c:manualLayout>
              </c:layout>
              <c:dLblPos val="outEnd"/>
              <c:showVal val="1"/>
              <c:extLst xmlns:c16r2="http://schemas.microsoft.com/office/drawing/2015/06/chart">
                <c:ext xmlns:c15="http://schemas.microsoft.com/office/drawing/2012/chart" uri="{CE6537A1-D6FC-4f65-9D91-7224C49458BB}">
                  <c15:layout>
                    <c:manualLayout>
                      <c:w val="0.3041883942377186"/>
                      <c:h val="0.17943206456795846"/>
                    </c:manualLayout>
                  </c15:layout>
                </c:ext>
                <c:ext xmlns:c16="http://schemas.microsoft.com/office/drawing/2014/chart" uri="{C3380CC4-5D6E-409C-BE32-E72D297353CC}">
                  <c16:uniqueId val="{00000001-4D67-4E21-BB37-AF6DFF30502F}"/>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ET INVE</c:v>
                </c:pt>
              </c:strCache>
            </c:strRef>
          </c:cat>
          <c:val>
            <c:numRef>
              <c:f>Sheet1!$B$2</c:f>
              <c:numCache>
                <c:formatCode>#,##0</c:formatCode>
                <c:ptCount val="1"/>
                <c:pt idx="0">
                  <c:v>-779</c:v>
                </c:pt>
              </c:numCache>
            </c:numRef>
          </c:val>
          <c:extLst xmlns:c16r2="http://schemas.microsoft.com/office/drawing/2015/06/chart">
            <c:ext xmlns:c16="http://schemas.microsoft.com/office/drawing/2014/chart" uri="{C3380CC4-5D6E-409C-BE32-E72D297353CC}">
              <c16:uniqueId val="{00000002-4D67-4E21-BB37-AF6DFF30502F}"/>
            </c:ext>
          </c:extLst>
        </c:ser>
        <c:ser>
          <c:idx val="1"/>
          <c:order val="1"/>
          <c:tx>
            <c:strRef>
              <c:f>Sheet1!$C$1</c:f>
              <c:strCache>
                <c:ptCount val="1"/>
                <c:pt idx="0">
                  <c:v>Budget Q3 2022</c:v>
                </c:pt>
              </c:strCache>
            </c:strRef>
          </c:tx>
          <c:spPr>
            <a:solidFill>
              <a:schemeClr val="accent5">
                <a:lumMod val="50000"/>
                <a:alpha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4-4D67-4E21-BB37-AF6DFF30502F}"/>
              </c:ext>
            </c:extLst>
          </c:dPt>
          <c:dLbls>
            <c:dLbl>
              <c:idx val="0"/>
              <c:layout>
                <c:manualLayout>
                  <c:x val="0"/>
                  <c:y val="6.3089793281653817E-2"/>
                </c:manualLayout>
              </c:layout>
              <c:dLblPos val="outEnd"/>
              <c:showVal val="1"/>
              <c:extLst xmlns:c16r2="http://schemas.microsoft.com/office/drawing/2015/06/chart">
                <c:ext xmlns:c15="http://schemas.microsoft.com/office/drawing/2012/chart" uri="{CE6537A1-D6FC-4f65-9D91-7224C49458BB}">
                  <c15:layout>
                    <c:manualLayout>
                      <c:w val="0.3292544047821292"/>
                      <c:h val="0.19435594315245477"/>
                    </c:manualLayout>
                  </c15:layout>
                </c:ext>
                <c:ext xmlns:c16="http://schemas.microsoft.com/office/drawing/2014/chart" uri="{C3380CC4-5D6E-409C-BE32-E72D297353CC}">
                  <c16:uniqueId val="{00000004-4D67-4E21-BB37-AF6DFF30502F}"/>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ET INVE</c:v>
                </c:pt>
              </c:strCache>
            </c:strRef>
          </c:cat>
          <c:val>
            <c:numRef>
              <c:f>Sheet1!$C$2</c:f>
              <c:numCache>
                <c:formatCode>#,##0</c:formatCode>
                <c:ptCount val="1"/>
                <c:pt idx="0">
                  <c:v>-7683</c:v>
                </c:pt>
              </c:numCache>
            </c:numRef>
          </c:val>
          <c:extLst xmlns:c16r2="http://schemas.microsoft.com/office/drawing/2015/06/chart">
            <c:ext xmlns:c16="http://schemas.microsoft.com/office/drawing/2014/chart" uri="{C3380CC4-5D6E-409C-BE32-E72D297353CC}">
              <c16:uniqueId val="{00000005-4D67-4E21-BB37-AF6DFF30502F}"/>
            </c:ext>
          </c:extLst>
        </c:ser>
        <c:dLbls>
          <c:showVal val="1"/>
        </c:dLbls>
        <c:gapWidth val="219"/>
        <c:overlap val="-27"/>
        <c:axId val="173110784"/>
        <c:axId val="173108608"/>
      </c:barChart>
      <c:valAx>
        <c:axId val="173108608"/>
        <c:scaling>
          <c:orientation val="minMax"/>
        </c:scaling>
        <c:delete val="1"/>
        <c:axPos val="r"/>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dirty="0"/>
                  <a:t>R’M</a:t>
                </a:r>
              </a:p>
            </c:rich>
          </c:tx>
          <c:layout>
            <c:manualLayout>
              <c:xMode val="edge"/>
              <c:yMode val="edge"/>
              <c:x val="0.87799782892255251"/>
              <c:y val="0.40437037314313856"/>
            </c:manualLayout>
          </c:layout>
          <c:spPr>
            <a:noFill/>
            <a:ln>
              <a:noFill/>
            </a:ln>
            <a:effectLst/>
          </c:spPr>
        </c:title>
        <c:numFmt formatCode="#,##0" sourceLinked="1"/>
        <c:tickLblPos val="none"/>
        <c:crossAx val="173110784"/>
        <c:crosses val="max"/>
        <c:crossBetween val="between"/>
      </c:valAx>
      <c:catAx>
        <c:axId val="173110784"/>
        <c:scaling>
          <c:orientation val="minMax"/>
        </c:scaling>
        <c:delete val="1"/>
        <c:axPos val="b"/>
        <c:numFmt formatCode="General" sourceLinked="1"/>
        <c:tickLblPos val="none"/>
        <c:crossAx val="173108608"/>
        <c:crosses val="autoZero"/>
        <c:auto val="1"/>
        <c:lblAlgn val="ctr"/>
        <c:lblOffset val="100"/>
      </c:catAx>
      <c:spPr>
        <a:noFill/>
        <a:ln>
          <a:noFill/>
        </a:ln>
        <a:effectLst/>
      </c:spPr>
    </c:plotArea>
    <c:legend>
      <c:legendPos val="b"/>
      <c:layout>
        <c:manualLayout>
          <c:xMode val="edge"/>
          <c:yMode val="edge"/>
          <c:x val="0"/>
          <c:y val="0.81068125000000013"/>
          <c:w val="1"/>
          <c:h val="0.18931875000000004"/>
        </c:manualLayout>
      </c:layout>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chart>
  <c:spPr>
    <a:noFill/>
    <a:ln>
      <a:noFill/>
    </a:ln>
    <a:effectLst/>
  </c:spPr>
  <c:txPr>
    <a:bodyPr/>
    <a:lstStyle/>
    <a:p>
      <a:pPr>
        <a:defRPr sz="9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ZA" sz="1000" b="1" dirty="0">
                <a:solidFill>
                  <a:schemeClr val="tx1"/>
                </a:solidFill>
              </a:rPr>
              <a:t>CASH</a:t>
            </a:r>
            <a:r>
              <a:rPr lang="en-ZA" sz="1000" dirty="0">
                <a:solidFill>
                  <a:schemeClr val="tx1"/>
                </a:solidFill>
              </a:rPr>
              <a:t> generated from operations</a:t>
            </a:r>
          </a:p>
        </c:rich>
      </c:tx>
      <c:layout>
        <c:manualLayout>
          <c:xMode val="edge"/>
          <c:yMode val="edge"/>
          <c:x val="0.12002977313104499"/>
          <c:y val="8.2041343669250668E-3"/>
        </c:manualLayout>
      </c:layout>
      <c:spPr>
        <a:noFill/>
        <a:ln>
          <a:noFill/>
        </a:ln>
        <a:effectLst/>
      </c:spPr>
    </c:title>
    <c:plotArea>
      <c:layout>
        <c:manualLayout>
          <c:layoutTarget val="inner"/>
          <c:xMode val="edge"/>
          <c:yMode val="edge"/>
          <c:x val="8.8194444444444475E-3"/>
          <c:y val="0.28394396086301776"/>
          <c:w val="0.98698402777777772"/>
          <c:h val="0.50270376886375467"/>
        </c:manualLayout>
      </c:layout>
      <c:barChart>
        <c:barDir val="col"/>
        <c:grouping val="clustered"/>
        <c:ser>
          <c:idx val="0"/>
          <c:order val="0"/>
          <c:tx>
            <c:strRef>
              <c:f>Sheet1!$B$1</c:f>
              <c:strCache>
                <c:ptCount val="1"/>
                <c:pt idx="0">
                  <c:v>Actual Q3 2022</c:v>
                </c:pt>
              </c:strCache>
            </c:strRef>
          </c:tx>
          <c:spPr>
            <a:solidFill>
              <a:schemeClr val="bg2">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1-91AD-430C-ADE2-83F47F5F4C44}"/>
              </c:ext>
            </c:extLst>
          </c:dPt>
          <c:dLbls>
            <c:dLbl>
              <c:idx val="0"/>
              <c:layout>
                <c:manualLayout>
                  <c:x val="5.2167766122553586E-3"/>
                  <c:y val="0.27775936692506464"/>
                </c:manualLayout>
              </c:layout>
              <c:dLblPos val="outEnd"/>
              <c:showVal val="1"/>
              <c:extLst xmlns:c16r2="http://schemas.microsoft.com/office/drawing/2015/06/chart">
                <c:ext xmlns:c15="http://schemas.microsoft.com/office/drawing/2012/chart" uri="{CE6537A1-D6FC-4f65-9D91-7224C49458BB}">
                  <c15:layout>
                    <c:manualLayout>
                      <c:w val="0.34292153887351601"/>
                      <c:h val="0.21270348837209299"/>
                    </c:manualLayout>
                  </c15:layout>
                </c:ext>
                <c:ext xmlns:c16="http://schemas.microsoft.com/office/drawing/2014/chart" uri="{C3380CC4-5D6E-409C-BE32-E72D297353CC}">
                  <c16:uniqueId val="{00000001-91AD-430C-ADE2-83F47F5F4C44}"/>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sh</c:v>
                </c:pt>
              </c:strCache>
            </c:strRef>
          </c:cat>
          <c:val>
            <c:numRef>
              <c:f>Sheet1!$B$2</c:f>
              <c:numCache>
                <c:formatCode>#,##0</c:formatCode>
                <c:ptCount val="1"/>
                <c:pt idx="0">
                  <c:v>1471</c:v>
                </c:pt>
              </c:numCache>
            </c:numRef>
          </c:val>
          <c:extLst xmlns:c16r2="http://schemas.microsoft.com/office/drawing/2015/06/chart">
            <c:ext xmlns:c16="http://schemas.microsoft.com/office/drawing/2014/chart" uri="{C3380CC4-5D6E-409C-BE32-E72D297353CC}">
              <c16:uniqueId val="{00000002-91AD-430C-ADE2-83F47F5F4C44}"/>
            </c:ext>
          </c:extLst>
        </c:ser>
        <c:ser>
          <c:idx val="1"/>
          <c:order val="1"/>
          <c:tx>
            <c:strRef>
              <c:f>Sheet1!$C$1</c:f>
              <c:strCache>
                <c:ptCount val="1"/>
                <c:pt idx="0">
                  <c:v>Budget Q3 2022</c:v>
                </c:pt>
              </c:strCache>
            </c:strRef>
          </c:tx>
          <c:spPr>
            <a:solidFill>
              <a:schemeClr val="bg2">
                <a:lumMod val="50000"/>
                <a:alpha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4-91AD-430C-ADE2-83F47F5F4C44}"/>
              </c:ext>
            </c:extLst>
          </c:dPt>
          <c:dLbls>
            <c:dLbl>
              <c:idx val="0"/>
              <c:layout>
                <c:manualLayout>
                  <c:x val="3.5992663247141807E-7"/>
                  <c:y val="6.0155617878851583E-2"/>
                </c:manualLayout>
              </c:layout>
              <c:dLblPos val="outEnd"/>
              <c:showVal val="1"/>
              <c:extLst xmlns:c16r2="http://schemas.microsoft.com/office/drawing/2015/06/chart">
                <c:ext xmlns:c15="http://schemas.microsoft.com/office/drawing/2012/chart" uri="{CE6537A1-D6FC-4f65-9D91-7224C49458BB}">
                  <c15:layout>
                    <c:manualLayout>
                      <c:w val="0.46169791666666665"/>
                      <c:h val="0.16390972222222222"/>
                    </c:manualLayout>
                  </c15:layout>
                </c:ext>
                <c:ext xmlns:c16="http://schemas.microsoft.com/office/drawing/2014/chart" uri="{C3380CC4-5D6E-409C-BE32-E72D297353CC}">
                  <c16:uniqueId val="{00000004-91AD-430C-ADE2-83F47F5F4C44}"/>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sh</c:v>
                </c:pt>
              </c:strCache>
            </c:strRef>
          </c:cat>
          <c:val>
            <c:numRef>
              <c:f>Sheet1!$C$2</c:f>
              <c:numCache>
                <c:formatCode>#,##0</c:formatCode>
                <c:ptCount val="1"/>
                <c:pt idx="0">
                  <c:v>-1383</c:v>
                </c:pt>
              </c:numCache>
            </c:numRef>
          </c:val>
          <c:extLst xmlns:c16r2="http://schemas.microsoft.com/office/drawing/2015/06/chart">
            <c:ext xmlns:c16="http://schemas.microsoft.com/office/drawing/2014/chart" uri="{C3380CC4-5D6E-409C-BE32-E72D297353CC}">
              <c16:uniqueId val="{00000005-91AD-430C-ADE2-83F47F5F4C44}"/>
            </c:ext>
          </c:extLst>
        </c:ser>
        <c:dLbls>
          <c:showVal val="1"/>
        </c:dLbls>
        <c:gapWidth val="219"/>
        <c:overlap val="-27"/>
        <c:axId val="173084672"/>
        <c:axId val="173062016"/>
      </c:barChart>
      <c:valAx>
        <c:axId val="173062016"/>
        <c:scaling>
          <c:orientation val="minMax"/>
        </c:scaling>
        <c:delete val="1"/>
        <c:axPos val="r"/>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dirty="0"/>
                  <a:t>R’M</a:t>
                </a:r>
              </a:p>
            </c:rich>
          </c:tx>
          <c:layout>
            <c:manualLayout>
              <c:xMode val="edge"/>
              <c:yMode val="edge"/>
              <c:x val="0.86466542659944223"/>
              <c:y val="0.40404715902710386"/>
            </c:manualLayout>
          </c:layout>
          <c:spPr>
            <a:noFill/>
            <a:ln>
              <a:noFill/>
            </a:ln>
            <a:effectLst/>
          </c:spPr>
        </c:title>
        <c:numFmt formatCode="#,##0" sourceLinked="1"/>
        <c:tickLblPos val="none"/>
        <c:crossAx val="173084672"/>
        <c:crosses val="max"/>
        <c:crossBetween val="between"/>
      </c:valAx>
      <c:catAx>
        <c:axId val="173084672"/>
        <c:scaling>
          <c:orientation val="minMax"/>
        </c:scaling>
        <c:delete val="1"/>
        <c:axPos val="b"/>
        <c:numFmt formatCode="General" sourceLinked="1"/>
        <c:tickLblPos val="none"/>
        <c:crossAx val="173062016"/>
        <c:crosses val="autoZero"/>
        <c:auto val="1"/>
        <c:lblAlgn val="ctr"/>
        <c:lblOffset val="100"/>
      </c:catAx>
      <c:spPr>
        <a:noFill/>
        <a:ln>
          <a:noFill/>
        </a:ln>
        <a:effectLst/>
      </c:spPr>
    </c:plotArea>
    <c:legend>
      <c:legendPos val="b"/>
      <c:layout>
        <c:manualLayout>
          <c:xMode val="edge"/>
          <c:yMode val="edge"/>
          <c:x val="0"/>
          <c:y val="0.81068125000000013"/>
          <c:w val="1"/>
          <c:h val="0.18931875000000004"/>
        </c:manualLayout>
      </c:layout>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chart>
  <c:spPr>
    <a:noFill/>
    <a:ln>
      <a:noFill/>
    </a:ln>
    <a:effectLst/>
  </c:spPr>
  <c:txPr>
    <a:bodyPr/>
    <a:lstStyle/>
    <a:p>
      <a:pPr>
        <a:defRPr sz="9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000" b="1" i="0" u="none" strike="noStrike" kern="1200" spc="0" baseline="0">
                <a:solidFill>
                  <a:schemeClr val="tx1"/>
                </a:solidFill>
                <a:latin typeface="+mn-lt"/>
                <a:ea typeface="+mn-ea"/>
                <a:cs typeface="+mn-cs"/>
              </a:defRPr>
            </a:pPr>
            <a:r>
              <a:rPr lang="en-US" sz="1000" b="1" dirty="0">
                <a:solidFill>
                  <a:schemeClr val="tx1"/>
                </a:solidFill>
              </a:rPr>
              <a:t>Q3 FY21/22</a:t>
            </a:r>
            <a:endParaRPr lang="en-ZA" sz="1000" b="1" dirty="0">
              <a:solidFill>
                <a:schemeClr val="tx1"/>
              </a:solidFill>
            </a:endParaRPr>
          </a:p>
        </c:rich>
      </c:tx>
      <c:layout>
        <c:manualLayout>
          <c:xMode val="edge"/>
          <c:yMode val="edge"/>
          <c:x val="0.296421177507177"/>
          <c:y val="1.0050387596899224E-2"/>
        </c:manualLayout>
      </c:layout>
      <c:spPr>
        <a:noFill/>
        <a:ln>
          <a:noFill/>
        </a:ln>
        <a:effectLst/>
      </c:spPr>
    </c:title>
    <c:plotArea>
      <c:layout>
        <c:manualLayout>
          <c:layoutTarget val="inner"/>
          <c:xMode val="edge"/>
          <c:yMode val="edge"/>
          <c:x val="8.8194444444444475E-3"/>
          <c:y val="0.25135416666666671"/>
          <c:w val="0.98698402777777772"/>
          <c:h val="0.52647361111111102"/>
        </c:manualLayout>
      </c:layout>
      <c:barChart>
        <c:barDir val="col"/>
        <c:grouping val="clustered"/>
        <c:ser>
          <c:idx val="0"/>
          <c:order val="0"/>
          <c:tx>
            <c:strRef>
              <c:f>Sheet1!$B$1</c:f>
              <c:strCache>
                <c:ptCount val="1"/>
                <c:pt idx="0">
                  <c:v>Irregular</c:v>
                </c:pt>
              </c:strCache>
            </c:strRef>
          </c:tx>
          <c:spPr>
            <a:solidFill>
              <a:srgbClr val="8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Lbls>
            <c:dLbl>
              <c:idx val="0"/>
              <c:layout>
                <c:manualLayout>
                  <c:x val="-9.1421364669025933E-3"/>
                  <c:y val="0.10654586563307492"/>
                </c:manualLayout>
              </c:layout>
              <c:tx>
                <c:rich>
                  <a:bodyPr/>
                  <a:lstStyle/>
                  <a:p>
                    <a:r>
                      <a:rPr lang="en-US" dirty="0"/>
                      <a:t>89M</a:t>
                    </a:r>
                  </a:p>
                </c:rich>
              </c:tx>
              <c:dLblPos val="outEnd"/>
              <c:showVal val="1"/>
              <c:extLst xmlns:c16r2="http://schemas.microsoft.com/office/drawing/2015/06/chart">
                <c:ext xmlns:c15="http://schemas.microsoft.com/office/drawing/2012/chart" uri="{CE6537A1-D6FC-4f65-9D91-7224C49458BB}">
                  <c15:layout>
                    <c:manualLayout>
                      <c:w val="0.69493986345823267"/>
                      <c:h val="0.31115310077519381"/>
                    </c:manualLayout>
                  </c15:layout>
                </c:ext>
                <c:ext xmlns:c16="http://schemas.microsoft.com/office/drawing/2014/chart" uri="{C3380CC4-5D6E-409C-BE32-E72D297353CC}">
                  <c16:uniqueId val="{00000002-559D-4060-9945-0192A2FBC919}"/>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c:v>
                </c:pt>
              </c:strCache>
            </c:strRef>
          </c:cat>
          <c:val>
            <c:numRef>
              <c:f>Sheet1!$B$2</c:f>
              <c:numCache>
                <c:formatCode>#,##0</c:formatCode>
                <c:ptCount val="1"/>
                <c:pt idx="0">
                  <c:v>89000000</c:v>
                </c:pt>
              </c:numCache>
            </c:numRef>
          </c:val>
          <c:extLst xmlns:c16r2="http://schemas.microsoft.com/office/drawing/2015/06/chart">
            <c:ext xmlns:c16="http://schemas.microsoft.com/office/drawing/2014/chart" uri="{C3380CC4-5D6E-409C-BE32-E72D297353CC}">
              <c16:uniqueId val="{00000001-4531-4BAF-8E13-3A982A394E13}"/>
            </c:ext>
          </c:extLst>
        </c:ser>
        <c:ser>
          <c:idx val="1"/>
          <c:order val="1"/>
          <c:tx>
            <c:strRef>
              <c:f>Sheet1!$C$1</c:f>
              <c:strCache>
                <c:ptCount val="1"/>
                <c:pt idx="0">
                  <c:v>Fruitless/Wasteful</c:v>
                </c:pt>
              </c:strCache>
            </c:strRef>
          </c:tx>
          <c:spPr>
            <a:solidFill>
              <a:srgbClr val="800000">
                <a:alpha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3-4531-4BAF-8E13-3A982A394E13}"/>
              </c:ext>
            </c:extLst>
          </c:dPt>
          <c:dLbls>
            <c:dLbl>
              <c:idx val="0"/>
              <c:layout>
                <c:manualLayout>
                  <c:x val="7.198532650266382E-7"/>
                  <c:y val="5.5324289405684762E-2"/>
                </c:manualLayout>
              </c:layout>
              <c:tx>
                <c:rich>
                  <a:bodyPr/>
                  <a:lstStyle/>
                  <a:p>
                    <a:r>
                      <a:rPr lang="en-US" dirty="0">
                        <a:solidFill>
                          <a:schemeClr val="tx1"/>
                        </a:solidFill>
                      </a:rPr>
                      <a:t>1.2M</a:t>
                    </a:r>
                    <a:endParaRPr lang="en-US" dirty="0"/>
                  </a:p>
                </c:rich>
              </c:tx>
              <c:dLblPos val="outEnd"/>
              <c:showVal val="1"/>
              <c:extLst xmlns:c16r2="http://schemas.microsoft.com/office/drawing/2015/06/chart">
                <c:ext xmlns:c15="http://schemas.microsoft.com/office/drawing/2012/chart" uri="{CE6537A1-D6FC-4f65-9D91-7224C49458BB}">
                  <c15:layout>
                    <c:manualLayout>
                      <c:w val="0.47552858825257061"/>
                      <c:h val="0.21657751937984496"/>
                    </c:manualLayout>
                  </c15:layout>
                </c:ext>
                <c:ext xmlns:c16="http://schemas.microsoft.com/office/drawing/2014/chart" uri="{C3380CC4-5D6E-409C-BE32-E72D297353CC}">
                  <c16:uniqueId val="{00000003-4531-4BAF-8E13-3A982A394E13}"/>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c:v>
                </c:pt>
              </c:strCache>
            </c:strRef>
          </c:cat>
          <c:val>
            <c:numRef>
              <c:f>Sheet1!$C$2</c:f>
              <c:numCache>
                <c:formatCode>#,##0</c:formatCode>
                <c:ptCount val="1"/>
                <c:pt idx="0">
                  <c:v>1200000</c:v>
                </c:pt>
              </c:numCache>
            </c:numRef>
          </c:val>
          <c:extLst xmlns:c16r2="http://schemas.microsoft.com/office/drawing/2015/06/chart">
            <c:ext xmlns:c16="http://schemas.microsoft.com/office/drawing/2014/chart" uri="{C3380CC4-5D6E-409C-BE32-E72D297353CC}">
              <c16:uniqueId val="{00000004-4531-4BAF-8E13-3A982A394E13}"/>
            </c:ext>
          </c:extLst>
        </c:ser>
        <c:dLbls>
          <c:showVal val="1"/>
        </c:dLbls>
        <c:gapWidth val="219"/>
        <c:overlap val="-27"/>
        <c:axId val="173205376"/>
        <c:axId val="173203840"/>
      </c:barChart>
      <c:valAx>
        <c:axId val="173203840"/>
        <c:scaling>
          <c:orientation val="minMax"/>
        </c:scaling>
        <c:delete val="1"/>
        <c:axPos val="r"/>
        <c:numFmt formatCode="#,##0" sourceLinked="1"/>
        <c:tickLblPos val="none"/>
        <c:crossAx val="173205376"/>
        <c:crosses val="max"/>
        <c:crossBetween val="between"/>
      </c:valAx>
      <c:catAx>
        <c:axId val="173205376"/>
        <c:scaling>
          <c:orientation val="minMax"/>
        </c:scaling>
        <c:delete val="1"/>
        <c:axPos val="b"/>
        <c:numFmt formatCode="General" sourceLinked="1"/>
        <c:tickLblPos val="none"/>
        <c:crossAx val="173203840"/>
        <c:crosses val="autoZero"/>
        <c:auto val="1"/>
        <c:lblAlgn val="ctr"/>
        <c:lblOffset val="100"/>
      </c:catAx>
      <c:spPr>
        <a:noFill/>
        <a:ln>
          <a:noFill/>
        </a:ln>
        <a:effectLst/>
      </c:spPr>
    </c:plotArea>
    <c:legend>
      <c:legendPos val="b"/>
      <c:layout>
        <c:manualLayout>
          <c:xMode val="edge"/>
          <c:yMode val="edge"/>
          <c:x val="0"/>
          <c:y val="0.81068125000000013"/>
          <c:w val="1"/>
          <c:h val="0.18931875000000004"/>
        </c:manualLayout>
      </c:layout>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chart>
  <c:spPr>
    <a:noFill/>
    <a:ln>
      <a:noFill/>
    </a:ln>
    <a:effectLst/>
  </c:spPr>
  <c:txPr>
    <a:bodyPr/>
    <a:lstStyle/>
    <a:p>
      <a:pPr>
        <a:defRPr sz="900"/>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ZA" sz="1000" b="1" dirty="0">
                <a:solidFill>
                  <a:schemeClr val="tx1"/>
                </a:solidFill>
              </a:rPr>
              <a:t>OPERATING</a:t>
            </a:r>
            <a:r>
              <a:rPr lang="en-ZA" sz="1000" dirty="0">
                <a:solidFill>
                  <a:schemeClr val="tx1"/>
                </a:solidFill>
              </a:rPr>
              <a:t> </a:t>
            </a:r>
            <a:br>
              <a:rPr lang="en-ZA" sz="1000" dirty="0">
                <a:solidFill>
                  <a:schemeClr val="tx1"/>
                </a:solidFill>
              </a:rPr>
            </a:br>
            <a:r>
              <a:rPr lang="en-ZA" sz="1000" dirty="0">
                <a:solidFill>
                  <a:schemeClr val="tx1"/>
                </a:solidFill>
              </a:rPr>
              <a:t>profit/(loss)</a:t>
            </a:r>
          </a:p>
        </c:rich>
      </c:tx>
      <c:layout>
        <c:manualLayout>
          <c:xMode val="edge"/>
          <c:yMode val="edge"/>
          <c:x val="0.26340000000000002"/>
          <c:y val="0"/>
        </c:manualLayout>
      </c:layout>
      <c:spPr>
        <a:noFill/>
        <a:ln>
          <a:noFill/>
        </a:ln>
        <a:effectLst/>
      </c:spPr>
    </c:title>
    <c:plotArea>
      <c:layout>
        <c:manualLayout>
          <c:layoutTarget val="inner"/>
          <c:xMode val="edge"/>
          <c:yMode val="edge"/>
          <c:x val="8.8194444444444475E-3"/>
          <c:y val="0.26899305555555553"/>
          <c:w val="0.98698402777777772"/>
          <c:h val="0.54411249999999978"/>
        </c:manualLayout>
      </c:layout>
      <c:barChart>
        <c:barDir val="col"/>
        <c:grouping val="clustered"/>
        <c:ser>
          <c:idx val="0"/>
          <c:order val="0"/>
          <c:tx>
            <c:strRef>
              <c:f>Sheet1!$B$1</c:f>
              <c:strCache>
                <c:ptCount val="1"/>
                <c:pt idx="0">
                  <c:v>Actual Q3 2022</c:v>
                </c:pt>
              </c:strCache>
            </c:strRef>
          </c:tx>
          <c:spPr>
            <a:solidFill>
              <a:srgbClr val="EC3C0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1-972D-4146-A471-D1D5330A8AC5}"/>
              </c:ext>
            </c:extLst>
          </c:dPt>
          <c:dLbls>
            <c:dLbl>
              <c:idx val="0"/>
              <c:layout>
                <c:manualLayout>
                  <c:x val="-1.3712844773721346E-2"/>
                  <c:y val="0.22473546511627912"/>
                </c:manualLayout>
              </c:layout>
              <c:spPr>
                <a:noFill/>
                <a:ln>
                  <a:noFill/>
                </a:ln>
                <a:effectLst/>
              </c:spPr>
              <c:txPr>
                <a:bodyPr rot="0" spcFirstLastPara="1" vertOverflow="ellipsis" vert="horz" wrap="square" anchor="ctr" anchorCtr="1"/>
                <a:lstStyle/>
                <a:p>
                  <a:pPr>
                    <a:defRPr sz="900" b="1" i="0" u="none" strike="noStrike" kern="1200" baseline="0">
                      <a:solidFill>
                        <a:schemeClr val="bg1">
                          <a:lumMod val="95000"/>
                        </a:schemeClr>
                      </a:solidFill>
                      <a:effectLst>
                        <a:outerShdw blurRad="38100" dist="38100" dir="2700000" algn="tl">
                          <a:srgbClr val="000000">
                            <a:alpha val="43137"/>
                          </a:srgbClr>
                        </a:outerShdw>
                      </a:effectLst>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layout>
                    <c:manualLayout>
                      <c:w val="0.33753055777110391"/>
                      <c:h val="0.30035373589447528"/>
                    </c:manualLayout>
                  </c15:layout>
                </c:ext>
                <c:ext xmlns:c16="http://schemas.microsoft.com/office/drawing/2014/chart" uri="{C3380CC4-5D6E-409C-BE32-E72D297353CC}">
                  <c16:uniqueId val="{00000001-972D-4146-A471-D1D5330A8AC5}"/>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ERATING PROFIT/LOSS</c:v>
                </c:pt>
              </c:strCache>
            </c:strRef>
          </c:cat>
          <c:val>
            <c:numRef>
              <c:f>Sheet1!$B$2</c:f>
              <c:numCache>
                <c:formatCode>#,##0</c:formatCode>
                <c:ptCount val="1"/>
                <c:pt idx="0">
                  <c:v>-933</c:v>
                </c:pt>
              </c:numCache>
            </c:numRef>
          </c:val>
          <c:extLst xmlns:c16r2="http://schemas.microsoft.com/office/drawing/2015/06/chart">
            <c:ext xmlns:c16="http://schemas.microsoft.com/office/drawing/2014/chart" uri="{C3380CC4-5D6E-409C-BE32-E72D297353CC}">
              <c16:uniqueId val="{00000002-972D-4146-A471-D1D5330A8AC5}"/>
            </c:ext>
          </c:extLst>
        </c:ser>
        <c:ser>
          <c:idx val="1"/>
          <c:order val="1"/>
          <c:tx>
            <c:strRef>
              <c:f>Sheet1!$C$1</c:f>
              <c:strCache>
                <c:ptCount val="1"/>
                <c:pt idx="0">
                  <c:v>Budget Q3 2022</c:v>
                </c:pt>
              </c:strCache>
            </c:strRef>
          </c:tx>
          <c:spPr>
            <a:solidFill>
              <a:srgbClr val="EC3C0F">
                <a:alpha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4-972D-4146-A471-D1D5330A8AC5}"/>
              </c:ext>
            </c:extLst>
          </c:dPt>
          <c:dLbls>
            <c:dLbl>
              <c:idx val="0"/>
              <c:layout>
                <c:manualLayout>
                  <c:x val="4.0869669126644493E-3"/>
                  <c:y val="0.25064390837269412"/>
                </c:manualLayout>
              </c:layout>
              <c:dLblPos val="outEnd"/>
              <c:showVal val="1"/>
              <c:extLst xmlns:c16r2="http://schemas.microsoft.com/office/drawing/2015/06/chart">
                <c:ext xmlns:c15="http://schemas.microsoft.com/office/drawing/2012/chart" uri="{CE6537A1-D6FC-4f65-9D91-7224C49458BB}">
                  <c15:layout>
                    <c:manualLayout>
                      <c:w val="0.33656235512953037"/>
                      <c:h val="0.18413630490956073"/>
                    </c:manualLayout>
                  </c15:layout>
                </c:ext>
                <c:ext xmlns:c16="http://schemas.microsoft.com/office/drawing/2014/chart" uri="{C3380CC4-5D6E-409C-BE32-E72D297353CC}">
                  <c16:uniqueId val="{00000004-972D-4146-A471-D1D5330A8AC5}"/>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ERATING PROFIT/LOSS</c:v>
                </c:pt>
              </c:strCache>
            </c:strRef>
          </c:cat>
          <c:val>
            <c:numRef>
              <c:f>Sheet1!$C$2</c:f>
              <c:numCache>
                <c:formatCode>#,##0</c:formatCode>
                <c:ptCount val="1"/>
                <c:pt idx="0">
                  <c:v>-1833</c:v>
                </c:pt>
              </c:numCache>
            </c:numRef>
          </c:val>
          <c:extLst xmlns:c16r2="http://schemas.microsoft.com/office/drawing/2015/06/chart">
            <c:ext xmlns:c16="http://schemas.microsoft.com/office/drawing/2014/chart" uri="{C3380CC4-5D6E-409C-BE32-E72D297353CC}">
              <c16:uniqueId val="{00000005-972D-4146-A471-D1D5330A8AC5}"/>
            </c:ext>
          </c:extLst>
        </c:ser>
        <c:dLbls>
          <c:showVal val="1"/>
        </c:dLbls>
        <c:gapWidth val="219"/>
        <c:overlap val="-27"/>
        <c:axId val="173353984"/>
        <c:axId val="173352064"/>
      </c:barChart>
      <c:valAx>
        <c:axId val="173352064"/>
        <c:scaling>
          <c:orientation val="minMax"/>
        </c:scaling>
        <c:delete val="1"/>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dirty="0"/>
                  <a:t>R’M</a:t>
                </a:r>
              </a:p>
            </c:rich>
          </c:tx>
          <c:layout>
            <c:manualLayout>
              <c:xMode val="edge"/>
              <c:yMode val="edge"/>
              <c:x val="0.87799782892255251"/>
              <c:y val="0.40878019424520512"/>
            </c:manualLayout>
          </c:layout>
          <c:spPr>
            <a:noFill/>
            <a:ln>
              <a:noFill/>
            </a:ln>
            <a:effectLst/>
          </c:spPr>
        </c:title>
        <c:numFmt formatCode="#,##0" sourceLinked="1"/>
        <c:tickLblPos val="none"/>
        <c:crossAx val="173353984"/>
        <c:crosses val="max"/>
        <c:crossBetween val="between"/>
      </c:valAx>
      <c:catAx>
        <c:axId val="173353984"/>
        <c:scaling>
          <c:orientation val="minMax"/>
        </c:scaling>
        <c:delete val="1"/>
        <c:axPos val="b"/>
        <c:numFmt formatCode="General" sourceLinked="1"/>
        <c:tickLblPos val="none"/>
        <c:crossAx val="173352064"/>
        <c:crosses val="autoZero"/>
        <c:auto val="1"/>
        <c:lblAlgn val="ctr"/>
        <c:lblOffset val="100"/>
      </c:catAx>
      <c:spPr>
        <a:noFill/>
        <a:ln>
          <a:noFill/>
        </a:ln>
        <a:effectLst/>
      </c:spPr>
    </c:plotArea>
    <c:legend>
      <c:legendPos val="b"/>
      <c:layout>
        <c:manualLayout>
          <c:xMode val="edge"/>
          <c:yMode val="edge"/>
          <c:x val="0"/>
          <c:y val="0.81068125000000013"/>
          <c:w val="1"/>
          <c:h val="0.18931875000000004"/>
        </c:manualLayout>
      </c:layout>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chart>
  <c:spPr>
    <a:noFill/>
    <a:ln>
      <a:noFill/>
    </a:ln>
    <a:effectLst/>
  </c:spPr>
  <c:txPr>
    <a:bodyPr/>
    <a:lstStyle/>
    <a:p>
      <a:pPr>
        <a:defRPr sz="900"/>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0.31780567661508125"/>
          <c:y val="1.0616319444444444E-2"/>
          <c:w val="0.85398558966518734"/>
          <c:h val="0.93732548584175779"/>
        </c:manualLayout>
      </c:layout>
      <c:pieChart>
        <c:varyColors val="1"/>
        <c:dLbls>
          <c:showPercent val="1"/>
        </c:dLbls>
        <c:firstSliceAng val="0"/>
      </c:pieChart>
      <c:spPr>
        <a:noFill/>
        <a:ln w="25400">
          <a:noFill/>
        </a:ln>
        <a:effectLst/>
      </c:spPr>
    </c:plotArea>
    <c:plotVisOnly val="1"/>
    <c:dispBlanksAs val="zero"/>
  </c:chart>
  <c:spPr>
    <a:noFill/>
    <a:ln w="9525" cap="flat" cmpd="sng" algn="ctr">
      <a:noFill/>
      <a:round/>
    </a:ln>
    <a:effectLst/>
  </c:spPr>
  <c:txPr>
    <a:bodyPr/>
    <a:lstStyle/>
    <a:p>
      <a:pPr>
        <a:defRPr/>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2026635867768014E-2"/>
          <c:y val="0.15210970707004814"/>
          <c:w val="0.42372000510558344"/>
          <c:h val="0.83013682685014278"/>
        </c:manualLayout>
      </c:layout>
      <c:pieChart>
        <c:varyColors val="1"/>
        <c:ser>
          <c:idx val="0"/>
          <c:order val="0"/>
          <c:spPr>
            <a:effectLst>
              <a:innerShdw blurRad="63500" dist="50800" dir="13500000">
                <a:prstClr val="black">
                  <a:alpha val="50000"/>
                </a:prstClr>
              </a:innerShdw>
            </a:effectLst>
          </c:spPr>
          <c:dPt>
            <c:idx val="0"/>
            <c:spPr>
              <a:solidFill>
                <a:schemeClr val="accent1"/>
              </a:solidFill>
              <a:ln w="19050">
                <a:solidFill>
                  <a:schemeClr val="lt1"/>
                </a:solidFill>
              </a:ln>
              <a:effectLst>
                <a:innerShdw blurRad="63500" dist="50800" dir="13500000">
                  <a:prstClr val="black">
                    <a:alpha val="50000"/>
                  </a:prstClr>
                </a:innerShdw>
              </a:effectLst>
            </c:spPr>
            <c:extLst xmlns:c16r2="http://schemas.microsoft.com/office/drawing/2015/06/chart">
              <c:ext xmlns:c16="http://schemas.microsoft.com/office/drawing/2014/chart" uri="{C3380CC4-5D6E-409C-BE32-E72D297353CC}">
                <c16:uniqueId val="{00000001-59D7-48F4-90CF-D22B346F1BE4}"/>
              </c:ext>
            </c:extLst>
          </c:dPt>
          <c:dPt>
            <c:idx val="1"/>
            <c:spPr>
              <a:solidFill>
                <a:schemeClr val="accent2"/>
              </a:solidFill>
              <a:ln w="19050">
                <a:solidFill>
                  <a:schemeClr val="lt1"/>
                </a:solidFill>
              </a:ln>
              <a:effectLst>
                <a:innerShdw blurRad="63500" dist="50800" dir="13500000">
                  <a:prstClr val="black">
                    <a:alpha val="50000"/>
                  </a:prstClr>
                </a:innerShdw>
              </a:effectLst>
            </c:spPr>
            <c:extLst xmlns:c16r2="http://schemas.microsoft.com/office/drawing/2015/06/chart">
              <c:ext xmlns:c16="http://schemas.microsoft.com/office/drawing/2014/chart" uri="{C3380CC4-5D6E-409C-BE32-E72D297353CC}">
                <c16:uniqueId val="{00000003-59D7-48F4-90CF-D22B346F1BE4}"/>
              </c:ext>
            </c:extLst>
          </c:dPt>
          <c:dPt>
            <c:idx val="2"/>
            <c:spPr>
              <a:solidFill>
                <a:schemeClr val="accent3"/>
              </a:solidFill>
              <a:ln w="19050">
                <a:solidFill>
                  <a:schemeClr val="lt1"/>
                </a:solidFill>
              </a:ln>
              <a:effectLst>
                <a:innerShdw blurRad="63500" dist="50800" dir="13500000">
                  <a:prstClr val="black">
                    <a:alpha val="50000"/>
                  </a:prstClr>
                </a:innerShdw>
              </a:effectLst>
            </c:spPr>
            <c:extLst xmlns:c16r2="http://schemas.microsoft.com/office/drawing/2015/06/chart">
              <c:ext xmlns:c16="http://schemas.microsoft.com/office/drawing/2014/chart" uri="{C3380CC4-5D6E-409C-BE32-E72D297353CC}">
                <c16:uniqueId val="{00000005-59D7-48F4-90CF-D22B346F1BE4}"/>
              </c:ext>
            </c:extLst>
          </c:dPt>
          <c:dPt>
            <c:idx val="3"/>
            <c:spPr>
              <a:solidFill>
                <a:schemeClr val="accent4"/>
              </a:solidFill>
              <a:ln w="19050">
                <a:solidFill>
                  <a:schemeClr val="lt1"/>
                </a:solidFill>
              </a:ln>
              <a:effectLst>
                <a:innerShdw blurRad="63500" dist="50800" dir="13500000">
                  <a:prstClr val="black">
                    <a:alpha val="50000"/>
                  </a:prstClr>
                </a:innerShdw>
              </a:effectLst>
            </c:spPr>
            <c:extLst xmlns:c16r2="http://schemas.microsoft.com/office/drawing/2015/06/chart">
              <c:ext xmlns:c16="http://schemas.microsoft.com/office/drawing/2014/chart" uri="{C3380CC4-5D6E-409C-BE32-E72D297353CC}">
                <c16:uniqueId val="{00000007-59D7-48F4-90CF-D22B346F1BE4}"/>
              </c:ext>
            </c:extLst>
          </c:dPt>
          <c:dPt>
            <c:idx val="4"/>
            <c:spPr>
              <a:solidFill>
                <a:schemeClr val="accent5"/>
              </a:solidFill>
              <a:ln w="19050">
                <a:solidFill>
                  <a:schemeClr val="lt1"/>
                </a:solidFill>
              </a:ln>
              <a:effectLst>
                <a:innerShdw blurRad="63500" dist="50800" dir="13500000">
                  <a:prstClr val="black">
                    <a:alpha val="50000"/>
                  </a:prstClr>
                </a:innerShdw>
              </a:effectLst>
            </c:spPr>
            <c:extLst xmlns:c16r2="http://schemas.microsoft.com/office/drawing/2015/06/chart">
              <c:ext xmlns:c16="http://schemas.microsoft.com/office/drawing/2014/chart" uri="{C3380CC4-5D6E-409C-BE32-E72D297353CC}">
                <c16:uniqueId val="{00000009-59D7-48F4-90CF-D22B346F1BE4}"/>
              </c:ext>
            </c:extLst>
          </c:dPt>
          <c:dLbls>
            <c:dLbl>
              <c:idx val="3"/>
              <c:layout>
                <c:manualLayout>
                  <c:x val="7.803348857919512E-2"/>
                  <c:y val="0.1256870442356077"/>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59D7-48F4-90CF-D22B346F1BE4}"/>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2!$C$39:$C$43</c:f>
              <c:strCache>
                <c:ptCount val="5"/>
                <c:pt idx="0">
                  <c:v>Growth &amp; Sustainability</c:v>
                </c:pt>
                <c:pt idx="1">
                  <c:v>Innovation &amp; Business</c:v>
                </c:pt>
                <c:pt idx="2">
                  <c:v>Governance &amp; Risk Management</c:v>
                </c:pt>
                <c:pt idx="3">
                  <c:v>People &amp; Leadership</c:v>
                </c:pt>
                <c:pt idx="4">
                  <c:v>Partnership &amp; Stakeholder Management</c:v>
                </c:pt>
              </c:strCache>
            </c:strRef>
          </c:cat>
          <c:val>
            <c:numRef>
              <c:f>Sheet2!$D$39:$D$43</c:f>
              <c:numCache>
                <c:formatCode>0%</c:formatCode>
                <c:ptCount val="5"/>
                <c:pt idx="0">
                  <c:v>0.46</c:v>
                </c:pt>
                <c:pt idx="1">
                  <c:v>9.0000000000000011E-2</c:v>
                </c:pt>
                <c:pt idx="2">
                  <c:v>0.27</c:v>
                </c:pt>
                <c:pt idx="3">
                  <c:v>9.0000000000000011E-2</c:v>
                </c:pt>
                <c:pt idx="4">
                  <c:v>9.0000000000000011E-2</c:v>
                </c:pt>
              </c:numCache>
            </c:numRef>
          </c:val>
          <c:extLst xmlns:c16r2="http://schemas.microsoft.com/office/drawing/2015/06/chart">
            <c:ext xmlns:c16="http://schemas.microsoft.com/office/drawing/2014/chart" uri="{C3380CC4-5D6E-409C-BE32-E72D297353CC}">
              <c16:uniqueId val="{0000000A-59D7-48F4-90CF-D22B346F1BE4}"/>
            </c:ext>
          </c:extLst>
        </c:ser>
        <c:dLbls/>
        <c:firstSliceAng val="0"/>
      </c:pieChart>
      <c:spPr>
        <a:noFill/>
        <a:ln>
          <a:noFill/>
        </a:ln>
        <a:effectLst/>
      </c:spPr>
    </c:plotArea>
    <c:legend>
      <c:legendPos val="b"/>
      <c:layout>
        <c:manualLayout>
          <c:xMode val="edge"/>
          <c:yMode val="edge"/>
          <c:x val="0.53699507689876946"/>
          <c:y val="0.13236274144880153"/>
          <c:w val="0.4563075989949445"/>
          <c:h val="0.85474954303643824"/>
        </c:manualLayout>
      </c:layout>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2"/>
</c:chartSpace>
</file>

<file path=ppt/charts/chart8.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4.1647120850597873E-2"/>
          <c:y val="0.14294014943998698"/>
          <c:w val="0.95835287914940215"/>
          <c:h val="0.45695264544793307"/>
        </c:manualLayout>
      </c:layout>
      <c:barChart>
        <c:barDir val="col"/>
        <c:grouping val="clustered"/>
        <c:ser>
          <c:idx val="0"/>
          <c:order val="0"/>
          <c:tx>
            <c:strRef>
              <c:f>Sheet3!$D$16</c:f>
              <c:strCache>
                <c:ptCount val="1"/>
                <c:pt idx="0">
                  <c:v>SUING</c:v>
                </c:pt>
              </c:strCache>
            </c:strRef>
          </c:tx>
          <c:spPr>
            <a:solidFill>
              <a:schemeClr val="accent1"/>
            </a:solidFill>
            <a:ln>
              <a:noFill/>
            </a:ln>
            <a:effectLst>
              <a:innerShdw blurRad="63500" dist="50800" dir="13500000">
                <a:prstClr val="black">
                  <a:alpha val="50000"/>
                </a:prstClr>
              </a:innerShdw>
            </a:effectLst>
          </c:spP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17:$C$22</c:f>
              <c:strCache>
                <c:ptCount val="6"/>
                <c:pt idx="0">
                  <c:v>AEMFC</c:v>
                </c:pt>
                <c:pt idx="1">
                  <c:v>IGAS</c:v>
                </c:pt>
                <c:pt idx="2">
                  <c:v>PASA</c:v>
                </c:pt>
                <c:pt idx="3">
                  <c:v>SFF</c:v>
                </c:pt>
                <c:pt idx="4">
                  <c:v>PETROSA</c:v>
                </c:pt>
                <c:pt idx="5">
                  <c:v>CEF SOC</c:v>
                </c:pt>
              </c:strCache>
            </c:strRef>
          </c:cat>
          <c:val>
            <c:numRef>
              <c:f>Sheet3!$D$17:$D$22</c:f>
              <c:numCache>
                <c:formatCode>General</c:formatCode>
                <c:ptCount val="6"/>
                <c:pt idx="0">
                  <c:v>0</c:v>
                </c:pt>
                <c:pt idx="1">
                  <c:v>0</c:v>
                </c:pt>
                <c:pt idx="2">
                  <c:v>0</c:v>
                </c:pt>
                <c:pt idx="3">
                  <c:v>5</c:v>
                </c:pt>
                <c:pt idx="4">
                  <c:v>7</c:v>
                </c:pt>
                <c:pt idx="5">
                  <c:v>2</c:v>
                </c:pt>
              </c:numCache>
            </c:numRef>
          </c:val>
          <c:extLst xmlns:c16r2="http://schemas.microsoft.com/office/drawing/2015/06/chart">
            <c:ext xmlns:c16="http://schemas.microsoft.com/office/drawing/2014/chart" uri="{C3380CC4-5D6E-409C-BE32-E72D297353CC}">
              <c16:uniqueId val="{00000000-85F9-4E12-9357-02F51EBDE14E}"/>
            </c:ext>
          </c:extLst>
        </c:ser>
        <c:ser>
          <c:idx val="1"/>
          <c:order val="1"/>
          <c:tx>
            <c:strRef>
              <c:f>Sheet3!$E$16</c:f>
              <c:strCache>
                <c:ptCount val="1"/>
                <c:pt idx="0">
                  <c:v>BEING SUED</c:v>
                </c:pt>
              </c:strCache>
            </c:strRef>
          </c:tx>
          <c:spPr>
            <a:solidFill>
              <a:srgbClr val="FFC000"/>
            </a:solidFill>
            <a:ln>
              <a:noFill/>
            </a:ln>
            <a:effectLst>
              <a:innerShdw blurRad="63500" dist="50800" dir="13500000">
                <a:prstClr val="black">
                  <a:alpha val="50000"/>
                </a:prstClr>
              </a:innerShdw>
            </a:effectLst>
          </c:spP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17:$C$22</c:f>
              <c:strCache>
                <c:ptCount val="6"/>
                <c:pt idx="0">
                  <c:v>AEMFC</c:v>
                </c:pt>
                <c:pt idx="1">
                  <c:v>IGAS</c:v>
                </c:pt>
                <c:pt idx="2">
                  <c:v>PASA</c:v>
                </c:pt>
                <c:pt idx="3">
                  <c:v>SFF</c:v>
                </c:pt>
                <c:pt idx="4">
                  <c:v>PETROSA</c:v>
                </c:pt>
                <c:pt idx="5">
                  <c:v>CEF SOC</c:v>
                </c:pt>
              </c:strCache>
            </c:strRef>
          </c:cat>
          <c:val>
            <c:numRef>
              <c:f>Sheet3!$E$17:$E$22</c:f>
              <c:numCache>
                <c:formatCode>General</c:formatCode>
                <c:ptCount val="6"/>
                <c:pt idx="0">
                  <c:v>3</c:v>
                </c:pt>
                <c:pt idx="3">
                  <c:v>0</c:v>
                </c:pt>
                <c:pt idx="4">
                  <c:v>9</c:v>
                </c:pt>
              </c:numCache>
            </c:numRef>
          </c:val>
          <c:extLst xmlns:c16r2="http://schemas.microsoft.com/office/drawing/2015/06/chart">
            <c:ext xmlns:c16="http://schemas.microsoft.com/office/drawing/2014/chart" uri="{C3380CC4-5D6E-409C-BE32-E72D297353CC}">
              <c16:uniqueId val="{00000001-85F9-4E12-9357-02F51EBDE14E}"/>
            </c:ext>
          </c:extLst>
        </c:ser>
        <c:dLbls/>
        <c:gapWidth val="219"/>
        <c:overlap val="-27"/>
        <c:axId val="173625344"/>
        <c:axId val="173626880"/>
      </c:barChart>
      <c:catAx>
        <c:axId val="173625344"/>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73626880"/>
        <c:crosses val="autoZero"/>
        <c:auto val="1"/>
        <c:lblAlgn val="ctr"/>
        <c:lblOffset val="100"/>
      </c:catAx>
      <c:valAx>
        <c:axId val="173626880"/>
        <c:scaling>
          <c:orientation val="minMax"/>
        </c:scaling>
        <c:delete val="1"/>
        <c:axPos val="l"/>
        <c:numFmt formatCode="General" sourceLinked="1"/>
        <c:majorTickMark val="none"/>
        <c:tickLblPos val="none"/>
        <c:crossAx val="17362534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5.2425596344538089E-3"/>
          <c:y val="2.6671140580792851E-2"/>
          <c:w val="0.57317210006556574"/>
          <c:h val="0.26756187155927175"/>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900">
          <a:latin typeface="Arial" panose="020B0604020202020204" pitchFamily="34" charset="0"/>
          <a:cs typeface="Arial" panose="020B0604020202020204" pitchFamily="34" charset="0"/>
        </a:defRPr>
      </a:pPr>
      <a:endParaRPr lang="en-US"/>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ZA" sz="1000" b="1" dirty="0">
                <a:solidFill>
                  <a:schemeClr val="tx1"/>
                </a:solidFill>
              </a:rPr>
              <a:t>REVENUE</a:t>
            </a:r>
          </a:p>
        </c:rich>
      </c:tx>
      <c:layout>
        <c:manualLayout>
          <c:xMode val="edge"/>
          <c:yMode val="edge"/>
          <c:x val="0.28298888888888896"/>
          <c:y val="0"/>
        </c:manualLayout>
      </c:layout>
      <c:spPr>
        <a:noFill/>
        <a:ln>
          <a:noFill/>
        </a:ln>
        <a:effectLst/>
      </c:spPr>
    </c:title>
    <c:plotArea>
      <c:layout>
        <c:manualLayout>
          <c:layoutTarget val="inner"/>
          <c:xMode val="edge"/>
          <c:yMode val="edge"/>
          <c:x val="0"/>
          <c:y val="0.15434027777777781"/>
          <c:w val="0.98698402777777772"/>
          <c:h val="0.60584861111111121"/>
        </c:manualLayout>
      </c:layout>
      <c:barChart>
        <c:barDir val="col"/>
        <c:grouping val="clustered"/>
        <c:ser>
          <c:idx val="0"/>
          <c:order val="0"/>
          <c:tx>
            <c:strRef>
              <c:f>Sheet1!$B$1</c:f>
              <c:strCache>
                <c:ptCount val="1"/>
                <c:pt idx="0">
                  <c:v>Actual Q3 2022</c:v>
                </c:pt>
              </c:strCache>
            </c:strRef>
          </c:tx>
          <c:spPr>
            <a:solidFill>
              <a:srgbClr val="F36F2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Lbls>
            <c:dLbl>
              <c:idx val="0"/>
              <c:layout>
                <c:manualLayout>
                  <c:x val="-2.7458282164270757E-2"/>
                  <c:y val="8.0697000461713089E-2"/>
                </c:manualLayout>
              </c:layout>
              <c:dLblPos val="outEnd"/>
              <c:showVal val="1"/>
              <c:extLst xmlns:c16r2="http://schemas.microsoft.com/office/drawing/2015/06/chart">
                <c:ext xmlns:c15="http://schemas.microsoft.com/office/drawing/2012/chart" uri="{CE6537A1-D6FC-4f65-9D91-7224C49458BB}">
                  <c15:layout>
                    <c:manualLayout>
                      <c:w val="0.33377940240661341"/>
                      <c:h val="0.21657721290092227"/>
                    </c:manualLayout>
                  </c15:layout>
                </c:ext>
                <c:ext xmlns:c16="http://schemas.microsoft.com/office/drawing/2014/chart" uri="{C3380CC4-5D6E-409C-BE32-E72D297353CC}">
                  <c16:uniqueId val="{00000000-FB18-40B7-9536-3CF7DDC6A482}"/>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effectLst/>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venue</c:v>
                </c:pt>
              </c:strCache>
            </c:strRef>
          </c:cat>
          <c:val>
            <c:numRef>
              <c:f>Sheet1!$B$2</c:f>
              <c:numCache>
                <c:formatCode>_-* #\ ##0_-;\-* #\ ##0_-;_-* "-"??_-;_-@_-</c:formatCode>
                <c:ptCount val="1"/>
                <c:pt idx="0">
                  <c:v>10387</c:v>
                </c:pt>
              </c:numCache>
            </c:numRef>
          </c:val>
          <c:extLst xmlns:c16r2="http://schemas.microsoft.com/office/drawing/2015/06/chart">
            <c:ext xmlns:c16="http://schemas.microsoft.com/office/drawing/2014/chart" uri="{C3380CC4-5D6E-409C-BE32-E72D297353CC}">
              <c16:uniqueId val="{00000001-FB18-40B7-9536-3CF7DDC6A482}"/>
            </c:ext>
          </c:extLst>
        </c:ser>
        <c:ser>
          <c:idx val="1"/>
          <c:order val="1"/>
          <c:tx>
            <c:strRef>
              <c:f>Sheet1!$C$1</c:f>
              <c:strCache>
                <c:ptCount val="1"/>
                <c:pt idx="0">
                  <c:v>Budget Q3 2022</c:v>
                </c:pt>
              </c:strCache>
            </c:strRef>
          </c:tx>
          <c:spPr>
            <a:solidFill>
              <a:srgbClr val="F36F21">
                <a:alpha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idx val="0"/>
            <c:extLst xmlns:c16r2="http://schemas.microsoft.com/office/drawing/2015/06/chart">
              <c:ext xmlns:c16="http://schemas.microsoft.com/office/drawing/2014/chart" uri="{C3380CC4-5D6E-409C-BE32-E72D297353CC}">
                <c16:uniqueId val="{00000003-FB18-40B7-9536-3CF7DDC6A482}"/>
              </c:ext>
            </c:extLst>
          </c:dPt>
          <c:dLbls>
            <c:dLbl>
              <c:idx val="0"/>
              <c:layout>
                <c:manualLayout>
                  <c:x val="9.2068193310698571E-3"/>
                  <c:y val="7.2940353855836429E-2"/>
                </c:manualLayout>
              </c:layout>
              <c:dLblPos val="outEnd"/>
              <c:showVal val="1"/>
              <c:extLst xmlns:c16r2="http://schemas.microsoft.com/office/drawing/2015/06/chart">
                <c:ext xmlns:c15="http://schemas.microsoft.com/office/drawing/2012/chart" uri="{CE6537A1-D6FC-4f65-9D91-7224C49458BB}">
                  <c15:layout>
                    <c:manualLayout>
                      <c:w val="0.36120581180732114"/>
                      <c:h val="0.21657721290092227"/>
                    </c:manualLayout>
                  </c15:layout>
                </c:ext>
                <c:ext xmlns:c16="http://schemas.microsoft.com/office/drawing/2014/chart" uri="{C3380CC4-5D6E-409C-BE32-E72D297353CC}">
                  <c16:uniqueId val="{00000003-FB18-40B7-9536-3CF7DDC6A482}"/>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venue</c:v>
                </c:pt>
              </c:strCache>
            </c:strRef>
          </c:cat>
          <c:val>
            <c:numRef>
              <c:f>Sheet1!$C$2</c:f>
              <c:numCache>
                <c:formatCode>_-* #\ ##0_-;\-* #\ ##0_-;_-* "-"??_-;_-@_-</c:formatCode>
                <c:ptCount val="1"/>
                <c:pt idx="0">
                  <c:v>11062</c:v>
                </c:pt>
              </c:numCache>
            </c:numRef>
          </c:val>
          <c:extLst xmlns:c16r2="http://schemas.microsoft.com/office/drawing/2015/06/chart">
            <c:ext xmlns:c16="http://schemas.microsoft.com/office/drawing/2014/chart" uri="{C3380CC4-5D6E-409C-BE32-E72D297353CC}">
              <c16:uniqueId val="{00000004-FB18-40B7-9536-3CF7DDC6A482}"/>
            </c:ext>
          </c:extLst>
        </c:ser>
        <c:dLbls>
          <c:showVal val="1"/>
        </c:dLbls>
        <c:gapWidth val="219"/>
        <c:overlap val="-27"/>
        <c:axId val="173715456"/>
        <c:axId val="173700992"/>
      </c:barChart>
      <c:valAx>
        <c:axId val="173700992"/>
        <c:scaling>
          <c:orientation val="minMax"/>
        </c:scaling>
        <c:delete val="1"/>
        <c:axPos val="r"/>
        <c:majorGridlines>
          <c:spPr>
            <a:ln w="9525" cap="flat" cmpd="sng" algn="ctr">
              <a:no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t>R’M</a:t>
                </a:r>
              </a:p>
            </c:rich>
          </c:tx>
          <c:layout>
            <c:manualLayout>
              <c:xMode val="edge"/>
              <c:yMode val="edge"/>
              <c:x val="0.87799782892255251"/>
              <c:y val="0.39490502256020132"/>
            </c:manualLayout>
          </c:layout>
          <c:spPr>
            <a:noFill/>
            <a:ln>
              <a:noFill/>
            </a:ln>
            <a:effectLst/>
          </c:spPr>
        </c:title>
        <c:numFmt formatCode="_-* #\ ##0_-;\-* #\ ##0_-;_-* &quot;-&quot;??_-;_-@_-" sourceLinked="1"/>
        <c:tickLblPos val="none"/>
        <c:crossAx val="173715456"/>
        <c:crosses val="max"/>
        <c:crossBetween val="between"/>
      </c:valAx>
      <c:catAx>
        <c:axId val="173715456"/>
        <c:scaling>
          <c:orientation val="minMax"/>
        </c:scaling>
        <c:delete val="1"/>
        <c:axPos val="b"/>
        <c:numFmt formatCode="General" sourceLinked="1"/>
        <c:tickLblPos val="none"/>
        <c:crossAx val="173700992"/>
        <c:crosses val="autoZero"/>
        <c:auto val="1"/>
        <c:lblAlgn val="ctr"/>
        <c:lblOffset val="100"/>
      </c:catAx>
      <c:spPr>
        <a:noFill/>
        <a:ln>
          <a:noFill/>
        </a:ln>
        <a:effectLst/>
      </c:spPr>
    </c:plotArea>
    <c:legend>
      <c:legendPos val="b"/>
      <c:layout>
        <c:manualLayout>
          <c:xMode val="edge"/>
          <c:yMode val="edge"/>
          <c:x val="0"/>
          <c:y val="0.81068125000000013"/>
          <c:w val="1"/>
          <c:h val="0.18931875000000004"/>
        </c:manualLayout>
      </c:layout>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chart>
  <c:spPr>
    <a:noFill/>
    <a:ln>
      <a:noFill/>
    </a:ln>
    <a:effectLst/>
  </c:spPr>
  <c:txPr>
    <a:bodyPr/>
    <a:lstStyle/>
    <a:p>
      <a:pPr>
        <a:defRPr sz="900"/>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2" name="Rectangle 2"/>
          <p:cNvSpPr>
            <a:spLocks noGrp="1" noChangeArrowheads="1"/>
          </p:cNvSpPr>
          <p:nvPr>
            <p:ph type="hdr" sz="quarter"/>
          </p:nvPr>
        </p:nvSpPr>
        <p:spPr bwMode="auto">
          <a:xfrm>
            <a:off x="1" y="1"/>
            <a:ext cx="3169921" cy="480061"/>
          </a:xfrm>
          <a:prstGeom prst="rect">
            <a:avLst/>
          </a:prstGeom>
          <a:noFill/>
          <a:ln w="9525">
            <a:noFill/>
            <a:miter lim="800000"/>
            <a:headEnd/>
            <a:tailEnd/>
          </a:ln>
          <a:effectLst/>
        </p:spPr>
        <p:txBody>
          <a:bodyPr vert="horz" wrap="square" lIns="90680" tIns="45340" rIns="90680" bIns="45340" numCol="1" anchor="t" anchorCtr="0" compatLnSpc="1">
            <a:prstTxWarp prst="textNoShape">
              <a:avLst/>
            </a:prstTxWarp>
          </a:bodyPr>
          <a:lstStyle>
            <a:lvl1pPr>
              <a:defRPr sz="1200" noProof="1">
                <a:latin typeface="Times New Roman" pitchFamily="18" charset="0"/>
              </a:defRPr>
            </a:lvl1pPr>
          </a:lstStyle>
          <a:p>
            <a:endParaRPr lang="en-ZA" dirty="0"/>
          </a:p>
        </p:txBody>
      </p:sp>
      <p:sp>
        <p:nvSpPr>
          <p:cNvPr id="81923" name="Rectangle 3"/>
          <p:cNvSpPr>
            <a:spLocks noGrp="1" noChangeArrowheads="1"/>
          </p:cNvSpPr>
          <p:nvPr>
            <p:ph type="dt" sz="quarter" idx="1"/>
          </p:nvPr>
        </p:nvSpPr>
        <p:spPr bwMode="auto">
          <a:xfrm>
            <a:off x="4143587" y="1"/>
            <a:ext cx="3169921" cy="480061"/>
          </a:xfrm>
          <a:prstGeom prst="rect">
            <a:avLst/>
          </a:prstGeom>
          <a:noFill/>
          <a:ln w="9525">
            <a:noFill/>
            <a:miter lim="800000"/>
            <a:headEnd/>
            <a:tailEnd/>
          </a:ln>
          <a:effectLst/>
        </p:spPr>
        <p:txBody>
          <a:bodyPr vert="horz" wrap="square" lIns="90680" tIns="45340" rIns="90680" bIns="45340" numCol="1" anchor="t" anchorCtr="0" compatLnSpc="1">
            <a:prstTxWarp prst="textNoShape">
              <a:avLst/>
            </a:prstTxWarp>
          </a:bodyPr>
          <a:lstStyle>
            <a:lvl1pPr algn="r">
              <a:defRPr sz="1200" noProof="1">
                <a:latin typeface="Times New Roman" pitchFamily="18" charset="0"/>
              </a:defRPr>
            </a:lvl1pPr>
          </a:lstStyle>
          <a:p>
            <a:endParaRPr lang="de-DE"/>
          </a:p>
        </p:txBody>
      </p:sp>
      <p:sp>
        <p:nvSpPr>
          <p:cNvPr id="81924" name="Rectangle 4"/>
          <p:cNvSpPr>
            <a:spLocks noGrp="1" noChangeArrowheads="1"/>
          </p:cNvSpPr>
          <p:nvPr>
            <p:ph type="ftr" sz="quarter" idx="2"/>
          </p:nvPr>
        </p:nvSpPr>
        <p:spPr bwMode="auto">
          <a:xfrm>
            <a:off x="1" y="9119475"/>
            <a:ext cx="3169921" cy="480061"/>
          </a:xfrm>
          <a:prstGeom prst="rect">
            <a:avLst/>
          </a:prstGeom>
          <a:noFill/>
          <a:ln w="9525">
            <a:noFill/>
            <a:miter lim="800000"/>
            <a:headEnd/>
            <a:tailEnd/>
          </a:ln>
          <a:effectLst/>
        </p:spPr>
        <p:txBody>
          <a:bodyPr vert="horz" wrap="square" lIns="90680" tIns="45340" rIns="90680" bIns="45340" numCol="1" anchor="b" anchorCtr="0" compatLnSpc="1">
            <a:prstTxWarp prst="textNoShape">
              <a:avLst/>
            </a:prstTxWarp>
          </a:bodyPr>
          <a:lstStyle>
            <a:lvl1pPr>
              <a:defRPr sz="1200" noProof="1">
                <a:latin typeface="Times New Roman" pitchFamily="18" charset="0"/>
              </a:defRPr>
            </a:lvl1pPr>
          </a:lstStyle>
          <a:p>
            <a:endParaRPr lang="en-ZA" dirty="0"/>
          </a:p>
        </p:txBody>
      </p:sp>
      <p:sp>
        <p:nvSpPr>
          <p:cNvPr id="81925" name="Rectangle 5"/>
          <p:cNvSpPr>
            <a:spLocks noGrp="1" noChangeArrowheads="1"/>
          </p:cNvSpPr>
          <p:nvPr>
            <p:ph type="sldNum" sz="quarter" idx="3"/>
          </p:nvPr>
        </p:nvSpPr>
        <p:spPr bwMode="auto">
          <a:xfrm>
            <a:off x="4143587" y="9119475"/>
            <a:ext cx="3169921" cy="480061"/>
          </a:xfrm>
          <a:prstGeom prst="rect">
            <a:avLst/>
          </a:prstGeom>
          <a:noFill/>
          <a:ln w="9525">
            <a:noFill/>
            <a:miter lim="800000"/>
            <a:headEnd/>
            <a:tailEnd/>
          </a:ln>
          <a:effectLst/>
        </p:spPr>
        <p:txBody>
          <a:bodyPr vert="horz" wrap="square" lIns="90680" tIns="45340" rIns="90680" bIns="45340" numCol="1" anchor="b" anchorCtr="0" compatLnSpc="1">
            <a:prstTxWarp prst="textNoShape">
              <a:avLst/>
            </a:prstTxWarp>
          </a:bodyPr>
          <a:lstStyle>
            <a:lvl1pPr algn="r">
              <a:defRPr sz="1200" noProof="1">
                <a:latin typeface="Times New Roman" pitchFamily="18" charset="0"/>
              </a:defRPr>
            </a:lvl1pPr>
          </a:lstStyle>
          <a:p>
            <a:fld id="{940C58E1-0A9A-4DB3-A857-F413A1E46F1F}" type="slidenum">
              <a:rPr/>
              <a:pPr/>
              <a:t>‹#›</a:t>
            </a:fld>
            <a:endParaRPr lang="en-ZA" dirty="0"/>
          </a:p>
        </p:txBody>
      </p:sp>
    </p:spTree>
    <p:extLst>
      <p:ext uri="{BB962C8B-B14F-4D97-AF65-F5344CB8AC3E}">
        <p14:creationId xmlns:p14="http://schemas.microsoft.com/office/powerpoint/2010/main" xmlns="" val="1736287340"/>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3-09T02:35:51.596"/>
    </inkml:context>
    <inkml:brush xml:id="br0">
      <inkml:brushProperty name="width" value="0.04286" units="cm"/>
      <inkml:brushProperty name="height" value="0.04286" units="cm"/>
      <inkml:brushProperty name="color" value="#E71225"/>
    </inkml:brush>
  </inkml:definitions>
  <inkml:trace contextRef="#ctx0" brushRef="#br0">45 35 7789,'-9'-10'218,"1"3"0,5 2 867,-6 5-444,7-6-1229,-5 5 308,2-4 280,4 5 0,1 0 0,6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3-09T02:35:51.597"/>
    </inkml:context>
    <inkml:brush xml:id="br0">
      <inkml:brushProperty name="width" value="0.04286" units="cm"/>
      <inkml:brushProperty name="height" value="0.04286" units="cm"/>
      <inkml:brushProperty name="color" value="#E71225"/>
    </inkml:brush>
  </inkml:definitions>
  <inkml:trace contextRef="#ctx0" brushRef="#br0">23 0 7894,'-9'5'0,"1"3"0,3-3 0,10 6 0,7-10 0,5 4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3-09T02:35:51.598"/>
    </inkml:context>
    <inkml:brush xml:id="br0">
      <inkml:brushProperty name="width" value="0.04286" units="cm"/>
      <inkml:brushProperty name="height" value="0.04286" units="cm"/>
      <inkml:brushProperty name="color" value="#E71225"/>
    </inkml:brush>
  </inkml:definitions>
  <inkml:trace contextRef="#ctx0" brushRef="#br0">1 0 7801,'11'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3-09T02:35:51.600"/>
    </inkml:context>
    <inkml:brush xml:id="br0">
      <inkml:brushProperty name="width" value="0.04286" units="cm"/>
      <inkml:brushProperty name="height" value="0.04286" units="cm"/>
      <inkml:brushProperty name="color" value="#E71225"/>
    </inkml:brush>
  </inkml:definitions>
  <inkml:trace contextRef="#ctx0" brushRef="#br0">12 0 8069,'-7'0'0,"2"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3-09T02:35:51.601"/>
    </inkml:context>
    <inkml:brush xml:id="br0">
      <inkml:brushProperty name="width" value="0.04286" units="cm"/>
      <inkml:brushProperty name="height" value="0.04286" units="cm"/>
      <inkml:brushProperty name="color" value="#E71225"/>
    </inkml:brush>
  </inkml:definitions>
  <inkml:trace contextRef="#ctx0" brushRef="#br0">1 1 6977,'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1"/>
            <a:ext cx="3169921" cy="480061"/>
          </a:xfrm>
          <a:prstGeom prst="rect">
            <a:avLst/>
          </a:prstGeom>
          <a:noFill/>
          <a:ln w="9525">
            <a:noFill/>
            <a:miter lim="800000"/>
            <a:headEnd/>
            <a:tailEnd/>
          </a:ln>
          <a:effectLst/>
        </p:spPr>
        <p:txBody>
          <a:bodyPr vert="horz" wrap="square" lIns="90680" tIns="45340" rIns="90680" bIns="45340" numCol="1" anchor="t" anchorCtr="0" compatLnSpc="1">
            <a:prstTxWarp prst="textNoShape">
              <a:avLst/>
            </a:prstTxWarp>
          </a:bodyPr>
          <a:lstStyle>
            <a:lvl1pPr>
              <a:defRPr sz="1200">
                <a:latin typeface="Times New Roman" pitchFamily="18" charset="0"/>
              </a:defRPr>
            </a:lvl1pPr>
          </a:lstStyle>
          <a:p>
            <a:endParaRPr lang="de-DE"/>
          </a:p>
        </p:txBody>
      </p:sp>
      <p:sp>
        <p:nvSpPr>
          <p:cNvPr id="8195" name="Rectangle 3"/>
          <p:cNvSpPr>
            <a:spLocks noGrp="1" noChangeArrowheads="1"/>
          </p:cNvSpPr>
          <p:nvPr>
            <p:ph type="dt" idx="1"/>
          </p:nvPr>
        </p:nvSpPr>
        <p:spPr bwMode="auto">
          <a:xfrm>
            <a:off x="4143587" y="1"/>
            <a:ext cx="3169921" cy="480061"/>
          </a:xfrm>
          <a:prstGeom prst="rect">
            <a:avLst/>
          </a:prstGeom>
          <a:noFill/>
          <a:ln w="9525">
            <a:noFill/>
            <a:miter lim="800000"/>
            <a:headEnd/>
            <a:tailEnd/>
          </a:ln>
          <a:effectLst/>
        </p:spPr>
        <p:txBody>
          <a:bodyPr vert="horz" wrap="square" lIns="90680" tIns="45340" rIns="90680" bIns="45340" numCol="1" anchor="t" anchorCtr="0" compatLnSpc="1">
            <a:prstTxWarp prst="textNoShape">
              <a:avLst/>
            </a:prstTxWarp>
          </a:bodyPr>
          <a:lstStyle>
            <a:lvl1pPr algn="r">
              <a:defRPr sz="1200">
                <a:latin typeface="Times New Roman" pitchFamily="18" charset="0"/>
              </a:defRPr>
            </a:lvl1pPr>
          </a:lstStyle>
          <a:p>
            <a:endParaRPr lang="de-DE"/>
          </a:p>
        </p:txBody>
      </p:sp>
      <p:sp>
        <p:nvSpPr>
          <p:cNvPr id="8196" name="Rectangle 4"/>
          <p:cNvSpPr>
            <a:spLocks noGrp="1" noRot="1" noChangeAspect="1" noChangeArrowheads="1" noTextEdit="1"/>
          </p:cNvSpPr>
          <p:nvPr>
            <p:ph type="sldImg" idx="2"/>
          </p:nvPr>
        </p:nvSpPr>
        <p:spPr bwMode="auto">
          <a:xfrm>
            <a:off x="338138" y="720725"/>
            <a:ext cx="6638925" cy="3602038"/>
          </a:xfrm>
          <a:prstGeom prst="rect">
            <a:avLst/>
          </a:prstGeom>
          <a:noFill/>
          <a:ln w="9525">
            <a:solidFill>
              <a:srgbClr val="000000"/>
            </a:solidFill>
            <a:miter lim="800000"/>
            <a:headEnd/>
            <a:tailEnd/>
          </a:ln>
          <a:effectLst/>
        </p:spPr>
      </p:sp>
      <p:sp>
        <p:nvSpPr>
          <p:cNvPr id="8197" name="Rectangle 5"/>
          <p:cNvSpPr>
            <a:spLocks noGrp="1" noChangeArrowheads="1"/>
          </p:cNvSpPr>
          <p:nvPr>
            <p:ph type="body" sz="quarter" idx="3"/>
          </p:nvPr>
        </p:nvSpPr>
        <p:spPr bwMode="auto">
          <a:xfrm>
            <a:off x="731521" y="4560572"/>
            <a:ext cx="5852160" cy="4320541"/>
          </a:xfrm>
          <a:prstGeom prst="rect">
            <a:avLst/>
          </a:prstGeom>
          <a:noFill/>
          <a:ln w="9525">
            <a:noFill/>
            <a:miter lim="800000"/>
            <a:headEnd/>
            <a:tailEnd/>
          </a:ln>
          <a:effectLst/>
        </p:spPr>
        <p:txBody>
          <a:bodyPr vert="horz" wrap="square" lIns="90680" tIns="45340" rIns="90680" bIns="4534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8198" name="Rectangle 6"/>
          <p:cNvSpPr>
            <a:spLocks noGrp="1" noChangeArrowheads="1"/>
          </p:cNvSpPr>
          <p:nvPr>
            <p:ph type="ftr" sz="quarter" idx="4"/>
          </p:nvPr>
        </p:nvSpPr>
        <p:spPr bwMode="auto">
          <a:xfrm>
            <a:off x="1" y="9119475"/>
            <a:ext cx="3169921" cy="480061"/>
          </a:xfrm>
          <a:prstGeom prst="rect">
            <a:avLst/>
          </a:prstGeom>
          <a:noFill/>
          <a:ln w="9525">
            <a:noFill/>
            <a:miter lim="800000"/>
            <a:headEnd/>
            <a:tailEnd/>
          </a:ln>
          <a:effectLst/>
        </p:spPr>
        <p:txBody>
          <a:bodyPr vert="horz" wrap="square" lIns="90680" tIns="45340" rIns="90680" bIns="45340" numCol="1" anchor="b" anchorCtr="0" compatLnSpc="1">
            <a:prstTxWarp prst="textNoShape">
              <a:avLst/>
            </a:prstTxWarp>
          </a:bodyPr>
          <a:lstStyle>
            <a:lvl1pPr>
              <a:defRPr sz="1200">
                <a:latin typeface="Times New Roman" pitchFamily="18" charset="0"/>
              </a:defRPr>
            </a:lvl1pPr>
          </a:lstStyle>
          <a:p>
            <a:endParaRPr lang="de-DE"/>
          </a:p>
        </p:txBody>
      </p:sp>
      <p:sp>
        <p:nvSpPr>
          <p:cNvPr id="8199" name="Rectangle 7"/>
          <p:cNvSpPr>
            <a:spLocks noGrp="1" noChangeArrowheads="1"/>
          </p:cNvSpPr>
          <p:nvPr>
            <p:ph type="sldNum" sz="quarter" idx="5"/>
          </p:nvPr>
        </p:nvSpPr>
        <p:spPr bwMode="auto">
          <a:xfrm>
            <a:off x="4143587" y="9119475"/>
            <a:ext cx="3169921" cy="480061"/>
          </a:xfrm>
          <a:prstGeom prst="rect">
            <a:avLst/>
          </a:prstGeom>
          <a:noFill/>
          <a:ln w="9525">
            <a:noFill/>
            <a:miter lim="800000"/>
            <a:headEnd/>
            <a:tailEnd/>
          </a:ln>
          <a:effectLst/>
        </p:spPr>
        <p:txBody>
          <a:bodyPr vert="horz" wrap="square" lIns="90680" tIns="45340" rIns="90680" bIns="45340" numCol="1" anchor="b" anchorCtr="0" compatLnSpc="1">
            <a:prstTxWarp prst="textNoShape">
              <a:avLst/>
            </a:prstTxWarp>
          </a:bodyPr>
          <a:lstStyle>
            <a:lvl1pPr algn="r">
              <a:defRPr sz="1200">
                <a:latin typeface="Times New Roman" pitchFamily="18" charset="0"/>
              </a:defRPr>
            </a:lvl1pPr>
          </a:lstStyle>
          <a:p>
            <a:fld id="{1F730754-AA4E-4D37-8E78-E5F779AD9FB7}" type="slidenum">
              <a:rPr lang="de-DE"/>
              <a:pPr/>
              <a:t>‹#›</a:t>
            </a:fld>
            <a:endParaRPr lang="de-DE"/>
          </a:p>
        </p:txBody>
      </p:sp>
    </p:spTree>
    <p:extLst>
      <p:ext uri="{BB962C8B-B14F-4D97-AF65-F5344CB8AC3E}">
        <p14:creationId xmlns:p14="http://schemas.microsoft.com/office/powerpoint/2010/main" xmlns="" val="100083608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2.vml"/><Relationship Id="rId5" Type="http://schemas.openxmlformats.org/officeDocument/2006/relationships/image" Target="../media/image13.jpeg"/><Relationship Id="rId4" Type="http://schemas.openxmlformats.org/officeDocument/2006/relationships/oleObject" Target="../embeddings/oleObject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1_Section Hea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62287" y="1817429"/>
            <a:ext cx="10900351" cy="1054323"/>
          </a:xfrm>
        </p:spPr>
        <p:txBody>
          <a:bodyPr anchor="b">
            <a:normAutofit/>
          </a:bodyPr>
          <a:lstStyle>
            <a:lvl1pPr algn="ctr">
              <a:defRPr sz="5333"/>
            </a:lvl1pPr>
          </a:lstStyle>
          <a:p>
            <a:r>
              <a:rPr lang="en-GB" dirty="0"/>
              <a:t>Click to edit Master title style</a:t>
            </a:r>
            <a:endParaRPr lang="en-US" dirty="0"/>
          </a:p>
        </p:txBody>
      </p:sp>
      <p:sp>
        <p:nvSpPr>
          <p:cNvPr id="3" name="Text Placeholder 2"/>
          <p:cNvSpPr>
            <a:spLocks noGrp="1"/>
          </p:cNvSpPr>
          <p:nvPr>
            <p:ph type="body" idx="1"/>
          </p:nvPr>
        </p:nvSpPr>
        <p:spPr>
          <a:xfrm>
            <a:off x="862287" y="3167118"/>
            <a:ext cx="10900351" cy="523764"/>
          </a:xfrm>
        </p:spPr>
        <p:txBody>
          <a:bodyPr/>
          <a:lstStyle>
            <a:lvl1pPr marL="0" indent="0" algn="ctr">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a:t>Click to edit Master text styles</a:t>
            </a:r>
          </a:p>
        </p:txBody>
      </p:sp>
      <p:sp>
        <p:nvSpPr>
          <p:cNvPr id="5" name="Footer Placeholder 4"/>
          <p:cNvSpPr>
            <a:spLocks noGrp="1"/>
          </p:cNvSpPr>
          <p:nvPr>
            <p:ph type="ftr" sz="quarter" idx="11"/>
          </p:nvPr>
        </p:nvSpPr>
        <p:spPr>
          <a:xfrm>
            <a:off x="4186367" y="6356351"/>
            <a:ext cx="4265355" cy="365125"/>
          </a:xfrm>
          <a:prstGeom prst="rect">
            <a:avLst/>
          </a:prstGeom>
        </p:spPr>
        <p:txBody>
          <a:bodyPr/>
          <a:lstStyle/>
          <a:p>
            <a:pPr defTabSz="609585" fontAlgn="auto">
              <a:spcBef>
                <a:spcPts val="0"/>
              </a:spcBef>
              <a:spcAft>
                <a:spcPts val="0"/>
              </a:spcAft>
              <a:defRPr/>
            </a:pPr>
            <a:endParaRPr lang="en-US" dirty="0">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1587005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2_Section Hea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62287" y="640760"/>
            <a:ext cx="10900351" cy="1054323"/>
          </a:xfrm>
        </p:spPr>
        <p:txBody>
          <a:bodyPr anchor="b">
            <a:normAutofit/>
          </a:bodyPr>
          <a:lstStyle>
            <a:lvl1pPr algn="ctr">
              <a:defRPr sz="5333"/>
            </a:lvl1pPr>
          </a:lstStyle>
          <a:p>
            <a:r>
              <a:rPr lang="en-GB" dirty="0"/>
              <a:t>Click to edit Master title style</a:t>
            </a:r>
            <a:endParaRPr lang="en-US" dirty="0"/>
          </a:p>
        </p:txBody>
      </p:sp>
      <p:sp>
        <p:nvSpPr>
          <p:cNvPr id="3" name="Text Placeholder 2"/>
          <p:cNvSpPr>
            <a:spLocks noGrp="1"/>
          </p:cNvSpPr>
          <p:nvPr>
            <p:ph type="body" idx="1"/>
          </p:nvPr>
        </p:nvSpPr>
        <p:spPr>
          <a:xfrm>
            <a:off x="862287" y="1990449"/>
            <a:ext cx="10900351" cy="523764"/>
          </a:xfrm>
        </p:spPr>
        <p:txBody>
          <a:bodyPr/>
          <a:lstStyle>
            <a:lvl1pPr marL="0" indent="0" algn="ctr">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a:t>Click to edit Master text styles</a:t>
            </a:r>
          </a:p>
        </p:txBody>
      </p:sp>
      <p:sp>
        <p:nvSpPr>
          <p:cNvPr id="5" name="Footer Placeholder 4"/>
          <p:cNvSpPr>
            <a:spLocks noGrp="1"/>
          </p:cNvSpPr>
          <p:nvPr>
            <p:ph type="ftr" sz="quarter" idx="11"/>
          </p:nvPr>
        </p:nvSpPr>
        <p:spPr>
          <a:xfrm>
            <a:off x="4186367" y="6356351"/>
            <a:ext cx="4265355" cy="365125"/>
          </a:xfrm>
          <a:prstGeom prst="rect">
            <a:avLst/>
          </a:prstGeom>
        </p:spPr>
        <p:txBody>
          <a:bodyPr/>
          <a:lstStyle/>
          <a:p>
            <a:pPr defTabSz="609585" fontAlgn="auto">
              <a:spcBef>
                <a:spcPts val="0"/>
              </a:spcBef>
              <a:spcAft>
                <a:spcPts val="0"/>
              </a:spcAft>
              <a:defRPr/>
            </a:pPr>
            <a:endParaRPr lang="en-US" dirty="0">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3060971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4_Section Hea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62287" y="357224"/>
            <a:ext cx="10900351" cy="1054323"/>
          </a:xfrm>
        </p:spPr>
        <p:txBody>
          <a:bodyPr anchor="b">
            <a:normAutofit/>
          </a:bodyPr>
          <a:lstStyle>
            <a:lvl1pPr algn="ctr">
              <a:defRPr sz="5333"/>
            </a:lvl1pPr>
          </a:lstStyle>
          <a:p>
            <a:r>
              <a:rPr lang="en-GB" dirty="0"/>
              <a:t>Click to edit Master title style</a:t>
            </a:r>
            <a:endParaRPr lang="en-US" dirty="0"/>
          </a:p>
        </p:txBody>
      </p:sp>
      <p:sp>
        <p:nvSpPr>
          <p:cNvPr id="3" name="Text Placeholder 2"/>
          <p:cNvSpPr>
            <a:spLocks noGrp="1"/>
          </p:cNvSpPr>
          <p:nvPr>
            <p:ph type="body" idx="1"/>
          </p:nvPr>
        </p:nvSpPr>
        <p:spPr>
          <a:xfrm>
            <a:off x="862287" y="1550970"/>
            <a:ext cx="10900351" cy="523764"/>
          </a:xfrm>
        </p:spPr>
        <p:txBody>
          <a:bodyPr/>
          <a:lstStyle>
            <a:lvl1pPr marL="0" indent="0" algn="ctr">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a:t>Click to edit Master text styles</a:t>
            </a:r>
          </a:p>
        </p:txBody>
      </p:sp>
      <p:sp>
        <p:nvSpPr>
          <p:cNvPr id="5" name="Footer Placeholder 4"/>
          <p:cNvSpPr>
            <a:spLocks noGrp="1"/>
          </p:cNvSpPr>
          <p:nvPr>
            <p:ph type="ftr" sz="quarter" idx="11"/>
          </p:nvPr>
        </p:nvSpPr>
        <p:spPr>
          <a:xfrm>
            <a:off x="4186367" y="6356351"/>
            <a:ext cx="4265355" cy="365125"/>
          </a:xfrm>
          <a:prstGeom prst="rect">
            <a:avLst/>
          </a:prstGeom>
        </p:spPr>
        <p:txBody>
          <a:bodyPr/>
          <a:lstStyle/>
          <a:p>
            <a:pPr defTabSz="609585" fontAlgn="auto">
              <a:spcBef>
                <a:spcPts val="0"/>
              </a:spcBef>
              <a:spcAft>
                <a:spcPts val="0"/>
              </a:spcAft>
              <a:defRPr/>
            </a:pPr>
            <a:endParaRPr lang="en-US" dirty="0">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1353949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3_Section Hea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42697" y="640759"/>
            <a:ext cx="6495391" cy="3116079"/>
          </a:xfrm>
        </p:spPr>
        <p:txBody>
          <a:bodyPr anchor="b">
            <a:normAutofit/>
          </a:bodyPr>
          <a:lstStyle>
            <a:lvl1pPr algn="ctr">
              <a:defRPr sz="5333"/>
            </a:lvl1pPr>
          </a:lstStyle>
          <a:p>
            <a:r>
              <a:rPr lang="en-GB" dirty="0"/>
              <a:t>Click to edit Master title style</a:t>
            </a:r>
            <a:endParaRPr lang="en-US" dirty="0"/>
          </a:p>
        </p:txBody>
      </p:sp>
      <p:sp>
        <p:nvSpPr>
          <p:cNvPr id="3" name="Text Placeholder 2"/>
          <p:cNvSpPr>
            <a:spLocks noGrp="1"/>
          </p:cNvSpPr>
          <p:nvPr>
            <p:ph type="body" idx="1"/>
          </p:nvPr>
        </p:nvSpPr>
        <p:spPr>
          <a:xfrm>
            <a:off x="6142697" y="4457202"/>
            <a:ext cx="6495391" cy="1610445"/>
          </a:xfrm>
        </p:spPr>
        <p:txBody>
          <a:bodyPr/>
          <a:lstStyle>
            <a:lvl1pPr marL="0" indent="0" algn="ctr">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a:t>Click to edit Master text styles</a:t>
            </a:r>
          </a:p>
        </p:txBody>
      </p:sp>
      <p:sp>
        <p:nvSpPr>
          <p:cNvPr id="5" name="Footer Placeholder 4"/>
          <p:cNvSpPr>
            <a:spLocks noGrp="1"/>
          </p:cNvSpPr>
          <p:nvPr>
            <p:ph type="ftr" sz="quarter" idx="11"/>
          </p:nvPr>
        </p:nvSpPr>
        <p:spPr>
          <a:xfrm>
            <a:off x="4186367" y="6356351"/>
            <a:ext cx="4265355" cy="365125"/>
          </a:xfrm>
          <a:prstGeom prst="rect">
            <a:avLst/>
          </a:prstGeom>
        </p:spPr>
        <p:txBody>
          <a:bodyPr/>
          <a:lstStyle/>
          <a:p>
            <a:pPr defTabSz="609585" fontAlgn="auto">
              <a:spcBef>
                <a:spcPts val="0"/>
              </a:spcBef>
              <a:spcAft>
                <a:spcPts val="0"/>
              </a:spcAft>
              <a:defRPr/>
            </a:pPr>
            <a:endParaRPr lang="en-US" dirty="0">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2327496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2292" name="Rectangle 7"/>
          <p:cNvSpPr>
            <a:spLocks noGrp="1" noChangeArrowheads="1"/>
          </p:cNvSpPr>
          <p:nvPr>
            <p:ph type="ctrTitle"/>
          </p:nvPr>
        </p:nvSpPr>
        <p:spPr>
          <a:xfrm>
            <a:off x="1619264" y="4394200"/>
            <a:ext cx="10345240" cy="960438"/>
          </a:xfrm>
        </p:spPr>
        <p:txBody>
          <a:bodyPr anchor="t"/>
          <a:lstStyle>
            <a:lvl1pPr>
              <a:defRPr sz="3200"/>
            </a:lvl1pPr>
          </a:lstStyle>
          <a:p>
            <a:r>
              <a:rPr lang="de-DE"/>
              <a:t>Titelmasterformat durch Klicken bearbeiten</a:t>
            </a:r>
          </a:p>
        </p:txBody>
      </p:sp>
      <p:sp>
        <p:nvSpPr>
          <p:cNvPr id="12293" name="Rectangle 12"/>
          <p:cNvSpPr>
            <a:spLocks noGrp="1" noChangeArrowheads="1"/>
          </p:cNvSpPr>
          <p:nvPr>
            <p:ph type="subTitle" idx="1"/>
          </p:nvPr>
        </p:nvSpPr>
        <p:spPr>
          <a:xfrm>
            <a:off x="1619262" y="5489575"/>
            <a:ext cx="8080917" cy="800100"/>
          </a:xfrm>
        </p:spPr>
        <p:txBody>
          <a:bodyPr/>
          <a:lstStyle>
            <a:lvl1pPr marL="0" indent="0">
              <a:buFont typeface="Wingdings" pitchFamily="2" charset="2"/>
              <a:buNone/>
              <a:defRPr sz="2200" b="0"/>
            </a:lvl1pPr>
          </a:lstStyle>
          <a:p>
            <a:r>
              <a:rPr lang="de-DE"/>
              <a:t>Formatvorlage des Untertitelmasters durch Klicken bearbeiten</a:t>
            </a:r>
          </a:p>
        </p:txBody>
      </p:sp>
      <p:sp>
        <p:nvSpPr>
          <p:cNvPr id="12300" name="Rectangle 12"/>
          <p:cNvSpPr>
            <a:spLocks noChangeArrowheads="1"/>
          </p:cNvSpPr>
          <p:nvPr userDrawn="1"/>
        </p:nvSpPr>
        <p:spPr bwMode="auto">
          <a:xfrm>
            <a:off x="7" y="0"/>
            <a:ext cx="5919715" cy="88900"/>
          </a:xfrm>
          <a:prstGeom prst="rect">
            <a:avLst/>
          </a:prstGeom>
          <a:solidFill>
            <a:srgbClr val="F18B1B"/>
          </a:solidFill>
          <a:ln w="9525">
            <a:noFill/>
            <a:miter lim="800000"/>
            <a:headEnd/>
            <a:tailEnd/>
          </a:ln>
          <a:effectLst/>
        </p:spPr>
        <p:txBody>
          <a:bodyPr wrap="none" lIns="90000" tIns="46800" rIns="90000" bIns="468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6" name="Picture 36"/>
          <p:cNvPicPr>
            <a:picLocks noChangeAspect="1" noChangeArrowheads="1"/>
          </p:cNvPicPr>
          <p:nvPr userDrawn="1"/>
        </p:nvPicPr>
        <p:blipFill>
          <a:blip r:embed="rId3" cstate="print"/>
          <a:srcRect/>
          <a:stretch>
            <a:fillRect/>
          </a:stretch>
        </p:blipFill>
        <p:spPr bwMode="auto">
          <a:xfrm>
            <a:off x="10846864" y="5717817"/>
            <a:ext cx="1791225" cy="1140195"/>
          </a:xfrm>
          <a:prstGeom prst="rect">
            <a:avLst/>
          </a:prstGeom>
          <a:noFill/>
          <a:ln w="9525">
            <a:noFill/>
            <a:miter lim="800000"/>
            <a:headEnd/>
            <a:tailEnd/>
          </a:ln>
        </p:spPr>
      </p:pic>
    </p:spTree>
    <p:extLst>
      <p:ext uri="{BB962C8B-B14F-4D97-AF65-F5344CB8AC3E}">
        <p14:creationId xmlns:p14="http://schemas.microsoft.com/office/powerpoint/2010/main" xmlns="" val="3816366287"/>
      </p:ext>
    </p:extLst>
  </p:cSld>
  <p:clrMapOvr>
    <a:masterClrMapping/>
  </p:clrMapOvr>
  <p:transition spd="med">
    <p:fade/>
  </p:transition>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36C944CB-8580-45FB-B1CA-D165D7DC748C}"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3067220796"/>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98323" y="4406912"/>
            <a:ext cx="10742375"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98323" y="2906713"/>
            <a:ext cx="10742375"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3"/>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476FEA83-6C46-4694-9763-42193ECFF339}"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1538846455"/>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4441" y="1614493"/>
            <a:ext cx="5785876"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430945" y="1614493"/>
            <a:ext cx="5785875"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5E6FC626-6513-4A78-A46E-E4504026323A}"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360259496"/>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1905" y="274638"/>
            <a:ext cx="11374279"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31906" y="1535113"/>
            <a:ext cx="55840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1906" y="2174875"/>
            <a:ext cx="55840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419974" y="1535113"/>
            <a:ext cx="558621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9974" y="2174875"/>
            <a:ext cx="558621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Footer Placeholder 6"/>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5270AFE1-42D4-4320-A653-36C5C26FA73A}"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2485433789"/>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Footer Placeholder 2"/>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AAB575A9-23DE-420A-BF46-0A587FE10E79}"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397637065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4440" y="1614492"/>
            <a:ext cx="5785876"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430946" y="1614492"/>
            <a:ext cx="5785874"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EFDFD16C-804B-40D8-813D-4D9515F80D7A}"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3502648119"/>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1912" y="273050"/>
            <a:ext cx="415784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941143" y="273054"/>
            <a:ext cx="706504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31912" y="1435103"/>
            <a:ext cx="41578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719D4207-2780-43E4-9570-7789E2CE90EC}"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2541257997"/>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77154" y="4800600"/>
            <a:ext cx="7582853"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477154" y="612775"/>
            <a:ext cx="758285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2477154" y="5367338"/>
            <a:ext cx="758285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F1936EB7-647C-461C-B63B-B6FEC021C147}"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3058663404"/>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4329DE25-184C-463A-8862-FB13D3B9AE5B}"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1029971066"/>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72325" y="327025"/>
            <a:ext cx="2944501" cy="567848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4436" y="327025"/>
            <a:ext cx="8627250" cy="56784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p:txBody>
          <a:bodyPr/>
          <a:lstStyle>
            <a:lvl1pPr>
              <a:defRPr/>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3F49D244-C6CC-48D2-AB02-2FBCEE3690C7}" type="slidenum">
              <a:rPr lang="de-DE" smtClean="0">
                <a:solidFill>
                  <a:srgbClr val="000000"/>
                </a:solidFill>
                <a:latin typeface="Arial"/>
              </a:rPr>
              <a:pPr/>
              <a:t>‹#›</a:t>
            </a:fld>
            <a:endParaRPr lang="de-DE">
              <a:solidFill>
                <a:srgbClr val="000000"/>
              </a:solidFill>
              <a:latin typeface="Arial"/>
            </a:endParaRPr>
          </a:p>
        </p:txBody>
      </p:sp>
    </p:spTree>
    <p:extLst>
      <p:ext uri="{BB962C8B-B14F-4D97-AF65-F5344CB8AC3E}">
        <p14:creationId xmlns:p14="http://schemas.microsoft.com/office/powerpoint/2010/main" xmlns="" val="2530897729"/>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15953" y="0"/>
            <a:ext cx="10742375"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31907" y="1600206"/>
            <a:ext cx="5581822"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424368" y="1600200"/>
            <a:ext cx="5581822"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424368" y="3938592"/>
            <a:ext cx="5581822"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Date Placeholder 5"/>
          <p:cNvSpPr>
            <a:spLocks noGrp="1"/>
          </p:cNvSpPr>
          <p:nvPr>
            <p:ph type="dt" sz="half" idx="10"/>
          </p:nvPr>
        </p:nvSpPr>
        <p:spPr>
          <a:xfrm>
            <a:off x="947858" y="6248400"/>
            <a:ext cx="2632934" cy="457200"/>
          </a:xfrm>
          <a:prstGeom prst="rect">
            <a:avLst/>
          </a:prstGeom>
        </p:spPr>
        <p:txBody>
          <a:bodyPr/>
          <a:lstStyle>
            <a:lvl1pPr>
              <a:defRPr/>
            </a:lvl1pPr>
          </a:lstStyle>
          <a:p>
            <a:endParaRPr lang="en-US" dirty="0">
              <a:solidFill>
                <a:srgbClr val="000000"/>
              </a:solidFill>
              <a:latin typeface="Arial"/>
            </a:endParaRPr>
          </a:p>
        </p:txBody>
      </p:sp>
      <p:sp>
        <p:nvSpPr>
          <p:cNvPr id="7" name="Footer Placeholder 6"/>
          <p:cNvSpPr>
            <a:spLocks noGrp="1"/>
          </p:cNvSpPr>
          <p:nvPr>
            <p:ph type="ftr" sz="quarter" idx="11"/>
          </p:nvPr>
        </p:nvSpPr>
        <p:spPr>
          <a:xfrm>
            <a:off x="4318022" y="6248400"/>
            <a:ext cx="4002061" cy="457200"/>
          </a:xfrm>
        </p:spPr>
        <p:txBody>
          <a:bodyPr/>
          <a:lstStyle>
            <a:lvl1pPr>
              <a:defRPr/>
            </a:lvl1pPr>
          </a:lstStyle>
          <a:p>
            <a:endParaRPr lang="en-US" dirty="0">
              <a:solidFill>
                <a:srgbClr val="000000"/>
              </a:solidFill>
              <a:latin typeface="Arial"/>
            </a:endParaRPr>
          </a:p>
        </p:txBody>
      </p:sp>
      <p:sp>
        <p:nvSpPr>
          <p:cNvPr id="8" name="Slide Number Placeholder 7"/>
          <p:cNvSpPr>
            <a:spLocks noGrp="1"/>
          </p:cNvSpPr>
          <p:nvPr>
            <p:ph type="sldNum" sz="quarter" idx="12"/>
          </p:nvPr>
        </p:nvSpPr>
        <p:spPr>
          <a:xfrm>
            <a:off x="9057302" y="6248400"/>
            <a:ext cx="2632934" cy="457200"/>
          </a:xfrm>
          <a:prstGeom prst="rect">
            <a:avLst/>
          </a:prstGeom>
        </p:spPr>
        <p:txBody>
          <a:bodyPr/>
          <a:lstStyle>
            <a:lvl1pPr>
              <a:defRPr/>
            </a:lvl1pPr>
          </a:lstStyle>
          <a:p>
            <a:fld id="{CF653DD4-92D6-406C-8C3E-2562A0F574EE}" type="slidenum">
              <a:rPr lang="en-US" smtClean="0">
                <a:solidFill>
                  <a:srgbClr val="000000"/>
                </a:solidFill>
                <a:latin typeface="Arial"/>
              </a:rPr>
              <a:pPr/>
              <a:t>‹#›</a:t>
            </a:fld>
            <a:endParaRPr lang="en-US" dirty="0">
              <a:solidFill>
                <a:srgbClr val="000000"/>
              </a:solidFill>
              <a:latin typeface="Arial"/>
            </a:endParaRPr>
          </a:p>
        </p:txBody>
      </p:sp>
    </p:spTree>
    <p:extLst>
      <p:ext uri="{BB962C8B-B14F-4D97-AF65-F5344CB8AC3E}">
        <p14:creationId xmlns:p14="http://schemas.microsoft.com/office/powerpoint/2010/main" xmlns="" val="37754077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292" name="Rectangle 7"/>
          <p:cNvSpPr>
            <a:spLocks noGrp="1" noChangeArrowheads="1"/>
          </p:cNvSpPr>
          <p:nvPr>
            <p:ph type="ctrTitle"/>
          </p:nvPr>
        </p:nvSpPr>
        <p:spPr>
          <a:xfrm>
            <a:off x="1619263" y="4394200"/>
            <a:ext cx="10345241" cy="960438"/>
          </a:xfrm>
        </p:spPr>
        <p:txBody>
          <a:bodyPr anchor="t"/>
          <a:lstStyle>
            <a:lvl1pPr>
              <a:defRPr sz="3200"/>
            </a:lvl1pPr>
          </a:lstStyle>
          <a:p>
            <a:r>
              <a:rPr lang="de-DE"/>
              <a:t>Titelmasterformat durch Klicken bearbeiten</a:t>
            </a:r>
          </a:p>
        </p:txBody>
      </p:sp>
      <p:sp>
        <p:nvSpPr>
          <p:cNvPr id="12293" name="Rectangle 12"/>
          <p:cNvSpPr>
            <a:spLocks noGrp="1" noChangeArrowheads="1"/>
          </p:cNvSpPr>
          <p:nvPr>
            <p:ph type="subTitle" idx="1"/>
          </p:nvPr>
        </p:nvSpPr>
        <p:spPr>
          <a:xfrm>
            <a:off x="1619264" y="5489575"/>
            <a:ext cx="8080916" cy="800100"/>
          </a:xfrm>
        </p:spPr>
        <p:txBody>
          <a:bodyPr/>
          <a:lstStyle>
            <a:lvl1pPr marL="0" indent="0">
              <a:buFont typeface="Wingdings" pitchFamily="2" charset="2"/>
              <a:buNone/>
              <a:defRPr sz="2200" b="0"/>
            </a:lvl1pPr>
          </a:lstStyle>
          <a:p>
            <a:r>
              <a:rPr lang="de-DE"/>
              <a:t>Formatvorlage des Untertitelmasters durch Klicken bearbeiten</a:t>
            </a:r>
          </a:p>
        </p:txBody>
      </p:sp>
      <p:sp>
        <p:nvSpPr>
          <p:cNvPr id="12300" name="Rectangle 12"/>
          <p:cNvSpPr>
            <a:spLocks noChangeArrowheads="1"/>
          </p:cNvSpPr>
          <p:nvPr userDrawn="1"/>
        </p:nvSpPr>
        <p:spPr bwMode="auto">
          <a:xfrm>
            <a:off x="8" y="0"/>
            <a:ext cx="5919715"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pic>
        <p:nvPicPr>
          <p:cNvPr id="6" name="Picture 36"/>
          <p:cNvPicPr>
            <a:picLocks noChangeAspect="1" noChangeArrowheads="1"/>
          </p:cNvPicPr>
          <p:nvPr userDrawn="1"/>
        </p:nvPicPr>
        <p:blipFill>
          <a:blip r:embed="rId2" cstate="print"/>
          <a:srcRect/>
          <a:stretch>
            <a:fillRect/>
          </a:stretch>
        </p:blipFill>
        <p:spPr bwMode="auto">
          <a:xfrm>
            <a:off x="10846865" y="5717817"/>
            <a:ext cx="1791225" cy="1140195"/>
          </a:xfrm>
          <a:prstGeom prst="rect">
            <a:avLst/>
          </a:prstGeom>
          <a:noFill/>
          <a:ln w="9525">
            <a:noFill/>
            <a:miter lim="800000"/>
            <a:headEnd/>
            <a:tailEnd/>
          </a:ln>
        </p:spPr>
      </p:pic>
    </p:spTree>
    <p:extLst>
      <p:ext uri="{BB962C8B-B14F-4D97-AF65-F5344CB8AC3E}">
        <p14:creationId xmlns:p14="http://schemas.microsoft.com/office/powerpoint/2010/main" xmlns="" val="454707434"/>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36C944CB-8580-45FB-B1CA-D165D7DC748C}" type="slidenum">
              <a:rPr lang="de-DE"/>
              <a:pPr/>
              <a:t>‹#›</a:t>
            </a:fld>
            <a:endParaRPr lang="de-DE"/>
          </a:p>
        </p:txBody>
      </p:sp>
    </p:spTree>
    <p:extLst>
      <p:ext uri="{BB962C8B-B14F-4D97-AF65-F5344CB8AC3E}">
        <p14:creationId xmlns:p14="http://schemas.microsoft.com/office/powerpoint/2010/main" xmlns="" val="37455762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98323" y="4406912"/>
            <a:ext cx="10742375"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98323" y="2906713"/>
            <a:ext cx="10742375"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3"/>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476FEA83-6C46-4694-9763-42193ECFF339}" type="slidenum">
              <a:rPr lang="de-DE"/>
              <a:pPr/>
              <a:t>‹#›</a:t>
            </a:fld>
            <a:endParaRPr lang="de-DE"/>
          </a:p>
        </p:txBody>
      </p:sp>
    </p:spTree>
    <p:extLst>
      <p:ext uri="{BB962C8B-B14F-4D97-AF65-F5344CB8AC3E}">
        <p14:creationId xmlns:p14="http://schemas.microsoft.com/office/powerpoint/2010/main" xmlns="" val="36922262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4440" y="1614492"/>
            <a:ext cx="5785876"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430946" y="1614492"/>
            <a:ext cx="5785874"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5E6FC626-6513-4A78-A46E-E4504026323A}" type="slidenum">
              <a:rPr lang="de-DE"/>
              <a:pPr/>
              <a:t>‹#›</a:t>
            </a:fld>
            <a:endParaRPr lang="de-DE"/>
          </a:p>
        </p:txBody>
      </p:sp>
    </p:spTree>
    <p:extLst>
      <p:ext uri="{BB962C8B-B14F-4D97-AF65-F5344CB8AC3E}">
        <p14:creationId xmlns:p14="http://schemas.microsoft.com/office/powerpoint/2010/main" xmlns="" val="24102966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4"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1905" y="274638"/>
            <a:ext cx="1137428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31905" y="1535113"/>
            <a:ext cx="55840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1905" y="2174875"/>
            <a:ext cx="55840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419975" y="1535113"/>
            <a:ext cx="558620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9975" y="2174875"/>
            <a:ext cx="558620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Footer Placeholder 6"/>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5270AFE1-42D4-4320-A653-36C5C26FA73A}" type="slidenum">
              <a:rPr lang="de-DE"/>
              <a:pPr/>
              <a:t>‹#›</a:t>
            </a:fld>
            <a:endParaRPr lang="de-DE"/>
          </a:p>
        </p:txBody>
      </p:sp>
    </p:spTree>
    <p:extLst>
      <p:ext uri="{BB962C8B-B14F-4D97-AF65-F5344CB8AC3E}">
        <p14:creationId xmlns:p14="http://schemas.microsoft.com/office/powerpoint/2010/main" xmlns="" val="17917284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Footer Placeholder 2"/>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AAB575A9-23DE-420A-BF46-0A587FE10E79}" type="slidenum">
              <a:rPr lang="de-DE"/>
              <a:pPr/>
              <a:t>‹#›</a:t>
            </a:fld>
            <a:endParaRPr lang="de-DE"/>
          </a:p>
        </p:txBody>
      </p:sp>
    </p:spTree>
    <p:extLst>
      <p:ext uri="{BB962C8B-B14F-4D97-AF65-F5344CB8AC3E}">
        <p14:creationId xmlns:p14="http://schemas.microsoft.com/office/powerpoint/2010/main" xmlns="" val="41341796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EFDFD16C-804B-40D8-813D-4D9515F80D7A}" type="slidenum">
              <a:rPr lang="de-DE"/>
              <a:pPr/>
              <a:t>‹#›</a:t>
            </a:fld>
            <a:endParaRPr lang="de-DE"/>
          </a:p>
        </p:txBody>
      </p:sp>
    </p:spTree>
    <p:extLst>
      <p:ext uri="{BB962C8B-B14F-4D97-AF65-F5344CB8AC3E}">
        <p14:creationId xmlns:p14="http://schemas.microsoft.com/office/powerpoint/2010/main" xmlns="" val="12289072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1911" y="273050"/>
            <a:ext cx="415784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941143" y="273053"/>
            <a:ext cx="706504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31911" y="1435103"/>
            <a:ext cx="41578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719D4207-2780-43E4-9570-7789E2CE90EC}" type="slidenum">
              <a:rPr lang="de-DE"/>
              <a:pPr/>
              <a:t>‹#›</a:t>
            </a:fld>
            <a:endParaRPr lang="de-DE"/>
          </a:p>
        </p:txBody>
      </p:sp>
    </p:spTree>
    <p:extLst>
      <p:ext uri="{BB962C8B-B14F-4D97-AF65-F5344CB8AC3E}">
        <p14:creationId xmlns:p14="http://schemas.microsoft.com/office/powerpoint/2010/main" xmlns="" val="2311575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77154" y="4800600"/>
            <a:ext cx="7582853"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477154" y="612775"/>
            <a:ext cx="758285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2477154" y="5367338"/>
            <a:ext cx="758285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F1936EB7-647C-461C-B63B-B6FEC021C147}" type="slidenum">
              <a:rPr lang="de-DE"/>
              <a:pPr/>
              <a:t>‹#›</a:t>
            </a:fld>
            <a:endParaRPr lang="de-DE"/>
          </a:p>
        </p:txBody>
      </p:sp>
    </p:spTree>
    <p:extLst>
      <p:ext uri="{BB962C8B-B14F-4D97-AF65-F5344CB8AC3E}">
        <p14:creationId xmlns:p14="http://schemas.microsoft.com/office/powerpoint/2010/main" xmlns="" val="34311166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4329DE25-184C-463A-8862-FB13D3B9AE5B}" type="slidenum">
              <a:rPr lang="de-DE"/>
              <a:pPr/>
              <a:t>‹#›</a:t>
            </a:fld>
            <a:endParaRPr lang="de-DE"/>
          </a:p>
        </p:txBody>
      </p:sp>
    </p:spTree>
    <p:extLst>
      <p:ext uri="{BB962C8B-B14F-4D97-AF65-F5344CB8AC3E}">
        <p14:creationId xmlns:p14="http://schemas.microsoft.com/office/powerpoint/2010/main" xmlns="" val="18727832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72325" y="327025"/>
            <a:ext cx="2944501" cy="567848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4436" y="327025"/>
            <a:ext cx="8627249" cy="56784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3F49D244-C6CC-48D2-AB02-2FBCEE3690C7}" type="slidenum">
              <a:rPr lang="de-DE"/>
              <a:pPr/>
              <a:t>‹#›</a:t>
            </a:fld>
            <a:endParaRPr lang="de-DE"/>
          </a:p>
        </p:txBody>
      </p:sp>
    </p:spTree>
    <p:extLst>
      <p:ext uri="{BB962C8B-B14F-4D97-AF65-F5344CB8AC3E}">
        <p14:creationId xmlns:p14="http://schemas.microsoft.com/office/powerpoint/2010/main" xmlns="" val="29991525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15954" y="0"/>
            <a:ext cx="10742375"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31907" y="1600205"/>
            <a:ext cx="5581821"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424368" y="1600200"/>
            <a:ext cx="5581821"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424368" y="3938591"/>
            <a:ext cx="5581821"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Date Placeholder 5"/>
          <p:cNvSpPr>
            <a:spLocks noGrp="1"/>
          </p:cNvSpPr>
          <p:nvPr>
            <p:ph type="dt" sz="half" idx="10"/>
          </p:nvPr>
        </p:nvSpPr>
        <p:spPr>
          <a:xfrm>
            <a:off x="947859" y="6248400"/>
            <a:ext cx="2632934" cy="457200"/>
          </a:xfrm>
          <a:prstGeom prst="rect">
            <a:avLst/>
          </a:prstGeom>
        </p:spPr>
        <p:txBody>
          <a:bodyPr/>
          <a:lstStyle>
            <a:lvl1pPr>
              <a:defRPr/>
            </a:lvl1pPr>
          </a:lstStyle>
          <a:p>
            <a:endParaRPr lang="en-US" dirty="0"/>
          </a:p>
        </p:txBody>
      </p:sp>
      <p:sp>
        <p:nvSpPr>
          <p:cNvPr id="7" name="Footer Placeholder 6"/>
          <p:cNvSpPr>
            <a:spLocks noGrp="1"/>
          </p:cNvSpPr>
          <p:nvPr>
            <p:ph type="ftr" sz="quarter" idx="11"/>
          </p:nvPr>
        </p:nvSpPr>
        <p:spPr>
          <a:xfrm>
            <a:off x="4318021" y="6248400"/>
            <a:ext cx="4002061" cy="457200"/>
          </a:xfrm>
        </p:spPr>
        <p:txBody>
          <a:bodyPr/>
          <a:lstStyle>
            <a:lvl1pPr>
              <a:defRPr/>
            </a:lvl1pPr>
          </a:lstStyle>
          <a:p>
            <a:endParaRPr lang="en-US" dirty="0"/>
          </a:p>
        </p:txBody>
      </p:sp>
      <p:sp>
        <p:nvSpPr>
          <p:cNvPr id="8" name="Slide Number Placeholder 7"/>
          <p:cNvSpPr>
            <a:spLocks noGrp="1"/>
          </p:cNvSpPr>
          <p:nvPr>
            <p:ph type="sldNum" sz="quarter" idx="12"/>
          </p:nvPr>
        </p:nvSpPr>
        <p:spPr>
          <a:xfrm>
            <a:off x="9057302" y="6248400"/>
            <a:ext cx="2632934" cy="457200"/>
          </a:xfrm>
          <a:prstGeom prst="rect">
            <a:avLst/>
          </a:prstGeom>
        </p:spPr>
        <p:txBody>
          <a:bodyPr/>
          <a:lstStyle>
            <a:lvl1pPr>
              <a:defRPr/>
            </a:lvl1pPr>
          </a:lstStyle>
          <a:p>
            <a:fld id="{CF653DD4-92D6-406C-8C3E-2562A0F574EE}" type="slidenum">
              <a:rPr lang="en-US"/>
              <a:pPr/>
              <a:t>‹#›</a:t>
            </a:fld>
            <a:endParaRPr lang="en-US" dirty="0"/>
          </a:p>
        </p:txBody>
      </p:sp>
    </p:spTree>
    <p:extLst>
      <p:ext uri="{BB962C8B-B14F-4D97-AF65-F5344CB8AC3E}">
        <p14:creationId xmlns:p14="http://schemas.microsoft.com/office/powerpoint/2010/main" xmlns="" val="32212913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434442" y="1614492"/>
            <a:ext cx="11782384" cy="43910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2234465558"/>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98323" y="4406912"/>
            <a:ext cx="10742375"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98323" y="2906713"/>
            <a:ext cx="10742375"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7" name="Slide Number Placeholder 6"/>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3500555963"/>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4440" y="1614492"/>
            <a:ext cx="5785876" cy="43910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430946" y="1614492"/>
            <a:ext cx="5785874" cy="43910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8" name="Slide Number Placeholder 7"/>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47013516"/>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1905" y="274638"/>
            <a:ext cx="1137428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31905" y="1535113"/>
            <a:ext cx="558401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1905" y="2174875"/>
            <a:ext cx="558401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419975" y="1535113"/>
            <a:ext cx="558620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9975" y="2174875"/>
            <a:ext cx="558620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0" name="Slide Number Placeholder 9"/>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3980273893"/>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6" name="Slide Number Placeholder 5"/>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1182241903"/>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3752963140"/>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1911" y="273050"/>
            <a:ext cx="415784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941143" y="273053"/>
            <a:ext cx="7065042"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31911" y="1435103"/>
            <a:ext cx="415784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Slide Number Placeholder 7"/>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1096573459"/>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77154" y="4800600"/>
            <a:ext cx="7582853"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477154" y="612775"/>
            <a:ext cx="7582853"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2477154" y="5367338"/>
            <a:ext cx="7582853"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Slide Number Placeholder 7"/>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966556234"/>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434442" y="1614492"/>
            <a:ext cx="11782384" cy="43910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2533914387"/>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72325" y="327025"/>
            <a:ext cx="2944501" cy="567848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4436" y="327025"/>
            <a:ext cx="8627249" cy="567848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3153787989"/>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15954" y="0"/>
            <a:ext cx="10742375"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31907" y="1600205"/>
            <a:ext cx="5581821"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424368" y="1600200"/>
            <a:ext cx="5581821"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424368" y="3938591"/>
            <a:ext cx="5581821"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1" name="Slide Number Placeholder 10"/>
          <p:cNvSpPr>
            <a:spLocks noGrp="1"/>
          </p:cNvSpPr>
          <p:nvPr>
            <p:ph type="sldNum" sz="quarter" idx="10"/>
          </p:nvPr>
        </p:nvSpPr>
        <p:spPr/>
        <p:txBody>
          <a:body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527930359"/>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2292" name="Rectangle 7"/>
          <p:cNvSpPr>
            <a:spLocks noGrp="1" noChangeArrowheads="1"/>
          </p:cNvSpPr>
          <p:nvPr>
            <p:ph type="ctrTitle"/>
          </p:nvPr>
        </p:nvSpPr>
        <p:spPr>
          <a:xfrm>
            <a:off x="1619263" y="4394200"/>
            <a:ext cx="10345241" cy="960438"/>
          </a:xfrm>
        </p:spPr>
        <p:txBody>
          <a:bodyPr anchor="t"/>
          <a:lstStyle>
            <a:lvl1pPr>
              <a:defRPr sz="3200"/>
            </a:lvl1pPr>
          </a:lstStyle>
          <a:p>
            <a:r>
              <a:rPr lang="de-DE"/>
              <a:t>Titelmasterformat durch Klicken bearbeiten</a:t>
            </a:r>
          </a:p>
        </p:txBody>
      </p:sp>
      <p:sp>
        <p:nvSpPr>
          <p:cNvPr id="12293" name="Rectangle 12"/>
          <p:cNvSpPr>
            <a:spLocks noGrp="1" noChangeArrowheads="1"/>
          </p:cNvSpPr>
          <p:nvPr>
            <p:ph type="subTitle" idx="1"/>
          </p:nvPr>
        </p:nvSpPr>
        <p:spPr>
          <a:xfrm>
            <a:off x="1619264" y="5489575"/>
            <a:ext cx="8080916" cy="800100"/>
          </a:xfrm>
        </p:spPr>
        <p:txBody>
          <a:bodyPr/>
          <a:lstStyle>
            <a:lvl1pPr marL="0" indent="0">
              <a:buFont typeface="Wingdings" pitchFamily="2" charset="2"/>
              <a:buNone/>
              <a:defRPr sz="2200" b="0"/>
            </a:lvl1pPr>
          </a:lstStyle>
          <a:p>
            <a:r>
              <a:rPr lang="de-DE"/>
              <a:t>Formatvorlage des Untertitelmasters durch Klicken bearbeiten</a:t>
            </a:r>
          </a:p>
        </p:txBody>
      </p:sp>
      <p:sp>
        <p:nvSpPr>
          <p:cNvPr id="12300" name="Rectangle 12"/>
          <p:cNvSpPr>
            <a:spLocks noChangeArrowheads="1"/>
          </p:cNvSpPr>
          <p:nvPr userDrawn="1"/>
        </p:nvSpPr>
        <p:spPr bwMode="auto">
          <a:xfrm>
            <a:off x="8" y="0"/>
            <a:ext cx="5919715"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pic>
        <p:nvPicPr>
          <p:cNvPr id="6" name="Picture 36"/>
          <p:cNvPicPr>
            <a:picLocks noChangeAspect="1" noChangeArrowheads="1"/>
          </p:cNvPicPr>
          <p:nvPr userDrawn="1"/>
        </p:nvPicPr>
        <p:blipFill>
          <a:blip r:embed="rId3" cstate="print"/>
          <a:srcRect/>
          <a:stretch>
            <a:fillRect/>
          </a:stretch>
        </p:blipFill>
        <p:spPr bwMode="auto">
          <a:xfrm>
            <a:off x="10846865" y="5717817"/>
            <a:ext cx="1791225" cy="1140195"/>
          </a:xfrm>
          <a:prstGeom prst="rect">
            <a:avLst/>
          </a:prstGeom>
          <a:noFill/>
          <a:ln w="9525">
            <a:noFill/>
            <a:miter lim="800000"/>
            <a:headEnd/>
            <a:tailEnd/>
          </a:ln>
        </p:spPr>
      </p:pic>
    </p:spTree>
    <p:extLst>
      <p:ext uri="{BB962C8B-B14F-4D97-AF65-F5344CB8AC3E}">
        <p14:creationId xmlns:p14="http://schemas.microsoft.com/office/powerpoint/2010/main" xmlns="" val="597720239"/>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15954" y="0"/>
            <a:ext cx="10742375"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31907" y="1600205"/>
            <a:ext cx="5581821"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424368" y="1600200"/>
            <a:ext cx="5581821"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424368" y="3938591"/>
            <a:ext cx="5581821"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2"/>
          <p:cNvSpPr txBox="1">
            <a:spLocks/>
          </p:cNvSpPr>
          <p:nvPr userDrawn="1"/>
        </p:nvSpPr>
        <p:spPr>
          <a:xfrm>
            <a:off x="9793297" y="0"/>
            <a:ext cx="2844800" cy="327030"/>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fld id="{F667033A-4247-4ED4-8A21-2B1E2D674746}" type="slidenum">
              <a:rPr lang="en-ZA" smtClean="0"/>
              <a:pPr/>
              <a:t>‹#›</a:t>
            </a:fld>
            <a:endParaRPr lang="en-ZA" dirty="0"/>
          </a:p>
        </p:txBody>
      </p:sp>
      <p:sp>
        <p:nvSpPr>
          <p:cNvPr id="10" name="Slide Number Placeholder 9"/>
          <p:cNvSpPr>
            <a:spLocks noGrp="1"/>
          </p:cNvSpPr>
          <p:nvPr>
            <p:ph type="sldNum" sz="quarter" idx="10"/>
          </p:nvPr>
        </p:nvSpPr>
        <p:spPr/>
        <p:txBody>
          <a:bodyPr/>
          <a:lstStyle/>
          <a:p>
            <a:fld id="{F667033A-4247-4ED4-8A21-2B1E2D674746}" type="slidenum">
              <a:rPr lang="en-ZA" smtClean="0"/>
              <a:pPr/>
              <a:t>‹#›</a:t>
            </a:fld>
            <a:endParaRPr lang="en-ZA"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36C944CB-8580-45FB-B1CA-D165D7DC748C}" type="slidenum">
              <a:rPr lang="de-DE"/>
              <a:pPr/>
              <a:t>‹#›</a:t>
            </a:fld>
            <a:endParaRPr lang="de-DE"/>
          </a:p>
        </p:txBody>
      </p:sp>
    </p:spTree>
    <p:extLst>
      <p:ext uri="{BB962C8B-B14F-4D97-AF65-F5344CB8AC3E}">
        <p14:creationId xmlns:p14="http://schemas.microsoft.com/office/powerpoint/2010/main" xmlns="" val="11113263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98323" y="4406912"/>
            <a:ext cx="10742375"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98323" y="2906713"/>
            <a:ext cx="10742375"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3"/>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476FEA83-6C46-4694-9763-42193ECFF339}" type="slidenum">
              <a:rPr lang="de-DE"/>
              <a:pPr/>
              <a:t>‹#›</a:t>
            </a:fld>
            <a:endParaRPr lang="de-DE"/>
          </a:p>
        </p:txBody>
      </p:sp>
    </p:spTree>
    <p:extLst>
      <p:ext uri="{BB962C8B-B14F-4D97-AF65-F5344CB8AC3E}">
        <p14:creationId xmlns:p14="http://schemas.microsoft.com/office/powerpoint/2010/main" xmlns="" val="25510914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4440" y="1614492"/>
            <a:ext cx="5785876"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430946" y="1614492"/>
            <a:ext cx="5785874"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5E6FC626-6513-4A78-A46E-E4504026323A}" type="slidenum">
              <a:rPr lang="de-DE"/>
              <a:pPr/>
              <a:t>‹#›</a:t>
            </a:fld>
            <a:endParaRPr lang="de-DE"/>
          </a:p>
        </p:txBody>
      </p:sp>
    </p:spTree>
    <p:extLst>
      <p:ext uri="{BB962C8B-B14F-4D97-AF65-F5344CB8AC3E}">
        <p14:creationId xmlns:p14="http://schemas.microsoft.com/office/powerpoint/2010/main" xmlns="" val="5957172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1905" y="274638"/>
            <a:ext cx="1137428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31905" y="1535113"/>
            <a:ext cx="55840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1905" y="2174875"/>
            <a:ext cx="55840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419975" y="1535113"/>
            <a:ext cx="558620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9975" y="2174875"/>
            <a:ext cx="558620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Footer Placeholder 6"/>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5270AFE1-42D4-4320-A653-36C5C26FA73A}" type="slidenum">
              <a:rPr lang="de-DE"/>
              <a:pPr/>
              <a:t>‹#›</a:t>
            </a:fld>
            <a:endParaRPr lang="de-DE"/>
          </a:p>
        </p:txBody>
      </p:sp>
    </p:spTree>
    <p:extLst>
      <p:ext uri="{BB962C8B-B14F-4D97-AF65-F5344CB8AC3E}">
        <p14:creationId xmlns:p14="http://schemas.microsoft.com/office/powerpoint/2010/main" xmlns="" val="20424200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Footer Placeholder 2"/>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AAB575A9-23DE-420A-BF46-0A587FE10E79}" type="slidenum">
              <a:rPr lang="de-DE"/>
              <a:pPr/>
              <a:t>‹#›</a:t>
            </a:fld>
            <a:endParaRPr lang="de-DE"/>
          </a:p>
        </p:txBody>
      </p:sp>
    </p:spTree>
    <p:extLst>
      <p:ext uri="{BB962C8B-B14F-4D97-AF65-F5344CB8AC3E}">
        <p14:creationId xmlns:p14="http://schemas.microsoft.com/office/powerpoint/2010/main" xmlns="" val="40545496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EFDFD16C-804B-40D8-813D-4D9515F80D7A}" type="slidenum">
              <a:rPr lang="de-DE"/>
              <a:pPr/>
              <a:t>‹#›</a:t>
            </a:fld>
            <a:endParaRPr lang="de-DE"/>
          </a:p>
        </p:txBody>
      </p:sp>
    </p:spTree>
    <p:extLst>
      <p:ext uri="{BB962C8B-B14F-4D97-AF65-F5344CB8AC3E}">
        <p14:creationId xmlns:p14="http://schemas.microsoft.com/office/powerpoint/2010/main" xmlns="" val="25576606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1911" y="273050"/>
            <a:ext cx="415784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941143" y="273053"/>
            <a:ext cx="706504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31911" y="1435103"/>
            <a:ext cx="415784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719D4207-2780-43E4-9570-7789E2CE90EC}" type="slidenum">
              <a:rPr lang="de-DE"/>
              <a:pPr/>
              <a:t>‹#›</a:t>
            </a:fld>
            <a:endParaRPr lang="de-DE"/>
          </a:p>
        </p:txBody>
      </p:sp>
    </p:spTree>
    <p:extLst>
      <p:ext uri="{BB962C8B-B14F-4D97-AF65-F5344CB8AC3E}">
        <p14:creationId xmlns:p14="http://schemas.microsoft.com/office/powerpoint/2010/main" xmlns="" val="17526272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77154" y="4800600"/>
            <a:ext cx="7582853"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477154" y="612775"/>
            <a:ext cx="758285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2477154" y="5367338"/>
            <a:ext cx="758285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F1936EB7-647C-461C-B63B-B6FEC021C147}" type="slidenum">
              <a:rPr lang="de-DE"/>
              <a:pPr/>
              <a:t>‹#›</a:t>
            </a:fld>
            <a:endParaRPr lang="de-DE"/>
          </a:p>
        </p:txBody>
      </p:sp>
    </p:spTree>
    <p:extLst>
      <p:ext uri="{BB962C8B-B14F-4D97-AF65-F5344CB8AC3E}">
        <p14:creationId xmlns:p14="http://schemas.microsoft.com/office/powerpoint/2010/main" xmlns="" val="37046424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4329DE25-184C-463A-8862-FB13D3B9AE5B}" type="slidenum">
              <a:rPr lang="de-DE"/>
              <a:pPr/>
              <a:t>‹#›</a:t>
            </a:fld>
            <a:endParaRPr lang="de-DE"/>
          </a:p>
        </p:txBody>
      </p:sp>
    </p:spTree>
    <p:extLst>
      <p:ext uri="{BB962C8B-B14F-4D97-AF65-F5344CB8AC3E}">
        <p14:creationId xmlns:p14="http://schemas.microsoft.com/office/powerpoint/2010/main" xmlns="" val="15079279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72325" y="327025"/>
            <a:ext cx="2944501" cy="567848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4436" y="327025"/>
            <a:ext cx="8627249" cy="56784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p:cNvSpPr>
            <a:spLocks noGrp="1"/>
          </p:cNvSpPr>
          <p:nvPr>
            <p:ph type="ftr" sz="quarter" idx="10"/>
          </p:nvPr>
        </p:nvSpPr>
        <p:spPr>
          <a:xfrm>
            <a:off x="0" y="6532563"/>
            <a:ext cx="1856219" cy="247650"/>
          </a:xfrm>
        </p:spPr>
        <p:txBody>
          <a:bodyPr/>
          <a:lstStyle>
            <a:lvl1pPr>
              <a:defRPr/>
            </a:lvl1pPr>
          </a:lstStyle>
          <a:p>
            <a:r>
              <a:rPr lang="de-DE"/>
              <a:t>Page </a:t>
            </a:r>
            <a:r>
              <a:rPr lang="de-DE">
                <a:sym typeface="Wingdings" pitchFamily="2" charset="2"/>
              </a:rPr>
              <a:t></a:t>
            </a:r>
            <a:r>
              <a:rPr lang="de-DE"/>
              <a:t> </a:t>
            </a:r>
            <a:fld id="{3F49D244-C6CC-48D2-AB02-2FBCEE3690C7}" type="slidenum">
              <a:rPr lang="de-DE"/>
              <a:pPr/>
              <a:t>‹#›</a:t>
            </a:fld>
            <a:endParaRPr lang="de-DE"/>
          </a:p>
        </p:txBody>
      </p:sp>
    </p:spTree>
    <p:extLst>
      <p:ext uri="{BB962C8B-B14F-4D97-AF65-F5344CB8AC3E}">
        <p14:creationId xmlns:p14="http://schemas.microsoft.com/office/powerpoint/2010/main" xmlns="" val="28018877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Blank">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40417141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15954" y="0"/>
            <a:ext cx="10742375"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31907" y="1600205"/>
            <a:ext cx="5581821"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424368" y="1600200"/>
            <a:ext cx="5581821"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424368" y="3938591"/>
            <a:ext cx="5581821"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Date Placeholder 5"/>
          <p:cNvSpPr>
            <a:spLocks noGrp="1"/>
          </p:cNvSpPr>
          <p:nvPr>
            <p:ph type="dt" sz="half" idx="10"/>
          </p:nvPr>
        </p:nvSpPr>
        <p:spPr>
          <a:xfrm>
            <a:off x="947859" y="6248400"/>
            <a:ext cx="2632934" cy="457200"/>
          </a:xfrm>
          <a:prstGeom prst="rect">
            <a:avLst/>
          </a:prstGeom>
        </p:spPr>
        <p:txBody>
          <a:bodyPr/>
          <a:lstStyle>
            <a:lvl1pPr>
              <a:defRPr/>
            </a:lvl1pPr>
          </a:lstStyle>
          <a:p>
            <a:endParaRPr lang="en-US" dirty="0"/>
          </a:p>
        </p:txBody>
      </p:sp>
      <p:sp>
        <p:nvSpPr>
          <p:cNvPr id="7" name="Footer Placeholder 6"/>
          <p:cNvSpPr>
            <a:spLocks noGrp="1"/>
          </p:cNvSpPr>
          <p:nvPr>
            <p:ph type="ftr" sz="quarter" idx="11"/>
          </p:nvPr>
        </p:nvSpPr>
        <p:spPr>
          <a:xfrm>
            <a:off x="4318021" y="6248400"/>
            <a:ext cx="4002061" cy="457200"/>
          </a:xfrm>
        </p:spPr>
        <p:txBody>
          <a:bodyPr/>
          <a:lstStyle>
            <a:lvl1pPr>
              <a:defRPr/>
            </a:lvl1pPr>
          </a:lstStyle>
          <a:p>
            <a:endParaRPr lang="en-US" dirty="0"/>
          </a:p>
        </p:txBody>
      </p:sp>
      <p:sp>
        <p:nvSpPr>
          <p:cNvPr id="8" name="Slide Number Placeholder 7"/>
          <p:cNvSpPr>
            <a:spLocks noGrp="1"/>
          </p:cNvSpPr>
          <p:nvPr>
            <p:ph type="sldNum" sz="quarter" idx="12"/>
          </p:nvPr>
        </p:nvSpPr>
        <p:spPr>
          <a:xfrm>
            <a:off x="9057302" y="6248400"/>
            <a:ext cx="2632934" cy="457200"/>
          </a:xfrm>
          <a:prstGeom prst="rect">
            <a:avLst/>
          </a:prstGeom>
        </p:spPr>
        <p:txBody>
          <a:bodyPr/>
          <a:lstStyle>
            <a:lvl1pPr>
              <a:defRPr/>
            </a:lvl1pPr>
          </a:lstStyle>
          <a:p>
            <a:fld id="{CF653DD4-92D6-406C-8C3E-2562A0F574EE}" type="slidenum">
              <a:rPr lang="en-US"/>
              <a:pPr/>
              <a:t>‹#›</a:t>
            </a:fld>
            <a:endParaRPr lang="en-US" dirty="0"/>
          </a:p>
        </p:txBody>
      </p:sp>
    </p:spTree>
    <p:extLst>
      <p:ext uri="{BB962C8B-B14F-4D97-AF65-F5344CB8AC3E}">
        <p14:creationId xmlns:p14="http://schemas.microsoft.com/office/powerpoint/2010/main" xmlns="" val="40282287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2"/>
          <p:cNvSpPr>
            <a:spLocks noGrp="1"/>
          </p:cNvSpPr>
          <p:nvPr>
            <p:ph type="sldNum" sz="quarter" idx="4"/>
          </p:nvPr>
        </p:nvSpPr>
        <p:spPr>
          <a:xfrm>
            <a:off x="9793298" y="0"/>
            <a:ext cx="2844800" cy="327030"/>
          </a:xfrm>
          <a:prstGeom prst="rect">
            <a:avLst/>
          </a:prstGeom>
        </p:spPr>
        <p:txBody>
          <a:bodyPr vert="horz" lIns="91440" tIns="45720" rIns="91440" bIns="45720" rtlCol="0" anchor="ctr"/>
          <a:lstStyle>
            <a:lvl1pPr algn="r">
              <a:defRPr sz="1158">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3759514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4441" y="1614493"/>
            <a:ext cx="5785876" cy="4391025"/>
          </a:xfrm>
        </p:spPr>
        <p:txBody>
          <a:bodyPr/>
          <a:lstStyle>
            <a:lvl1pPr>
              <a:defRPr sz="2701"/>
            </a:lvl1pPr>
            <a:lvl2pPr>
              <a:defRPr sz="2315"/>
            </a:lvl2pPr>
            <a:lvl3pPr>
              <a:defRPr sz="1929"/>
            </a:lvl3pPr>
            <a:lvl4pPr>
              <a:defRPr sz="1736"/>
            </a:lvl4pPr>
            <a:lvl5pPr>
              <a:defRPr sz="1736"/>
            </a:lvl5pPr>
            <a:lvl6pPr>
              <a:defRPr sz="1736"/>
            </a:lvl6pPr>
            <a:lvl7pPr>
              <a:defRPr sz="1736"/>
            </a:lvl7pPr>
            <a:lvl8pPr>
              <a:defRPr sz="1736"/>
            </a:lvl8pPr>
            <a:lvl9pPr>
              <a:defRPr sz="17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430946" y="1614493"/>
            <a:ext cx="5785874" cy="4391025"/>
          </a:xfrm>
        </p:spPr>
        <p:txBody>
          <a:bodyPr/>
          <a:lstStyle>
            <a:lvl1pPr>
              <a:defRPr sz="2701"/>
            </a:lvl1pPr>
            <a:lvl2pPr>
              <a:defRPr sz="2315"/>
            </a:lvl2pPr>
            <a:lvl3pPr>
              <a:defRPr sz="1929"/>
            </a:lvl3pPr>
            <a:lvl4pPr>
              <a:defRPr sz="1736"/>
            </a:lvl4pPr>
            <a:lvl5pPr>
              <a:defRPr sz="1736"/>
            </a:lvl5pPr>
            <a:lvl6pPr>
              <a:defRPr sz="1736"/>
            </a:lvl6pPr>
            <a:lvl7pPr>
              <a:defRPr sz="1736"/>
            </a:lvl7pPr>
            <a:lvl8pPr>
              <a:defRPr sz="1736"/>
            </a:lvl8pPr>
            <a:lvl9pPr>
              <a:defRPr sz="17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2"/>
          <p:cNvSpPr>
            <a:spLocks noGrp="1"/>
          </p:cNvSpPr>
          <p:nvPr>
            <p:ph type="sldNum" sz="quarter" idx="4"/>
          </p:nvPr>
        </p:nvSpPr>
        <p:spPr>
          <a:xfrm>
            <a:off x="9793298" y="0"/>
            <a:ext cx="2844800" cy="327030"/>
          </a:xfrm>
          <a:prstGeom prst="rect">
            <a:avLst/>
          </a:prstGeom>
        </p:spPr>
        <p:txBody>
          <a:bodyPr vert="horz" lIns="91440" tIns="45720" rIns="91440" bIns="45720" rtlCol="0" anchor="ctr"/>
          <a:lstStyle>
            <a:lvl1pPr algn="r">
              <a:defRPr sz="1158">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11953585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4" name="Slide Number Placeholder 2"/>
          <p:cNvSpPr>
            <a:spLocks noGrp="1"/>
          </p:cNvSpPr>
          <p:nvPr>
            <p:ph type="sldNum" sz="quarter" idx="4"/>
          </p:nvPr>
        </p:nvSpPr>
        <p:spPr>
          <a:xfrm>
            <a:off x="9793298" y="0"/>
            <a:ext cx="2844800" cy="327030"/>
          </a:xfrm>
          <a:prstGeom prst="rect">
            <a:avLst/>
          </a:prstGeom>
        </p:spPr>
        <p:txBody>
          <a:bodyPr vert="horz" lIns="91440" tIns="45720" rIns="91440" bIns="45720" rtlCol="0" anchor="ctr"/>
          <a:lstStyle>
            <a:lvl1pPr algn="r">
              <a:defRPr sz="1158">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12837264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9793298" y="0"/>
            <a:ext cx="2844800" cy="327030"/>
          </a:xfrm>
          <a:prstGeom prst="rect">
            <a:avLst/>
          </a:prstGeom>
        </p:spPr>
        <p:txBody>
          <a:bodyPr vert="horz" lIns="91440" tIns="45720" rIns="91440" bIns="45720" rtlCol="0" anchor="ctr"/>
          <a:lstStyle>
            <a:lvl1pPr algn="r">
              <a:defRPr sz="1158">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37560889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15954" y="0"/>
            <a:ext cx="10742375"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31908" y="1600206"/>
            <a:ext cx="5581821"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424369" y="1600200"/>
            <a:ext cx="5581821"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424369" y="3938593"/>
            <a:ext cx="5581821"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2"/>
          <p:cNvSpPr txBox="1">
            <a:spLocks/>
          </p:cNvSpPr>
          <p:nvPr userDrawn="1"/>
        </p:nvSpPr>
        <p:spPr>
          <a:xfrm>
            <a:off x="9793298" y="0"/>
            <a:ext cx="2844800" cy="327030"/>
          </a:xfrm>
          <a:prstGeom prst="rect">
            <a:avLst/>
          </a:prstGeom>
        </p:spPr>
        <p:txBody>
          <a:bodyPr vert="horz" lIns="88212" tIns="44106" rIns="88212" bIns="44106"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fld id="{F667033A-4247-4ED4-8A21-2B1E2D674746}" type="slidenum">
              <a:rPr lang="en-ZA" sz="1158" smtClean="0"/>
              <a:pPr/>
              <a:t>‹#›</a:t>
            </a:fld>
            <a:endParaRPr lang="en-ZA" sz="1158" dirty="0"/>
          </a:p>
        </p:txBody>
      </p:sp>
      <p:sp>
        <p:nvSpPr>
          <p:cNvPr id="10" name="Slide Number Placeholder 9"/>
          <p:cNvSpPr>
            <a:spLocks noGrp="1"/>
          </p:cNvSpPr>
          <p:nvPr>
            <p:ph type="sldNum" sz="quarter" idx="10"/>
          </p:nvPr>
        </p:nvSpPr>
        <p:spPr/>
        <p:txBody>
          <a:body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37519990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41106025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4440" y="1614492"/>
            <a:ext cx="5785876"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430946" y="1614492"/>
            <a:ext cx="5785874"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19855733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4"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28681079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41183217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2_Blank">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41217895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15954" y="0"/>
            <a:ext cx="10742375"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31907" y="1600205"/>
            <a:ext cx="5581821"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424368" y="1600200"/>
            <a:ext cx="5581821"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424368" y="3938591"/>
            <a:ext cx="5581821"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2"/>
          <p:cNvSpPr txBox="1">
            <a:spLocks/>
          </p:cNvSpPr>
          <p:nvPr userDrawn="1"/>
        </p:nvSpPr>
        <p:spPr>
          <a:xfrm>
            <a:off x="9793297" y="0"/>
            <a:ext cx="2844800" cy="327030"/>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fld id="{F667033A-4247-4ED4-8A21-2B1E2D674746}" type="slidenum">
              <a:rPr lang="en-ZA" smtClean="0"/>
              <a:pPr/>
              <a:t>‹#›</a:t>
            </a:fld>
            <a:endParaRPr lang="en-ZA" dirty="0"/>
          </a:p>
        </p:txBody>
      </p:sp>
      <p:sp>
        <p:nvSpPr>
          <p:cNvPr id="10" name="Slide Number Placeholder 9"/>
          <p:cNvSpPr>
            <a:spLocks noGrp="1"/>
          </p:cNvSpPr>
          <p:nvPr>
            <p:ph type="sldNum" sz="quarter" idx="10"/>
          </p:nvPr>
        </p:nvSpPr>
        <p:spPr/>
        <p:txBody>
          <a:body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8573213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1511419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4440" y="1614492"/>
            <a:ext cx="5785876"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430946" y="1614492"/>
            <a:ext cx="5785874"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28054547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4"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14318910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28969192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15954" y="0"/>
            <a:ext cx="10742375"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31907" y="1600205"/>
            <a:ext cx="5581821"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424368" y="1600200"/>
            <a:ext cx="5581821"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424368" y="3938591"/>
            <a:ext cx="5581821"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2"/>
          <p:cNvSpPr txBox="1">
            <a:spLocks/>
          </p:cNvSpPr>
          <p:nvPr userDrawn="1"/>
        </p:nvSpPr>
        <p:spPr>
          <a:xfrm>
            <a:off x="9793297" y="0"/>
            <a:ext cx="2844800" cy="327030"/>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fld id="{F667033A-4247-4ED4-8A21-2B1E2D674746}" type="slidenum">
              <a:rPr lang="en-ZA" smtClean="0"/>
              <a:pPr/>
              <a:t>‹#›</a:t>
            </a:fld>
            <a:endParaRPr lang="en-ZA" dirty="0"/>
          </a:p>
        </p:txBody>
      </p:sp>
      <p:sp>
        <p:nvSpPr>
          <p:cNvPr id="10" name="Slide Number Placeholder 9"/>
          <p:cNvSpPr>
            <a:spLocks noGrp="1"/>
          </p:cNvSpPr>
          <p:nvPr>
            <p:ph type="sldNum" sz="quarter" idx="10"/>
          </p:nvPr>
        </p:nvSpPr>
        <p:spPr/>
        <p:txBody>
          <a:body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33137261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Wide spac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F91115E-6AD7-41D2-A9C4-73E991774E27}"/>
              </a:ext>
            </a:extLst>
          </p:cNvPr>
          <p:cNvGraphicFramePr>
            <a:graphicFrameLocks noChangeAspect="1"/>
          </p:cNvGraphicFramePr>
          <p:nvPr userDrawn="1"/>
        </p:nvGraphicFramePr>
        <p:xfrm>
          <a:off x="1588" y="1588"/>
          <a:ext cx="1588" cy="1588"/>
        </p:xfrm>
        <a:graphic>
          <a:graphicData uri="http://schemas.openxmlformats.org/presentationml/2006/ole">
            <p:oleObj spid="_x0000_s2050" name="think-cell Slide" r:id="rId4" imgW="360" imgH="360" progId="">
              <p:embed/>
            </p:oleObj>
          </a:graphicData>
        </a:graphic>
      </p:graphicFrame>
      <p:sp>
        <p:nvSpPr>
          <p:cNvPr id="4" name="Rectangle 3" hidden="1">
            <a:extLst>
              <a:ext uri="{FF2B5EF4-FFF2-40B4-BE49-F238E27FC236}">
                <a16:creationId xmlns:a16="http://schemas.microsoft.com/office/drawing/2014/main" xmlns="" id="{BC9AF2F0-BB32-461D-9694-099E25F325BA}"/>
              </a:ext>
            </a:extLst>
          </p:cNvPr>
          <p:cNvSpPr/>
          <p:nvPr userDrawn="1">
            <p:custDataLst>
              <p:tags r:id="rId2"/>
            </p:custDataLst>
          </p:nvPr>
        </p:nvSpPr>
        <p:spPr>
          <a:xfrm>
            <a:off x="1" y="0"/>
            <a:ext cx="158750" cy="158750"/>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rtl="0">
              <a:lnSpc>
                <a:spcPct val="90000"/>
              </a:lnSpc>
              <a:spcBef>
                <a:spcPts val="868"/>
              </a:spcBef>
            </a:pPr>
            <a:endParaRPr kumimoji="0" lang="en-GB" sz="2315" b="1" i="0" u="none" cap="none" baseline="0" dirty="0">
              <a:solidFill>
                <a:schemeClr val="tx1"/>
              </a:solidFill>
              <a:latin typeface="Arial" pitchFamily="34" charset="0"/>
              <a:ea typeface="+mj-ea"/>
              <a:cs typeface="Arial" pitchFamily="34" charset="0"/>
              <a:sym typeface="Arial" panose="020B0604020202020204" pitchFamily="34" charset="0"/>
            </a:endParaRPr>
          </a:p>
        </p:txBody>
      </p:sp>
      <p:sp>
        <p:nvSpPr>
          <p:cNvPr id="2" name="Title 1">
            <a:extLst>
              <a:ext uri="{FF2B5EF4-FFF2-40B4-BE49-F238E27FC236}">
                <a16:creationId xmlns:a16="http://schemas.microsoft.com/office/drawing/2014/main" xmlns="" id="{DD342EFD-A0CF-4436-B1BB-36663256872E}"/>
              </a:ext>
            </a:extLst>
          </p:cNvPr>
          <p:cNvSpPr>
            <a:spLocks noGrp="1"/>
          </p:cNvSpPr>
          <p:nvPr>
            <p:ph type="title"/>
          </p:nvPr>
        </p:nvSpPr>
        <p:spPr>
          <a:xfrm>
            <a:off x="346076" y="404815"/>
            <a:ext cx="5626876" cy="332399"/>
          </a:xfrm>
        </p:spPr>
        <p:txBody>
          <a:bodyPr/>
          <a:lstStyle>
            <a:lvl1pPr rtl="0">
              <a:defRPr/>
            </a:lvl1pPr>
          </a:lstStyle>
          <a:p>
            <a:r>
              <a:rPr lang="en-GB"/>
              <a:t>Click to edit Master title style</a:t>
            </a:r>
          </a:p>
        </p:txBody>
      </p:sp>
      <p:sp>
        <p:nvSpPr>
          <p:cNvPr id="8" name="Rectangle 34">
            <a:extLst>
              <a:ext uri="{FF2B5EF4-FFF2-40B4-BE49-F238E27FC236}">
                <a16:creationId xmlns:a16="http://schemas.microsoft.com/office/drawing/2014/main" xmlns="" id="{F2808C45-EC93-4965-97C4-86E5FB1A98A6}"/>
              </a:ext>
            </a:extLst>
          </p:cNvPr>
          <p:cNvSpPr>
            <a:spLocks noChangeArrowheads="1"/>
          </p:cNvSpPr>
          <p:nvPr userDrawn="1"/>
        </p:nvSpPr>
        <p:spPr bwMode="auto">
          <a:xfrm>
            <a:off x="4614226" y="0"/>
            <a:ext cx="8023856" cy="88900"/>
          </a:xfrm>
          <a:prstGeom prst="rect">
            <a:avLst/>
          </a:prstGeom>
          <a:gradFill flip="none" rotWithShape="1">
            <a:gsLst>
              <a:gs pos="0">
                <a:schemeClr val="bg1"/>
              </a:gs>
              <a:gs pos="100000">
                <a:srgbClr val="CFCFCF"/>
              </a:gs>
            </a:gsLst>
            <a:lin ang="0" scaled="1"/>
            <a:tileRect/>
          </a:gradFill>
          <a:ln w="9525">
            <a:noFill/>
            <a:miter lim="800000"/>
            <a:headEnd/>
            <a:tailEnd/>
          </a:ln>
          <a:effectLst/>
        </p:spPr>
        <p:txBody>
          <a:bodyPr wrap="none" lIns="86823" tIns="45148" rIns="86823" bIns="45148" anchor="ctr"/>
          <a:lstStyle/>
          <a:p>
            <a:pPr rtl="0"/>
            <a:endParaRPr lang="en-GB" sz="1736" dirty="0"/>
          </a:p>
        </p:txBody>
      </p:sp>
      <p:sp>
        <p:nvSpPr>
          <p:cNvPr id="9" name="Rectangle 34">
            <a:extLst>
              <a:ext uri="{FF2B5EF4-FFF2-40B4-BE49-F238E27FC236}">
                <a16:creationId xmlns:a16="http://schemas.microsoft.com/office/drawing/2014/main" xmlns="" id="{8C1CBEB9-8FF6-4483-B5EC-A277AB27E0DE}"/>
              </a:ext>
            </a:extLst>
          </p:cNvPr>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86823" tIns="45148" rIns="86823" bIns="45148" anchor="ctr"/>
          <a:lstStyle/>
          <a:p>
            <a:pPr rtl="0"/>
            <a:endParaRPr lang="en-GB" sz="1736" dirty="0"/>
          </a:p>
        </p:txBody>
      </p:sp>
      <p:sp>
        <p:nvSpPr>
          <p:cNvPr id="11" name="Rectangle 34">
            <a:extLst>
              <a:ext uri="{FF2B5EF4-FFF2-40B4-BE49-F238E27FC236}">
                <a16:creationId xmlns:a16="http://schemas.microsoft.com/office/drawing/2014/main" xmlns="" id="{16148E35-A5B7-48CA-81FD-F8F62BE9B20D}"/>
              </a:ext>
            </a:extLst>
          </p:cNvPr>
          <p:cNvSpPr>
            <a:spLocks noChangeArrowheads="1"/>
          </p:cNvSpPr>
          <p:nvPr userDrawn="1"/>
        </p:nvSpPr>
        <p:spPr bwMode="auto">
          <a:xfrm rot="16200000">
            <a:off x="10907406" y="1934848"/>
            <a:ext cx="3338513" cy="122870"/>
          </a:xfrm>
          <a:prstGeom prst="rect">
            <a:avLst/>
          </a:prstGeom>
          <a:solidFill>
            <a:srgbClr val="F18B1B"/>
          </a:solidFill>
          <a:ln w="9525">
            <a:noFill/>
            <a:miter lim="800000"/>
            <a:headEnd/>
            <a:tailEnd/>
          </a:ln>
          <a:effectLst/>
        </p:spPr>
        <p:txBody>
          <a:bodyPr wrap="none" lIns="86823" tIns="45148" rIns="86823" bIns="45148" anchor="ctr"/>
          <a:lstStyle/>
          <a:p>
            <a:pPr rtl="0"/>
            <a:endParaRPr lang="en-GB" sz="1736" dirty="0"/>
          </a:p>
        </p:txBody>
      </p:sp>
      <p:pic>
        <p:nvPicPr>
          <p:cNvPr id="13" name="Picture 27" descr="Central Energy Fund - CEF Group-About the CEF-CEF divisions">
            <a:extLst>
              <a:ext uri="{FF2B5EF4-FFF2-40B4-BE49-F238E27FC236}">
                <a16:creationId xmlns:a16="http://schemas.microsoft.com/office/drawing/2014/main" xmlns="" id="{405A3486-2D3A-4506-8B40-7404C9D35186}"/>
              </a:ext>
            </a:extLst>
          </p:cNvPr>
          <p:cNvPicPr>
            <a:picLocks noChangeAspect="1" noChangeArrowheads="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342382" y="5957558"/>
            <a:ext cx="943494" cy="943494"/>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Box 13">
            <a:extLst>
              <a:ext uri="{FF2B5EF4-FFF2-40B4-BE49-F238E27FC236}">
                <a16:creationId xmlns:a16="http://schemas.microsoft.com/office/drawing/2014/main" xmlns="" id="{97870825-C023-41F0-85ED-B087C5E3643E}"/>
              </a:ext>
            </a:extLst>
          </p:cNvPr>
          <p:cNvSpPr txBox="1"/>
          <p:nvPr userDrawn="1"/>
        </p:nvSpPr>
        <p:spPr>
          <a:xfrm>
            <a:off x="10247283" y="6448527"/>
            <a:ext cx="2103655" cy="160365"/>
          </a:xfrm>
          <a:prstGeom prst="rect">
            <a:avLst/>
          </a:prstGeom>
          <a:noFill/>
          <a:ln w="6350" cap="flat">
            <a:noFill/>
            <a:miter lim="800000"/>
          </a:ln>
          <a:extLst>
            <a:ext uri="{909E8E84-426E-40DD-AFC4-6F175D3DCCD1}">
              <a14:hiddenFill xmlns:a14="http://schemas.microsoft.com/office/drawing/2010/main" xmlns="">
                <a:solidFill>
                  <a:srgbClr val="BBE0E3"/>
                </a:solidFill>
              </a14:hiddenFill>
            </a:ext>
          </a:extLst>
        </p:spPr>
        <p:txBody>
          <a:bodyPr vert="horz" wrap="none" lIns="0" tIns="0" rIns="0" bIns="0" rtlCol="0" anchor="t" anchorCtr="0">
            <a:spAutoFit/>
          </a:bodyPr>
          <a:lstStyle/>
          <a:p>
            <a:pPr rtl="0">
              <a:lnSpc>
                <a:spcPct val="90000"/>
              </a:lnSpc>
              <a:spcBef>
                <a:spcPct val="0"/>
              </a:spcBef>
              <a:spcAft>
                <a:spcPct val="0"/>
              </a:spcAft>
              <a:buClr>
                <a:schemeClr val="bg2"/>
              </a:buClr>
            </a:pPr>
            <a:r>
              <a:rPr lang="en-GB" sz="1158" dirty="0">
                <a:solidFill>
                  <a:schemeClr val="accent3">
                    <a:lumMod val="50000"/>
                  </a:schemeClr>
                </a:solidFill>
                <a:latin typeface="Arial" panose="020B0604020202020204" pitchFamily="34" charset="0"/>
                <a:cs typeface="Arial" panose="020B0604020202020204" pitchFamily="34" charset="0"/>
              </a:rPr>
              <a:t>Strictly private and confidential</a:t>
            </a:r>
          </a:p>
        </p:txBody>
      </p:sp>
    </p:spTree>
    <p:extLst>
      <p:ext uri="{BB962C8B-B14F-4D97-AF65-F5344CB8AC3E}">
        <p14:creationId xmlns:p14="http://schemas.microsoft.com/office/powerpoint/2010/main" xmlns="" val="11795039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D4132B7-2A0C-475A-BE5E-C6FE8E91C8E8}"/>
              </a:ext>
            </a:extLst>
          </p:cNvPr>
          <p:cNvGraphicFramePr>
            <a:graphicFrameLocks noChangeAspect="1"/>
          </p:cNvGraphicFramePr>
          <p:nvPr userDrawn="1"/>
        </p:nvGraphicFramePr>
        <p:xfrm>
          <a:off x="1588" y="1588"/>
          <a:ext cx="1588" cy="1588"/>
        </p:xfrm>
        <a:graphic>
          <a:graphicData uri="http://schemas.openxmlformats.org/presentationml/2006/ole">
            <p:oleObj spid="_x0000_s3074" name="think-cell Slide" r:id="rId4" imgW="360" imgH="360" progId="">
              <p:embed/>
            </p:oleObj>
          </a:graphicData>
        </a:graphic>
      </p:graphicFrame>
      <p:sp>
        <p:nvSpPr>
          <p:cNvPr id="5" name="Rectangle 4" hidden="1">
            <a:extLst>
              <a:ext uri="{FF2B5EF4-FFF2-40B4-BE49-F238E27FC236}">
                <a16:creationId xmlns:a16="http://schemas.microsoft.com/office/drawing/2014/main" xmlns="" id="{3292F3F8-B3AB-4BE1-BFDC-0141EED48A07}"/>
              </a:ext>
            </a:extLst>
          </p:cNvPr>
          <p:cNvSpPr/>
          <p:nvPr userDrawn="1">
            <p:custDataLst>
              <p:tags r:id="rId2"/>
            </p:custDataLst>
          </p:nvPr>
        </p:nvSpPr>
        <p:spPr>
          <a:xfrm>
            <a:off x="1" y="0"/>
            <a:ext cx="158750" cy="158750"/>
          </a:xfrm>
          <a:prstGeom prst="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lnSpc>
                <a:spcPct val="90000"/>
              </a:lnSpc>
              <a:spcBef>
                <a:spcPts val="868"/>
              </a:spcBef>
            </a:pPr>
            <a:endParaRPr kumimoji="0" lang="en-GB" sz="2315" b="1" i="0" u="none" cap="none" baseline="0" dirty="0">
              <a:solidFill>
                <a:schemeClr val="bg1"/>
              </a:solidFill>
              <a:latin typeface="Arial" pitchFamily="34" charset="0"/>
              <a:ea typeface="+mj-ea"/>
              <a:cs typeface="Arial" pitchFamily="34" charset="0"/>
              <a:sym typeface="Arial" panose="020B0604020202020204" pitchFamily="34" charset="0"/>
            </a:endParaRPr>
          </a:p>
        </p:txBody>
      </p:sp>
      <p:sp>
        <p:nvSpPr>
          <p:cNvPr id="2" name="Title 1">
            <a:extLst>
              <a:ext uri="{FF2B5EF4-FFF2-40B4-BE49-F238E27FC236}">
                <a16:creationId xmlns:a16="http://schemas.microsoft.com/office/drawing/2014/main" xmlns="" id="{16753165-1B54-47C3-8A1C-82C4DE6C6938}"/>
              </a:ext>
            </a:extLst>
          </p:cNvPr>
          <p:cNvSpPr>
            <a:spLocks noGrp="1"/>
          </p:cNvSpPr>
          <p:nvPr>
            <p:ph type="title" hasCustomPrompt="1"/>
          </p:nvPr>
        </p:nvSpPr>
        <p:spPr>
          <a:xfrm>
            <a:off x="346076" y="404815"/>
            <a:ext cx="2373313" cy="332399"/>
          </a:xfrm>
        </p:spPr>
        <p:txBody>
          <a:bodyPr/>
          <a:lstStyle>
            <a:lvl1pPr rtl="0">
              <a:defRPr/>
            </a:lvl1pPr>
          </a:lstStyle>
          <a:p>
            <a:r>
              <a:rPr lang="en-GB"/>
              <a:t>Headline here</a:t>
            </a:r>
          </a:p>
        </p:txBody>
      </p:sp>
      <p:sp>
        <p:nvSpPr>
          <p:cNvPr id="4" name="Text Placeholder 3">
            <a:extLst>
              <a:ext uri="{FF2B5EF4-FFF2-40B4-BE49-F238E27FC236}">
                <a16:creationId xmlns:a16="http://schemas.microsoft.com/office/drawing/2014/main" xmlns="" id="{CC94F68E-3042-4DCD-A9C8-75C902D240F4}"/>
              </a:ext>
            </a:extLst>
          </p:cNvPr>
          <p:cNvSpPr>
            <a:spLocks noGrp="1"/>
          </p:cNvSpPr>
          <p:nvPr>
            <p:ph type="body" sz="quarter" idx="10" hasCustomPrompt="1"/>
          </p:nvPr>
        </p:nvSpPr>
        <p:spPr>
          <a:xfrm>
            <a:off x="3438525" y="404815"/>
            <a:ext cx="8856663" cy="5616575"/>
          </a:xfrm>
        </p:spPr>
        <p:txBody>
          <a:bodyPr/>
          <a:lstStyle>
            <a:lvl1pPr rtl="0">
              <a:defRPr/>
            </a:lvl1pPr>
            <a:lvl2pPr rtl="0">
              <a:defRPr/>
            </a:lvl2pPr>
            <a:lvl3pPr rtl="0">
              <a:defRPr/>
            </a:lvl3pPr>
            <a:lvl4pPr rtl="0">
              <a:defRPr/>
            </a:lvl4pPr>
            <a:lvl5pPr rtl="0">
              <a:defRPr/>
            </a:lvl5pPr>
          </a:lstStyle>
          <a:p>
            <a:pPr lvl="0"/>
            <a:r>
              <a:rPr lang="en-GB"/>
              <a:t>Text on first level here</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xmlns="" val="30015561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halleng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F91115E-6AD7-41D2-A9C4-73E991774E27}"/>
              </a:ext>
            </a:extLst>
          </p:cNvPr>
          <p:cNvGraphicFramePr>
            <a:graphicFrameLocks noChangeAspect="1"/>
          </p:cNvGraphicFramePr>
          <p:nvPr userDrawn="1"/>
        </p:nvGraphicFramePr>
        <p:xfrm>
          <a:off x="1588" y="1588"/>
          <a:ext cx="1588" cy="1588"/>
        </p:xfrm>
        <a:graphic>
          <a:graphicData uri="http://schemas.openxmlformats.org/presentationml/2006/ole">
            <p:oleObj spid="_x0000_s4098" name="think-cell Slide" r:id="rId4" imgW="360" imgH="360" progId="">
              <p:embed/>
            </p:oleObj>
          </a:graphicData>
        </a:graphic>
      </p:graphicFrame>
      <p:sp>
        <p:nvSpPr>
          <p:cNvPr id="4" name="Rectangle 3" hidden="1">
            <a:extLst>
              <a:ext uri="{FF2B5EF4-FFF2-40B4-BE49-F238E27FC236}">
                <a16:creationId xmlns:a16="http://schemas.microsoft.com/office/drawing/2014/main" xmlns="" id="{BC9AF2F0-BB32-461D-9694-099E25F325BA}"/>
              </a:ext>
            </a:extLst>
          </p:cNvPr>
          <p:cNvSpPr/>
          <p:nvPr userDrawn="1">
            <p:custDataLst>
              <p:tags r:id="rId2"/>
            </p:custDataLst>
          </p:nvPr>
        </p:nvSpPr>
        <p:spPr>
          <a:xfrm>
            <a:off x="0" y="0"/>
            <a:ext cx="158750" cy="158750"/>
          </a:xfrm>
          <a:prstGeom prst="rect">
            <a:avLst/>
          </a:prstGeom>
          <a:solidFill>
            <a:schemeClr val="bg1">
              <a:lumMod val="95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lnSpc>
                <a:spcPct val="90000"/>
              </a:lnSpc>
              <a:spcBef>
                <a:spcPts val="900"/>
              </a:spcBef>
            </a:pPr>
            <a:endParaRPr lang="en-US" sz="2400" b="1" i="0" baseline="0" dirty="0">
              <a:solidFill>
                <a:schemeClr val="tx1"/>
              </a:solidFill>
              <a:latin typeface="Arial" pitchFamily="34" charset="0"/>
              <a:ea typeface="+mj-ea"/>
              <a:cs typeface="Arial" pitchFamily="34" charset="0"/>
              <a:sym typeface="Arial" panose="020B0604020202020204" pitchFamily="34" charset="0"/>
            </a:endParaRPr>
          </a:p>
        </p:txBody>
      </p:sp>
      <p:sp>
        <p:nvSpPr>
          <p:cNvPr id="12" name="Rectangle 11">
            <a:extLst>
              <a:ext uri="{FF2B5EF4-FFF2-40B4-BE49-F238E27FC236}">
                <a16:creationId xmlns:a16="http://schemas.microsoft.com/office/drawing/2014/main" xmlns="" id="{D959278F-656D-4A51-A9C8-7D63EF32BEAA}"/>
              </a:ext>
            </a:extLst>
          </p:cNvPr>
          <p:cNvSpPr/>
          <p:nvPr userDrawn="1"/>
        </p:nvSpPr>
        <p:spPr>
          <a:xfrm>
            <a:off x="3078162" y="-2"/>
            <a:ext cx="4789488" cy="6858001"/>
          </a:xfrm>
          <a:prstGeom prst="rect">
            <a:avLst/>
          </a:prstGeom>
          <a:solidFill>
            <a:srgbClr val="E8E8E8"/>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GB" sz="1400" dirty="0">
              <a:solidFill>
                <a:schemeClr val="bg1"/>
              </a:solidFill>
              <a:latin typeface="Arial" pitchFamily="34" charset="0"/>
              <a:cs typeface="Arial" pitchFamily="34" charset="0"/>
            </a:endParaRPr>
          </a:p>
        </p:txBody>
      </p:sp>
      <p:sp>
        <p:nvSpPr>
          <p:cNvPr id="2" name="Title 1">
            <a:extLst>
              <a:ext uri="{FF2B5EF4-FFF2-40B4-BE49-F238E27FC236}">
                <a16:creationId xmlns:a16="http://schemas.microsoft.com/office/drawing/2014/main" xmlns="" id="{DD342EFD-A0CF-4436-B1BB-36663256872E}"/>
              </a:ext>
            </a:extLst>
          </p:cNvPr>
          <p:cNvSpPr>
            <a:spLocks noGrp="1"/>
          </p:cNvSpPr>
          <p:nvPr>
            <p:ph type="title"/>
          </p:nvPr>
        </p:nvSpPr>
        <p:spPr/>
        <p:txBody>
          <a:bodyPr/>
          <a:lstStyle/>
          <a:p>
            <a:r>
              <a:rPr lang="en-US"/>
              <a:t>Click to edit Master title style</a:t>
            </a:r>
            <a:endParaRPr lang="en-GB" dirty="0"/>
          </a:p>
        </p:txBody>
      </p:sp>
      <p:sp>
        <p:nvSpPr>
          <p:cNvPr id="8" name="Rectangle 34">
            <a:extLst>
              <a:ext uri="{FF2B5EF4-FFF2-40B4-BE49-F238E27FC236}">
                <a16:creationId xmlns:a16="http://schemas.microsoft.com/office/drawing/2014/main" xmlns="" id="{F2808C45-EC93-4965-97C4-86E5FB1A98A6}"/>
              </a:ext>
            </a:extLst>
          </p:cNvPr>
          <p:cNvSpPr>
            <a:spLocks noChangeArrowheads="1"/>
          </p:cNvSpPr>
          <p:nvPr userDrawn="1"/>
        </p:nvSpPr>
        <p:spPr bwMode="auto">
          <a:xfrm>
            <a:off x="4614226" y="0"/>
            <a:ext cx="8023856" cy="88900"/>
          </a:xfrm>
          <a:prstGeom prst="rect">
            <a:avLst/>
          </a:prstGeom>
          <a:gradFill flip="none" rotWithShape="1">
            <a:gsLst>
              <a:gs pos="0">
                <a:schemeClr val="bg1"/>
              </a:gs>
              <a:gs pos="100000">
                <a:srgbClr val="CFCFCF"/>
              </a:gs>
            </a:gsLst>
            <a:lin ang="0" scaled="1"/>
            <a:tileRect/>
          </a:gradFill>
          <a:ln w="9525">
            <a:noFill/>
            <a:miter lim="800000"/>
            <a:headEnd/>
            <a:tailEnd/>
          </a:ln>
          <a:effectLst/>
        </p:spPr>
        <p:txBody>
          <a:bodyPr wrap="none" lIns="90000" tIns="46800" rIns="90000" bIns="46800" anchor="ctr"/>
          <a:lstStyle/>
          <a:p>
            <a:endParaRPr lang="en-ZA" dirty="0"/>
          </a:p>
        </p:txBody>
      </p:sp>
      <p:sp>
        <p:nvSpPr>
          <p:cNvPr id="9" name="Rectangle 34">
            <a:extLst>
              <a:ext uri="{FF2B5EF4-FFF2-40B4-BE49-F238E27FC236}">
                <a16:creationId xmlns:a16="http://schemas.microsoft.com/office/drawing/2014/main" xmlns="" id="{8C1CBEB9-8FF6-4483-B5EC-A277AB27E0DE}"/>
              </a:ext>
            </a:extLst>
          </p:cNvPr>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11" name="Rectangle 34">
            <a:extLst>
              <a:ext uri="{FF2B5EF4-FFF2-40B4-BE49-F238E27FC236}">
                <a16:creationId xmlns:a16="http://schemas.microsoft.com/office/drawing/2014/main" xmlns="" id="{16148E35-A5B7-48CA-81FD-F8F62BE9B20D}"/>
              </a:ext>
            </a:extLst>
          </p:cNvPr>
          <p:cNvSpPr>
            <a:spLocks noChangeArrowheads="1"/>
          </p:cNvSpPr>
          <p:nvPr userDrawn="1"/>
        </p:nvSpPr>
        <p:spPr bwMode="auto">
          <a:xfrm rot="16200000">
            <a:off x="10907405" y="1934848"/>
            <a:ext cx="3338513" cy="12287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15" name="Text Placeholder 14">
            <a:extLst>
              <a:ext uri="{FF2B5EF4-FFF2-40B4-BE49-F238E27FC236}">
                <a16:creationId xmlns:a16="http://schemas.microsoft.com/office/drawing/2014/main" xmlns="" id="{BF608376-203B-468C-A89B-4449E132E1AC}"/>
              </a:ext>
            </a:extLst>
          </p:cNvPr>
          <p:cNvSpPr>
            <a:spLocks noGrp="1"/>
          </p:cNvSpPr>
          <p:nvPr>
            <p:ph type="body" sz="quarter" idx="10" hasCustomPrompt="1"/>
          </p:nvPr>
        </p:nvSpPr>
        <p:spPr>
          <a:xfrm>
            <a:off x="3438525" y="404814"/>
            <a:ext cx="4248150" cy="379411"/>
          </a:xfrm>
        </p:spPr>
        <p:txBody>
          <a:bodyPr/>
          <a:lstStyle>
            <a:lvl1pPr marL="0" indent="0">
              <a:buNone/>
              <a:defRPr sz="1600" b="1">
                <a:solidFill>
                  <a:schemeClr val="accent1"/>
                </a:solidFill>
              </a:defRPr>
            </a:lvl1pPr>
            <a:lvl2pPr marL="180000" indent="0">
              <a:buNone/>
              <a:defRPr sz="1600" b="1">
                <a:solidFill>
                  <a:schemeClr val="tx2"/>
                </a:solidFill>
              </a:defRPr>
            </a:lvl2pPr>
            <a:lvl3pPr marL="360000" indent="0">
              <a:buNone/>
              <a:defRPr sz="1600" b="1">
                <a:solidFill>
                  <a:schemeClr val="tx2"/>
                </a:solidFill>
              </a:defRPr>
            </a:lvl3pPr>
            <a:lvl4pPr marL="540000" indent="0">
              <a:buNone/>
              <a:defRPr sz="1600" b="1">
                <a:solidFill>
                  <a:schemeClr val="tx2"/>
                </a:solidFill>
              </a:defRPr>
            </a:lvl4pPr>
            <a:lvl5pPr marL="720000" indent="0">
              <a:buNone/>
              <a:defRPr sz="1600" b="1">
                <a:solidFill>
                  <a:schemeClr val="tx2"/>
                </a:solidFill>
              </a:defRPr>
            </a:lvl5pPr>
          </a:lstStyle>
          <a:p>
            <a:pPr lvl="0"/>
            <a:r>
              <a:rPr lang="en-US" dirty="0"/>
              <a:t>Heading: Make your point</a:t>
            </a:r>
            <a:endParaRPr lang="en-GB" dirty="0"/>
          </a:p>
        </p:txBody>
      </p:sp>
      <p:sp>
        <p:nvSpPr>
          <p:cNvPr id="16" name="Text Placeholder 14">
            <a:extLst>
              <a:ext uri="{FF2B5EF4-FFF2-40B4-BE49-F238E27FC236}">
                <a16:creationId xmlns:a16="http://schemas.microsoft.com/office/drawing/2014/main" xmlns="" id="{6CF2CF36-E6D2-4C9F-B1F8-548F347E7855}"/>
              </a:ext>
            </a:extLst>
          </p:cNvPr>
          <p:cNvSpPr>
            <a:spLocks noGrp="1"/>
          </p:cNvSpPr>
          <p:nvPr>
            <p:ph type="body" sz="quarter" idx="11" hasCustomPrompt="1"/>
          </p:nvPr>
        </p:nvSpPr>
        <p:spPr>
          <a:xfrm>
            <a:off x="8043863" y="404814"/>
            <a:ext cx="4248150" cy="379411"/>
          </a:xfrm>
        </p:spPr>
        <p:txBody>
          <a:bodyPr/>
          <a:lstStyle>
            <a:lvl1pPr marL="0" indent="0">
              <a:buNone/>
              <a:defRPr sz="1600" b="1">
                <a:solidFill>
                  <a:schemeClr val="accent1"/>
                </a:solidFill>
              </a:defRPr>
            </a:lvl1pPr>
            <a:lvl2pPr marL="180000" indent="0">
              <a:buNone/>
              <a:defRPr sz="1600" b="1">
                <a:solidFill>
                  <a:schemeClr val="tx2"/>
                </a:solidFill>
              </a:defRPr>
            </a:lvl2pPr>
            <a:lvl3pPr marL="360000" indent="0">
              <a:buNone/>
              <a:defRPr sz="1600" b="1">
                <a:solidFill>
                  <a:schemeClr val="tx2"/>
                </a:solidFill>
              </a:defRPr>
            </a:lvl3pPr>
            <a:lvl4pPr marL="540000" indent="0">
              <a:buNone/>
              <a:defRPr sz="1600" b="1">
                <a:solidFill>
                  <a:schemeClr val="tx2"/>
                </a:solidFill>
              </a:defRPr>
            </a:lvl4pPr>
            <a:lvl5pPr marL="720000" indent="0">
              <a:buNone/>
              <a:defRPr sz="1600" b="1">
                <a:solidFill>
                  <a:schemeClr val="tx2"/>
                </a:solidFill>
              </a:defRPr>
            </a:lvl5pPr>
          </a:lstStyle>
          <a:p>
            <a:pPr lvl="0"/>
            <a:r>
              <a:rPr lang="en-US" dirty="0"/>
              <a:t>Heading: Make your point</a:t>
            </a:r>
            <a:endParaRPr lang="en-GB" dirty="0"/>
          </a:p>
        </p:txBody>
      </p:sp>
    </p:spTree>
    <p:extLst>
      <p:ext uri="{BB962C8B-B14F-4D97-AF65-F5344CB8AC3E}">
        <p14:creationId xmlns:p14="http://schemas.microsoft.com/office/powerpoint/2010/main" xmlns="" val="3290181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3_Blank">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4055478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62287" y="1037708"/>
            <a:ext cx="10900351" cy="1054323"/>
          </a:xfrm>
        </p:spPr>
        <p:txBody>
          <a:bodyPr anchor="b">
            <a:normAutofit/>
          </a:bodyPr>
          <a:lstStyle>
            <a:lvl1pPr algn="ctr">
              <a:defRPr sz="5333"/>
            </a:lvl1pPr>
          </a:lstStyle>
          <a:p>
            <a:r>
              <a:rPr lang="en-GB" dirty="0"/>
              <a:t>Click to edit Master title style</a:t>
            </a:r>
            <a:endParaRPr lang="en-US" dirty="0"/>
          </a:p>
        </p:txBody>
      </p:sp>
      <p:sp>
        <p:nvSpPr>
          <p:cNvPr id="3" name="Text Placeholder 2"/>
          <p:cNvSpPr>
            <a:spLocks noGrp="1"/>
          </p:cNvSpPr>
          <p:nvPr>
            <p:ph type="body" idx="1"/>
          </p:nvPr>
        </p:nvSpPr>
        <p:spPr>
          <a:xfrm>
            <a:off x="862287" y="2368185"/>
            <a:ext cx="10900351" cy="523764"/>
          </a:xfrm>
        </p:spPr>
        <p:txBody>
          <a:bodyPr/>
          <a:lstStyle>
            <a:lvl1pPr marL="0" indent="0" algn="ctr">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a:t>Click to edit Master text styles</a:t>
            </a:r>
          </a:p>
        </p:txBody>
      </p:sp>
      <p:sp>
        <p:nvSpPr>
          <p:cNvPr id="5" name="Footer Placeholder 4"/>
          <p:cNvSpPr>
            <a:spLocks noGrp="1"/>
          </p:cNvSpPr>
          <p:nvPr>
            <p:ph type="ftr" sz="quarter" idx="11"/>
          </p:nvPr>
        </p:nvSpPr>
        <p:spPr>
          <a:xfrm>
            <a:off x="4186367" y="6356351"/>
            <a:ext cx="4265355" cy="365125"/>
          </a:xfrm>
          <a:prstGeom prst="rect">
            <a:avLst/>
          </a:prstGeom>
        </p:spPr>
        <p:txBody>
          <a:bodyPr/>
          <a:lstStyle/>
          <a:p>
            <a:pPr defTabSz="609585" fontAlgn="auto">
              <a:spcBef>
                <a:spcPts val="0"/>
              </a:spcBef>
              <a:spcAft>
                <a:spcPts val="0"/>
              </a:spcAft>
              <a:defRPr/>
            </a:pPr>
            <a:endParaRPr lang="en-US" dirty="0">
              <a:solidFill>
                <a:prstClr val="black">
                  <a:tint val="75000"/>
                </a:prstClr>
              </a:solidFill>
              <a:latin typeface="Calibri" panose="020F0502020204030204"/>
            </a:endParaRPr>
          </a:p>
        </p:txBody>
      </p:sp>
      <p:sp>
        <p:nvSpPr>
          <p:cNvPr id="6" name="Slide Number Placeholder 5"/>
          <p:cNvSpPr>
            <a:spLocks noGrp="1"/>
          </p:cNvSpPr>
          <p:nvPr>
            <p:ph type="sldNum" sz="quarter" idx="12"/>
          </p:nvPr>
        </p:nvSpPr>
        <p:spPr/>
        <p:txBody>
          <a:body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15254876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3.jpeg"/><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2.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2.pn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1.jpe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2.png"/><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3.xml"/><Relationship Id="rId7" Type="http://schemas.openxmlformats.org/officeDocument/2006/relationships/image" Target="../media/image1.jpe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heme" Target="../theme/theme7.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8.xml"/><Relationship Id="rId7" Type="http://schemas.openxmlformats.org/officeDocument/2006/relationships/image" Target="../media/image1.jpe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8.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image" Target="../media/image2.png"/><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oleObject" Target="../embeddings/oleObject1.bin"/><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jpeg"/><Relationship Id="rId5" Type="http://schemas.openxmlformats.org/officeDocument/2006/relationships/slideLayout" Target="../slideLayouts/slideLayout75.xml"/><Relationship Id="rId10" Type="http://schemas.openxmlformats.org/officeDocument/2006/relationships/vmlDrawing" Target="../drawings/vmlDrawing1.vml"/><Relationship Id="rId4" Type="http://schemas.openxmlformats.org/officeDocument/2006/relationships/slideLayout" Target="../slideLayouts/slideLayout74.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7" cstate="print"/>
          <a:srcRect/>
          <a:stretch>
            <a:fillRect/>
          </a:stretch>
        </a:blipFill>
        <a:effectLst/>
      </p:bgPr>
    </p:bg>
    <p:spTree>
      <p:nvGrpSpPr>
        <p:cNvPr id="1" name=""/>
        <p:cNvGrpSpPr/>
        <p:nvPr/>
      </p:nvGrpSpPr>
      <p:grpSpPr>
        <a:xfrm>
          <a:off x="0" y="0"/>
          <a:ext cx="0" cy="0"/>
          <a:chOff x="0" y="0"/>
          <a:chExt cx="0" cy="0"/>
        </a:xfrm>
      </p:grpSpPr>
      <p:sp>
        <p:nvSpPr>
          <p:cNvPr id="11267" name="Rectangle 5"/>
          <p:cNvSpPr>
            <a:spLocks noChangeArrowheads="1"/>
          </p:cNvSpPr>
          <p:nvPr/>
        </p:nvSpPr>
        <p:spPr bwMode="gray">
          <a:xfrm>
            <a:off x="2988386" y="6408738"/>
            <a:ext cx="6613055" cy="247650"/>
          </a:xfrm>
          <a:prstGeom prst="rect">
            <a:avLst/>
          </a:prstGeom>
          <a:noFill/>
          <a:ln w="9525">
            <a:noFill/>
            <a:miter lim="800000"/>
            <a:headEnd/>
            <a:tailEnd/>
          </a:ln>
        </p:spPr>
        <p:txBody>
          <a:bodyPr/>
          <a:lstStyle/>
          <a:p>
            <a:pPr algn="ctr"/>
            <a:endParaRPr lang="en-US" sz="1000" dirty="0"/>
          </a:p>
        </p:txBody>
      </p:sp>
      <p:sp>
        <p:nvSpPr>
          <p:cNvPr id="11268" name="Rectangle 7"/>
          <p:cNvSpPr>
            <a:spLocks noGrp="1" noChangeArrowheads="1"/>
          </p:cNvSpPr>
          <p:nvPr>
            <p:ph type="title"/>
          </p:nvPr>
        </p:nvSpPr>
        <p:spPr bwMode="gray">
          <a:xfrm>
            <a:off x="434442" y="327030"/>
            <a:ext cx="11782384"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Klicken Sie, um das Titelformat zu bearbeiten</a:t>
            </a:r>
          </a:p>
        </p:txBody>
      </p:sp>
      <p:sp>
        <p:nvSpPr>
          <p:cNvPr id="11270" name="Rectangle 12"/>
          <p:cNvSpPr>
            <a:spLocks noGrp="1" noChangeArrowheads="1"/>
          </p:cNvSpPr>
          <p:nvPr>
            <p:ph type="body" idx="1"/>
          </p:nvPr>
        </p:nvSpPr>
        <p:spPr bwMode="gray">
          <a:xfrm>
            <a:off x="434442" y="1614492"/>
            <a:ext cx="11782384"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p:txBody>
      </p:sp>
      <p:sp>
        <p:nvSpPr>
          <p:cNvPr id="11298" name="Rectangle 34"/>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11300" name="Rectangle 36"/>
          <p:cNvSpPr>
            <a:spLocks noChangeArrowheads="1"/>
          </p:cNvSpPr>
          <p:nvPr userDrawn="1"/>
        </p:nvSpPr>
        <p:spPr bwMode="auto">
          <a:xfrm>
            <a:off x="6" y="-201145"/>
            <a:ext cx="181822" cy="402291"/>
          </a:xfrm>
          <a:prstGeom prst="rect">
            <a:avLst/>
          </a:prstGeom>
          <a:noFill/>
          <a:ln w="9525" cap="flat" cmpd="sng">
            <a:noFill/>
            <a:prstDash val="solid"/>
            <a:miter lim="800000"/>
            <a:headEnd/>
            <a:tailEnd/>
          </a:ln>
          <a:effectLst/>
        </p:spPr>
        <p:txBody>
          <a:bodyPr vert="horz" wrap="none" lIns="90000" tIns="46800" rIns="90000" bIns="46800" numCol="1" anchor="ctr" anchorCtr="0" compatLnSpc="1">
            <a:prstTxWarp prst="textNoShape">
              <a:avLst/>
            </a:prstTxWarp>
            <a:spAutoFit/>
          </a:bodyPr>
          <a:lstStyle/>
          <a:p>
            <a:endParaRPr lang="en-ZA" dirty="0"/>
          </a:p>
        </p:txBody>
      </p:sp>
      <p:pic>
        <p:nvPicPr>
          <p:cNvPr id="2" name="Picture 36"/>
          <p:cNvPicPr>
            <a:picLocks noChangeAspect="1" noChangeArrowheads="1"/>
          </p:cNvPicPr>
          <p:nvPr userDrawn="1"/>
        </p:nvPicPr>
        <p:blipFill>
          <a:blip r:embed="rId8" cstate="print"/>
          <a:srcRect/>
          <a:stretch>
            <a:fillRect/>
          </a:stretch>
        </p:blipFill>
        <p:spPr bwMode="auto">
          <a:xfrm>
            <a:off x="11337315" y="6030000"/>
            <a:ext cx="1300775" cy="828000"/>
          </a:xfrm>
          <a:prstGeom prst="rect">
            <a:avLst/>
          </a:prstGeom>
          <a:noFill/>
          <a:ln w="9525">
            <a:noFill/>
            <a:miter lim="800000"/>
            <a:headEnd/>
            <a:tailEnd/>
          </a:ln>
        </p:spPr>
      </p:pic>
      <p:sp>
        <p:nvSpPr>
          <p:cNvPr id="10" name="Rectangle 34"/>
          <p:cNvSpPr>
            <a:spLocks noChangeArrowheads="1"/>
          </p:cNvSpPr>
          <p:nvPr userDrawn="1"/>
        </p:nvSpPr>
        <p:spPr bwMode="auto">
          <a:xfrm rot="16200000">
            <a:off x="10907405" y="1934848"/>
            <a:ext cx="3338513" cy="12287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3"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cSld>
  <p:clrMap bg1="lt1" tx1="dk1" bg2="lt2" tx2="dk2" accent1="accent1" accent2="accent2" accent3="accent3" accent4="accent4" accent5="accent5" accent6="accent6" hlink="hlink" folHlink="folHlink"/>
  <p:sldLayoutIdLst>
    <p:sldLayoutId id="2147483652" r:id="rId1"/>
    <p:sldLayoutId id="2147483654" r:id="rId2"/>
    <p:sldLayoutId id="2147483656" r:id="rId3"/>
    <p:sldLayoutId id="2147483657" r:id="rId4"/>
    <p:sldLayoutId id="2147483666" r:id="rId5"/>
  </p:sldLayoutIdLst>
  <p:hf hdr="0" ftr="0" dt="0"/>
  <p:txStyles>
    <p:titleStyle>
      <a:lvl1pPr algn="l" rtl="0" eaLnBrk="0" fontAlgn="base" hangingPunct="0">
        <a:lnSpc>
          <a:spcPct val="95000"/>
        </a:lnSpc>
        <a:spcBef>
          <a:spcPct val="0"/>
        </a:spcBef>
        <a:spcAft>
          <a:spcPct val="0"/>
        </a:spcAft>
        <a:defRPr sz="2400" b="1">
          <a:solidFill>
            <a:schemeClr val="tx1"/>
          </a:solidFill>
          <a:latin typeface="+mj-lt"/>
          <a:ea typeface="+mj-ea"/>
          <a:cs typeface="+mj-cs"/>
        </a:defRPr>
      </a:lvl1pPr>
      <a:lvl2pPr algn="l" rtl="0" eaLnBrk="0" fontAlgn="base" hangingPunct="0">
        <a:lnSpc>
          <a:spcPct val="95000"/>
        </a:lnSpc>
        <a:spcBef>
          <a:spcPct val="0"/>
        </a:spcBef>
        <a:spcAft>
          <a:spcPct val="0"/>
        </a:spcAft>
        <a:defRPr sz="2400" b="1">
          <a:solidFill>
            <a:schemeClr val="tx1"/>
          </a:solidFill>
          <a:latin typeface="Arial" charset="0"/>
        </a:defRPr>
      </a:lvl2pPr>
      <a:lvl3pPr algn="l" rtl="0" eaLnBrk="0" fontAlgn="base" hangingPunct="0">
        <a:lnSpc>
          <a:spcPct val="95000"/>
        </a:lnSpc>
        <a:spcBef>
          <a:spcPct val="0"/>
        </a:spcBef>
        <a:spcAft>
          <a:spcPct val="0"/>
        </a:spcAft>
        <a:defRPr sz="2400" b="1">
          <a:solidFill>
            <a:schemeClr val="tx1"/>
          </a:solidFill>
          <a:latin typeface="Arial" charset="0"/>
        </a:defRPr>
      </a:lvl3pPr>
      <a:lvl4pPr algn="l" rtl="0" eaLnBrk="0" fontAlgn="base" hangingPunct="0">
        <a:lnSpc>
          <a:spcPct val="95000"/>
        </a:lnSpc>
        <a:spcBef>
          <a:spcPct val="0"/>
        </a:spcBef>
        <a:spcAft>
          <a:spcPct val="0"/>
        </a:spcAft>
        <a:defRPr sz="2400" b="1">
          <a:solidFill>
            <a:schemeClr val="tx1"/>
          </a:solidFill>
          <a:latin typeface="Arial" charset="0"/>
        </a:defRPr>
      </a:lvl4pPr>
      <a:lvl5pPr algn="l" rtl="0" eaLnBrk="0" fontAlgn="base" hangingPunct="0">
        <a:lnSpc>
          <a:spcPct val="95000"/>
        </a:lnSpc>
        <a:spcBef>
          <a:spcPct val="0"/>
        </a:spcBef>
        <a:spcAft>
          <a:spcPct val="0"/>
        </a:spcAft>
        <a:defRPr sz="2400" b="1">
          <a:solidFill>
            <a:schemeClr val="tx1"/>
          </a:solidFill>
          <a:latin typeface="Arial" charset="0"/>
        </a:defRPr>
      </a:lvl5pPr>
      <a:lvl6pPr marL="457200" algn="l" rtl="0" eaLnBrk="0" fontAlgn="base" hangingPunct="0">
        <a:lnSpc>
          <a:spcPct val="95000"/>
        </a:lnSpc>
        <a:spcBef>
          <a:spcPct val="0"/>
        </a:spcBef>
        <a:spcAft>
          <a:spcPct val="0"/>
        </a:spcAft>
        <a:defRPr sz="2400" b="1">
          <a:solidFill>
            <a:schemeClr val="tx1"/>
          </a:solidFill>
          <a:latin typeface="Arial" charset="0"/>
        </a:defRPr>
      </a:lvl6pPr>
      <a:lvl7pPr marL="914400" algn="l" rtl="0" eaLnBrk="0" fontAlgn="base" hangingPunct="0">
        <a:lnSpc>
          <a:spcPct val="95000"/>
        </a:lnSpc>
        <a:spcBef>
          <a:spcPct val="0"/>
        </a:spcBef>
        <a:spcAft>
          <a:spcPct val="0"/>
        </a:spcAft>
        <a:defRPr sz="2400" b="1">
          <a:solidFill>
            <a:schemeClr val="tx1"/>
          </a:solidFill>
          <a:latin typeface="Arial" charset="0"/>
        </a:defRPr>
      </a:lvl7pPr>
      <a:lvl8pPr marL="1371600" algn="l" rtl="0" eaLnBrk="0" fontAlgn="base" hangingPunct="0">
        <a:lnSpc>
          <a:spcPct val="95000"/>
        </a:lnSpc>
        <a:spcBef>
          <a:spcPct val="0"/>
        </a:spcBef>
        <a:spcAft>
          <a:spcPct val="0"/>
        </a:spcAft>
        <a:defRPr sz="2400" b="1">
          <a:solidFill>
            <a:schemeClr val="tx1"/>
          </a:solidFill>
          <a:latin typeface="Arial" charset="0"/>
        </a:defRPr>
      </a:lvl8pPr>
      <a:lvl9pPr marL="1828800" algn="l" rtl="0" eaLnBrk="0" fontAlgn="base" hangingPunct="0">
        <a:lnSpc>
          <a:spcPct val="95000"/>
        </a:lnSpc>
        <a:spcBef>
          <a:spcPct val="0"/>
        </a:spcBef>
        <a:spcAft>
          <a:spcPct val="0"/>
        </a:spcAft>
        <a:defRPr sz="2400" b="1">
          <a:solidFill>
            <a:schemeClr val="tx1"/>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000" b="1">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8869" y="365125"/>
            <a:ext cx="10900351"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868869" y="1825625"/>
            <a:ext cx="10900351" cy="4351339"/>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Slide Number Placeholder 5"/>
          <p:cNvSpPr>
            <a:spLocks noGrp="1"/>
          </p:cNvSpPr>
          <p:nvPr>
            <p:ph type="sldNum" sz="quarter" idx="4"/>
          </p:nvPr>
        </p:nvSpPr>
        <p:spPr>
          <a:xfrm>
            <a:off x="8925650" y="6356351"/>
            <a:ext cx="284357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85" fontAlgn="auto">
              <a:spcBef>
                <a:spcPts val="0"/>
              </a:spcBef>
              <a:spcAft>
                <a:spcPts val="0"/>
              </a:spcAft>
              <a:defRPr/>
            </a:pPr>
            <a:fld id="{9731477F-F6A9-8344-BCA3-30F52D931BA7}" type="slidenum">
              <a:rPr lang="en-US" smtClean="0">
                <a:solidFill>
                  <a:prstClr val="black">
                    <a:tint val="75000"/>
                  </a:prstClr>
                </a:solidFill>
                <a:latin typeface="Calibri" panose="020F0502020204030204"/>
              </a:rPr>
              <a:pPr defTabSz="609585" fontAlgn="auto">
                <a:spcBef>
                  <a:spcPts val="0"/>
                </a:spcBef>
                <a:spcAft>
                  <a:spcPts val="0"/>
                </a:spcAft>
                <a:defRPr/>
              </a:pPr>
              <a:t>‹#›</a:t>
            </a:fld>
            <a:endParaRPr lang="en-US" dirty="0">
              <a:solidFill>
                <a:prstClr val="black">
                  <a:tint val="75000"/>
                </a:prstClr>
              </a:solidFill>
              <a:latin typeface="Calibri" panose="020F0502020204030204"/>
            </a:endParaRPr>
          </a:p>
        </p:txBody>
      </p:sp>
      <p:sp>
        <p:nvSpPr>
          <p:cNvPr id="7" name="Slide Number Placeholder 2"/>
          <p:cNvSpPr txBox="1">
            <a:spLocks/>
          </p:cNvSpPr>
          <p:nvPr userDrawn="1"/>
        </p:nvSpPr>
        <p:spPr>
          <a:xfrm>
            <a:off x="9793297" y="0"/>
            <a:ext cx="2844800" cy="327030"/>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4083524769"/>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3" r:id="rId4"/>
    <p:sldLayoutId id="2147483804" r:id="rId5"/>
    <p:sldLayoutId id="2147483805" r:id="rId6"/>
    <p:sldLayoutId id="2147483806" r:id="rId7"/>
    <p:sldLayoutId id="2147483807" r:id="rId8"/>
  </p:sldLayoutIdLst>
  <p:hf hdr="0" ftr="0" dt="0"/>
  <p:txStyles>
    <p:titleStyle>
      <a:lvl1pPr algn="l" defTabSz="914377" rtl="0" eaLnBrk="1" latinLnBrk="0" hangingPunct="1">
        <a:lnSpc>
          <a:spcPct val="90000"/>
        </a:lnSpc>
        <a:spcBef>
          <a:spcPct val="0"/>
        </a:spcBef>
        <a:buNone/>
        <a:defRPr sz="4400" b="1" i="0" kern="1200">
          <a:solidFill>
            <a:srgbClr val="044EA6"/>
          </a:solidFill>
          <a:latin typeface="Century Gothic" panose="020B0502020202020204" pitchFamily="34" charset="0"/>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rgbClr val="044EA6"/>
          </a:solidFill>
          <a:latin typeface="Century Gothic" panose="020B0502020202020204" pitchFamily="34"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rgbClr val="044EA6"/>
          </a:solidFill>
          <a:latin typeface="Century Gothic" panose="020B0502020202020204" pitchFamily="34" charset="0"/>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rgbClr val="044EA6"/>
          </a:solidFill>
          <a:latin typeface="Century Gothic" panose="020B0502020202020204" pitchFamily="34" charset="0"/>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rgbClr val="044EA6"/>
          </a:solidFill>
          <a:latin typeface="Century Gothic" panose="020B0502020202020204" pitchFamily="34" charset="0"/>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rgbClr val="044EA6"/>
          </a:solidFill>
          <a:latin typeface="Century Gothic" panose="020B0502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11267" name="Rectangle 5"/>
          <p:cNvSpPr>
            <a:spLocks noChangeArrowheads="1"/>
          </p:cNvSpPr>
          <p:nvPr/>
        </p:nvSpPr>
        <p:spPr bwMode="gray">
          <a:xfrm>
            <a:off x="2988387" y="6408738"/>
            <a:ext cx="6613055" cy="247650"/>
          </a:xfrm>
          <a:prstGeom prst="rect">
            <a:avLst/>
          </a:prstGeom>
          <a:noFill/>
          <a:ln w="9525">
            <a:noFill/>
            <a:miter lim="800000"/>
            <a:headEnd/>
            <a:tailEnd/>
          </a:ln>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268" name="Rectangle 7"/>
          <p:cNvSpPr>
            <a:spLocks noGrp="1" noChangeArrowheads="1"/>
          </p:cNvSpPr>
          <p:nvPr>
            <p:ph type="title"/>
          </p:nvPr>
        </p:nvSpPr>
        <p:spPr bwMode="gray">
          <a:xfrm>
            <a:off x="434442" y="327031"/>
            <a:ext cx="11782384"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Klicken Sie, um das Titelformat zu bearbeiten</a:t>
            </a:r>
          </a:p>
        </p:txBody>
      </p:sp>
      <p:sp>
        <p:nvSpPr>
          <p:cNvPr id="11269" name="Rectangle 10"/>
          <p:cNvSpPr>
            <a:spLocks noGrp="1" noChangeArrowheads="1"/>
          </p:cNvSpPr>
          <p:nvPr>
            <p:ph type="ftr" sz="quarter" idx="3"/>
          </p:nvPr>
        </p:nvSpPr>
        <p:spPr bwMode="gray">
          <a:xfrm>
            <a:off x="302796" y="6408738"/>
            <a:ext cx="1856219" cy="247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r>
              <a:rPr lang="de-DE">
                <a:solidFill>
                  <a:srgbClr val="000000"/>
                </a:solidFill>
                <a:latin typeface="Arial"/>
              </a:rPr>
              <a:t>Page </a:t>
            </a:r>
            <a:r>
              <a:rPr lang="de-DE">
                <a:solidFill>
                  <a:srgbClr val="000000"/>
                </a:solidFill>
                <a:latin typeface="Arial"/>
                <a:sym typeface="Wingdings" pitchFamily="2" charset="2"/>
              </a:rPr>
              <a:t></a:t>
            </a:r>
            <a:r>
              <a:rPr lang="de-DE">
                <a:solidFill>
                  <a:srgbClr val="000000"/>
                </a:solidFill>
                <a:latin typeface="Arial"/>
              </a:rPr>
              <a:t> </a:t>
            </a:r>
            <a:fld id="{5113BFCB-AD3C-4630-9733-302437771E6E}" type="slidenum">
              <a:rPr lang="de-DE" smtClean="0">
                <a:solidFill>
                  <a:srgbClr val="000000"/>
                </a:solidFill>
                <a:latin typeface="Arial"/>
              </a:rPr>
              <a:pPr/>
              <a:t>‹#›</a:t>
            </a:fld>
            <a:endParaRPr lang="de-DE">
              <a:solidFill>
                <a:srgbClr val="000000"/>
              </a:solidFill>
              <a:latin typeface="Arial"/>
            </a:endParaRPr>
          </a:p>
        </p:txBody>
      </p:sp>
      <p:sp>
        <p:nvSpPr>
          <p:cNvPr id="11270" name="Rectangle 12"/>
          <p:cNvSpPr>
            <a:spLocks noGrp="1" noChangeArrowheads="1"/>
          </p:cNvSpPr>
          <p:nvPr>
            <p:ph type="body" idx="1"/>
          </p:nvPr>
        </p:nvSpPr>
        <p:spPr bwMode="gray">
          <a:xfrm>
            <a:off x="434442" y="1614493"/>
            <a:ext cx="11782384"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p:txBody>
      </p:sp>
      <p:sp>
        <p:nvSpPr>
          <p:cNvPr id="11298" name="Rectangle 34"/>
          <p:cNvSpPr>
            <a:spLocks noChangeArrowheads="1"/>
          </p:cNvSpPr>
          <p:nvPr userDrawn="1"/>
        </p:nvSpPr>
        <p:spPr bwMode="auto">
          <a:xfrm>
            <a:off x="5" y="0"/>
            <a:ext cx="4614222" cy="88900"/>
          </a:xfrm>
          <a:prstGeom prst="rect">
            <a:avLst/>
          </a:prstGeom>
          <a:solidFill>
            <a:srgbClr val="F18B1B"/>
          </a:solidFill>
          <a:ln w="9525">
            <a:noFill/>
            <a:miter lim="800000"/>
            <a:headEnd/>
            <a:tailEnd/>
          </a:ln>
          <a:effectLst/>
        </p:spPr>
        <p:txBody>
          <a:bodyPr wrap="none" lIns="90000" tIns="46800" rIns="90000" bIns="468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300" name="Rectangle 36"/>
          <p:cNvSpPr>
            <a:spLocks noChangeArrowheads="1"/>
          </p:cNvSpPr>
          <p:nvPr userDrawn="1"/>
        </p:nvSpPr>
        <p:spPr bwMode="auto">
          <a:xfrm>
            <a:off x="6" y="-201145"/>
            <a:ext cx="188475" cy="402291"/>
          </a:xfrm>
          <a:prstGeom prst="rect">
            <a:avLst/>
          </a:prstGeom>
          <a:noFill/>
          <a:ln w="9525" cap="flat" cmpd="sng">
            <a:noFill/>
            <a:prstDash val="solid"/>
            <a:miter lim="800000"/>
            <a:headEnd/>
            <a:tailEnd/>
          </a:ln>
          <a:effectLst/>
        </p:spPr>
        <p:txBody>
          <a:bodyPr vert="horz" wrap="none" lIns="90000" tIns="46800" rIns="90000" bIns="4680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2" name="Picture 36"/>
          <p:cNvPicPr>
            <a:picLocks noChangeAspect="1" noChangeArrowheads="1"/>
          </p:cNvPicPr>
          <p:nvPr userDrawn="1"/>
        </p:nvPicPr>
        <p:blipFill>
          <a:blip r:embed="rId15" cstate="print"/>
          <a:srcRect/>
          <a:stretch>
            <a:fillRect/>
          </a:stretch>
        </p:blipFill>
        <p:spPr bwMode="auto">
          <a:xfrm>
            <a:off x="11337314" y="6030000"/>
            <a:ext cx="1300775" cy="828000"/>
          </a:xfrm>
          <a:prstGeom prst="rect">
            <a:avLst/>
          </a:prstGeom>
          <a:noFill/>
          <a:ln w="9525">
            <a:noFill/>
            <a:miter lim="800000"/>
            <a:headEnd/>
            <a:tailEnd/>
          </a:ln>
        </p:spPr>
      </p:pic>
      <p:sp>
        <p:nvSpPr>
          <p:cNvPr id="10" name="Rectangle 34"/>
          <p:cNvSpPr>
            <a:spLocks noChangeArrowheads="1"/>
          </p:cNvSpPr>
          <p:nvPr userDrawn="1"/>
        </p:nvSpPr>
        <p:spPr bwMode="auto">
          <a:xfrm rot="16200000">
            <a:off x="10907404" y="1934848"/>
            <a:ext cx="3338513" cy="122870"/>
          </a:xfrm>
          <a:prstGeom prst="rect">
            <a:avLst/>
          </a:prstGeom>
          <a:solidFill>
            <a:srgbClr val="F18B1B"/>
          </a:solidFill>
          <a:ln w="9525">
            <a:noFill/>
            <a:miter lim="800000"/>
            <a:headEnd/>
            <a:tailEnd/>
          </a:ln>
          <a:effectLst/>
        </p:spPr>
        <p:txBody>
          <a:bodyPr wrap="none" lIns="90000" tIns="46800" rIns="90000" bIns="4680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xmlns="" val="2502675980"/>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Lst>
  <p:transition spd="med">
    <p:fade/>
  </p:transition>
  <p:hf sldNum="0" hdr="0" dt="0"/>
  <p:txStyles>
    <p:titleStyle>
      <a:lvl1pPr algn="l" rtl="0" eaLnBrk="0" fontAlgn="base" hangingPunct="0">
        <a:lnSpc>
          <a:spcPct val="95000"/>
        </a:lnSpc>
        <a:spcBef>
          <a:spcPct val="0"/>
        </a:spcBef>
        <a:spcAft>
          <a:spcPct val="0"/>
        </a:spcAft>
        <a:defRPr sz="2400" b="1">
          <a:solidFill>
            <a:schemeClr val="tx1"/>
          </a:solidFill>
          <a:latin typeface="+mj-lt"/>
          <a:ea typeface="+mj-ea"/>
          <a:cs typeface="+mj-cs"/>
        </a:defRPr>
      </a:lvl1pPr>
      <a:lvl2pPr algn="l" rtl="0" eaLnBrk="0" fontAlgn="base" hangingPunct="0">
        <a:lnSpc>
          <a:spcPct val="95000"/>
        </a:lnSpc>
        <a:spcBef>
          <a:spcPct val="0"/>
        </a:spcBef>
        <a:spcAft>
          <a:spcPct val="0"/>
        </a:spcAft>
        <a:defRPr sz="2400" b="1">
          <a:solidFill>
            <a:schemeClr val="tx1"/>
          </a:solidFill>
          <a:latin typeface="Arial" charset="0"/>
        </a:defRPr>
      </a:lvl2pPr>
      <a:lvl3pPr algn="l" rtl="0" eaLnBrk="0" fontAlgn="base" hangingPunct="0">
        <a:lnSpc>
          <a:spcPct val="95000"/>
        </a:lnSpc>
        <a:spcBef>
          <a:spcPct val="0"/>
        </a:spcBef>
        <a:spcAft>
          <a:spcPct val="0"/>
        </a:spcAft>
        <a:defRPr sz="2400" b="1">
          <a:solidFill>
            <a:schemeClr val="tx1"/>
          </a:solidFill>
          <a:latin typeface="Arial" charset="0"/>
        </a:defRPr>
      </a:lvl3pPr>
      <a:lvl4pPr algn="l" rtl="0" eaLnBrk="0" fontAlgn="base" hangingPunct="0">
        <a:lnSpc>
          <a:spcPct val="95000"/>
        </a:lnSpc>
        <a:spcBef>
          <a:spcPct val="0"/>
        </a:spcBef>
        <a:spcAft>
          <a:spcPct val="0"/>
        </a:spcAft>
        <a:defRPr sz="2400" b="1">
          <a:solidFill>
            <a:schemeClr val="tx1"/>
          </a:solidFill>
          <a:latin typeface="Arial" charset="0"/>
        </a:defRPr>
      </a:lvl4pPr>
      <a:lvl5pPr algn="l" rtl="0" eaLnBrk="0" fontAlgn="base" hangingPunct="0">
        <a:lnSpc>
          <a:spcPct val="95000"/>
        </a:lnSpc>
        <a:spcBef>
          <a:spcPct val="0"/>
        </a:spcBef>
        <a:spcAft>
          <a:spcPct val="0"/>
        </a:spcAft>
        <a:defRPr sz="2400" b="1">
          <a:solidFill>
            <a:schemeClr val="tx1"/>
          </a:solidFill>
          <a:latin typeface="Arial" charset="0"/>
        </a:defRPr>
      </a:lvl5pPr>
      <a:lvl6pPr marL="457200" algn="l" rtl="0" eaLnBrk="0" fontAlgn="base" hangingPunct="0">
        <a:lnSpc>
          <a:spcPct val="95000"/>
        </a:lnSpc>
        <a:spcBef>
          <a:spcPct val="0"/>
        </a:spcBef>
        <a:spcAft>
          <a:spcPct val="0"/>
        </a:spcAft>
        <a:defRPr sz="2400" b="1">
          <a:solidFill>
            <a:schemeClr val="tx1"/>
          </a:solidFill>
          <a:latin typeface="Arial" charset="0"/>
        </a:defRPr>
      </a:lvl6pPr>
      <a:lvl7pPr marL="914400" algn="l" rtl="0" eaLnBrk="0" fontAlgn="base" hangingPunct="0">
        <a:lnSpc>
          <a:spcPct val="95000"/>
        </a:lnSpc>
        <a:spcBef>
          <a:spcPct val="0"/>
        </a:spcBef>
        <a:spcAft>
          <a:spcPct val="0"/>
        </a:spcAft>
        <a:defRPr sz="2400" b="1">
          <a:solidFill>
            <a:schemeClr val="tx1"/>
          </a:solidFill>
          <a:latin typeface="Arial" charset="0"/>
        </a:defRPr>
      </a:lvl7pPr>
      <a:lvl8pPr marL="1371600" algn="l" rtl="0" eaLnBrk="0" fontAlgn="base" hangingPunct="0">
        <a:lnSpc>
          <a:spcPct val="95000"/>
        </a:lnSpc>
        <a:spcBef>
          <a:spcPct val="0"/>
        </a:spcBef>
        <a:spcAft>
          <a:spcPct val="0"/>
        </a:spcAft>
        <a:defRPr sz="2400" b="1">
          <a:solidFill>
            <a:schemeClr val="tx1"/>
          </a:solidFill>
          <a:latin typeface="Arial" charset="0"/>
        </a:defRPr>
      </a:lvl8pPr>
      <a:lvl9pPr marL="1828800" algn="l" rtl="0" eaLnBrk="0" fontAlgn="base" hangingPunct="0">
        <a:lnSpc>
          <a:spcPct val="95000"/>
        </a:lnSpc>
        <a:spcBef>
          <a:spcPct val="0"/>
        </a:spcBef>
        <a:spcAft>
          <a:spcPct val="0"/>
        </a:spcAft>
        <a:defRPr sz="2400" b="1">
          <a:solidFill>
            <a:schemeClr val="tx1"/>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000" b="1">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11267" name="Rectangle 5"/>
          <p:cNvSpPr>
            <a:spLocks noChangeArrowheads="1"/>
          </p:cNvSpPr>
          <p:nvPr/>
        </p:nvSpPr>
        <p:spPr bwMode="gray">
          <a:xfrm>
            <a:off x="2988386" y="6408738"/>
            <a:ext cx="6613055" cy="247650"/>
          </a:xfrm>
          <a:prstGeom prst="rect">
            <a:avLst/>
          </a:prstGeom>
          <a:noFill/>
          <a:ln w="9525">
            <a:noFill/>
            <a:miter lim="800000"/>
            <a:headEnd/>
            <a:tailEnd/>
          </a:ln>
        </p:spPr>
        <p:txBody>
          <a:bodyPr/>
          <a:lstStyle/>
          <a:p>
            <a:pPr algn="ctr"/>
            <a:endParaRPr lang="en-US" sz="1000" dirty="0"/>
          </a:p>
        </p:txBody>
      </p:sp>
      <p:sp>
        <p:nvSpPr>
          <p:cNvPr id="11268" name="Rectangle 7"/>
          <p:cNvSpPr>
            <a:spLocks noGrp="1" noChangeArrowheads="1"/>
          </p:cNvSpPr>
          <p:nvPr>
            <p:ph type="title"/>
          </p:nvPr>
        </p:nvSpPr>
        <p:spPr bwMode="gray">
          <a:xfrm>
            <a:off x="434442" y="327030"/>
            <a:ext cx="11782384"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Klicken Sie, um das Titelformat zu bearbeiten</a:t>
            </a:r>
          </a:p>
        </p:txBody>
      </p:sp>
      <p:sp>
        <p:nvSpPr>
          <p:cNvPr id="11269" name="Rectangle 10"/>
          <p:cNvSpPr>
            <a:spLocks noGrp="1" noChangeArrowheads="1"/>
          </p:cNvSpPr>
          <p:nvPr>
            <p:ph type="ftr" sz="quarter" idx="3"/>
          </p:nvPr>
        </p:nvSpPr>
        <p:spPr bwMode="gray">
          <a:xfrm>
            <a:off x="302796" y="6408738"/>
            <a:ext cx="1856219" cy="247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r>
              <a:rPr lang="de-DE"/>
              <a:t>Page </a:t>
            </a:r>
            <a:r>
              <a:rPr lang="de-DE">
                <a:sym typeface="Wingdings" pitchFamily="2" charset="2"/>
              </a:rPr>
              <a:t></a:t>
            </a:r>
            <a:r>
              <a:rPr lang="de-DE"/>
              <a:t> </a:t>
            </a:r>
            <a:fld id="{5113BFCB-AD3C-4630-9733-302437771E6E}" type="slidenum">
              <a:rPr lang="de-DE"/>
              <a:pPr/>
              <a:t>‹#›</a:t>
            </a:fld>
            <a:endParaRPr lang="de-DE"/>
          </a:p>
        </p:txBody>
      </p:sp>
      <p:sp>
        <p:nvSpPr>
          <p:cNvPr id="11270" name="Rectangle 12"/>
          <p:cNvSpPr>
            <a:spLocks noGrp="1" noChangeArrowheads="1"/>
          </p:cNvSpPr>
          <p:nvPr>
            <p:ph type="body" idx="1"/>
          </p:nvPr>
        </p:nvSpPr>
        <p:spPr bwMode="gray">
          <a:xfrm>
            <a:off x="434442" y="1614492"/>
            <a:ext cx="11782384"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p:txBody>
      </p:sp>
      <p:sp>
        <p:nvSpPr>
          <p:cNvPr id="11298" name="Rectangle 34"/>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11300" name="Rectangle 36"/>
          <p:cNvSpPr>
            <a:spLocks noChangeArrowheads="1"/>
          </p:cNvSpPr>
          <p:nvPr userDrawn="1"/>
        </p:nvSpPr>
        <p:spPr bwMode="auto">
          <a:xfrm>
            <a:off x="6" y="-201145"/>
            <a:ext cx="181822" cy="402291"/>
          </a:xfrm>
          <a:prstGeom prst="rect">
            <a:avLst/>
          </a:prstGeom>
          <a:noFill/>
          <a:ln w="9525" cap="flat" cmpd="sng">
            <a:noFill/>
            <a:prstDash val="solid"/>
            <a:miter lim="800000"/>
            <a:headEnd/>
            <a:tailEnd/>
          </a:ln>
          <a:effectLst/>
        </p:spPr>
        <p:txBody>
          <a:bodyPr vert="horz" wrap="none" lIns="90000" tIns="46800" rIns="90000" bIns="46800" numCol="1" anchor="ctr" anchorCtr="0" compatLnSpc="1">
            <a:prstTxWarp prst="textNoShape">
              <a:avLst/>
            </a:prstTxWarp>
            <a:spAutoFit/>
          </a:bodyPr>
          <a:lstStyle/>
          <a:p>
            <a:endParaRPr lang="en-ZA" dirty="0"/>
          </a:p>
        </p:txBody>
      </p:sp>
      <p:pic>
        <p:nvPicPr>
          <p:cNvPr id="2" name="Picture 36"/>
          <p:cNvPicPr>
            <a:picLocks noChangeAspect="1" noChangeArrowheads="1"/>
          </p:cNvPicPr>
          <p:nvPr userDrawn="1"/>
        </p:nvPicPr>
        <p:blipFill>
          <a:blip r:embed="rId15" cstate="print"/>
          <a:srcRect/>
          <a:stretch>
            <a:fillRect/>
          </a:stretch>
        </p:blipFill>
        <p:spPr bwMode="auto">
          <a:xfrm>
            <a:off x="11337315" y="6030000"/>
            <a:ext cx="1300775" cy="828000"/>
          </a:xfrm>
          <a:prstGeom prst="rect">
            <a:avLst/>
          </a:prstGeom>
          <a:noFill/>
          <a:ln w="9525">
            <a:noFill/>
            <a:miter lim="800000"/>
            <a:headEnd/>
            <a:tailEnd/>
          </a:ln>
        </p:spPr>
      </p:pic>
      <p:sp>
        <p:nvSpPr>
          <p:cNvPr id="10" name="Rectangle 34"/>
          <p:cNvSpPr>
            <a:spLocks noChangeArrowheads="1"/>
          </p:cNvSpPr>
          <p:nvPr userDrawn="1"/>
        </p:nvSpPr>
        <p:spPr bwMode="auto">
          <a:xfrm rot="16200000">
            <a:off x="10907405" y="1934848"/>
            <a:ext cx="3338513" cy="12287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Tree>
    <p:extLst>
      <p:ext uri="{BB962C8B-B14F-4D97-AF65-F5344CB8AC3E}">
        <p14:creationId xmlns:p14="http://schemas.microsoft.com/office/powerpoint/2010/main" xmlns="" val="4029172326"/>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Lst>
  <p:hf sldNum="0" hdr="0" dt="0"/>
  <p:txStyles>
    <p:titleStyle>
      <a:lvl1pPr algn="l" rtl="0" eaLnBrk="0" fontAlgn="base" hangingPunct="0">
        <a:lnSpc>
          <a:spcPct val="95000"/>
        </a:lnSpc>
        <a:spcBef>
          <a:spcPct val="0"/>
        </a:spcBef>
        <a:spcAft>
          <a:spcPct val="0"/>
        </a:spcAft>
        <a:defRPr sz="2400" b="1">
          <a:solidFill>
            <a:schemeClr val="tx1"/>
          </a:solidFill>
          <a:latin typeface="+mj-lt"/>
          <a:ea typeface="+mj-ea"/>
          <a:cs typeface="+mj-cs"/>
        </a:defRPr>
      </a:lvl1pPr>
      <a:lvl2pPr algn="l" rtl="0" eaLnBrk="0" fontAlgn="base" hangingPunct="0">
        <a:lnSpc>
          <a:spcPct val="95000"/>
        </a:lnSpc>
        <a:spcBef>
          <a:spcPct val="0"/>
        </a:spcBef>
        <a:spcAft>
          <a:spcPct val="0"/>
        </a:spcAft>
        <a:defRPr sz="2400" b="1">
          <a:solidFill>
            <a:schemeClr val="tx1"/>
          </a:solidFill>
          <a:latin typeface="Arial" charset="0"/>
        </a:defRPr>
      </a:lvl2pPr>
      <a:lvl3pPr algn="l" rtl="0" eaLnBrk="0" fontAlgn="base" hangingPunct="0">
        <a:lnSpc>
          <a:spcPct val="95000"/>
        </a:lnSpc>
        <a:spcBef>
          <a:spcPct val="0"/>
        </a:spcBef>
        <a:spcAft>
          <a:spcPct val="0"/>
        </a:spcAft>
        <a:defRPr sz="2400" b="1">
          <a:solidFill>
            <a:schemeClr val="tx1"/>
          </a:solidFill>
          <a:latin typeface="Arial" charset="0"/>
        </a:defRPr>
      </a:lvl3pPr>
      <a:lvl4pPr algn="l" rtl="0" eaLnBrk="0" fontAlgn="base" hangingPunct="0">
        <a:lnSpc>
          <a:spcPct val="95000"/>
        </a:lnSpc>
        <a:spcBef>
          <a:spcPct val="0"/>
        </a:spcBef>
        <a:spcAft>
          <a:spcPct val="0"/>
        </a:spcAft>
        <a:defRPr sz="2400" b="1">
          <a:solidFill>
            <a:schemeClr val="tx1"/>
          </a:solidFill>
          <a:latin typeface="Arial" charset="0"/>
        </a:defRPr>
      </a:lvl4pPr>
      <a:lvl5pPr algn="l" rtl="0" eaLnBrk="0" fontAlgn="base" hangingPunct="0">
        <a:lnSpc>
          <a:spcPct val="95000"/>
        </a:lnSpc>
        <a:spcBef>
          <a:spcPct val="0"/>
        </a:spcBef>
        <a:spcAft>
          <a:spcPct val="0"/>
        </a:spcAft>
        <a:defRPr sz="2400" b="1">
          <a:solidFill>
            <a:schemeClr val="tx1"/>
          </a:solidFill>
          <a:latin typeface="Arial" charset="0"/>
        </a:defRPr>
      </a:lvl5pPr>
      <a:lvl6pPr marL="457200" algn="l" rtl="0" eaLnBrk="0" fontAlgn="base" hangingPunct="0">
        <a:lnSpc>
          <a:spcPct val="95000"/>
        </a:lnSpc>
        <a:spcBef>
          <a:spcPct val="0"/>
        </a:spcBef>
        <a:spcAft>
          <a:spcPct val="0"/>
        </a:spcAft>
        <a:defRPr sz="2400" b="1">
          <a:solidFill>
            <a:schemeClr val="tx1"/>
          </a:solidFill>
          <a:latin typeface="Arial" charset="0"/>
        </a:defRPr>
      </a:lvl6pPr>
      <a:lvl7pPr marL="914400" algn="l" rtl="0" eaLnBrk="0" fontAlgn="base" hangingPunct="0">
        <a:lnSpc>
          <a:spcPct val="95000"/>
        </a:lnSpc>
        <a:spcBef>
          <a:spcPct val="0"/>
        </a:spcBef>
        <a:spcAft>
          <a:spcPct val="0"/>
        </a:spcAft>
        <a:defRPr sz="2400" b="1">
          <a:solidFill>
            <a:schemeClr val="tx1"/>
          </a:solidFill>
          <a:latin typeface="Arial" charset="0"/>
        </a:defRPr>
      </a:lvl7pPr>
      <a:lvl8pPr marL="1371600" algn="l" rtl="0" eaLnBrk="0" fontAlgn="base" hangingPunct="0">
        <a:lnSpc>
          <a:spcPct val="95000"/>
        </a:lnSpc>
        <a:spcBef>
          <a:spcPct val="0"/>
        </a:spcBef>
        <a:spcAft>
          <a:spcPct val="0"/>
        </a:spcAft>
        <a:defRPr sz="2400" b="1">
          <a:solidFill>
            <a:schemeClr val="tx1"/>
          </a:solidFill>
          <a:latin typeface="Arial" charset="0"/>
        </a:defRPr>
      </a:lvl8pPr>
      <a:lvl9pPr marL="1828800" algn="l" rtl="0" eaLnBrk="0" fontAlgn="base" hangingPunct="0">
        <a:lnSpc>
          <a:spcPct val="95000"/>
        </a:lnSpc>
        <a:spcBef>
          <a:spcPct val="0"/>
        </a:spcBef>
        <a:spcAft>
          <a:spcPct val="0"/>
        </a:spcAft>
        <a:defRPr sz="2400" b="1">
          <a:solidFill>
            <a:schemeClr val="tx1"/>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000" b="1">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1267" name="Rectangle 5"/>
          <p:cNvSpPr>
            <a:spLocks noChangeArrowheads="1"/>
          </p:cNvSpPr>
          <p:nvPr/>
        </p:nvSpPr>
        <p:spPr bwMode="gray">
          <a:xfrm>
            <a:off x="2988386" y="6408738"/>
            <a:ext cx="6613055" cy="247650"/>
          </a:xfrm>
          <a:prstGeom prst="rect">
            <a:avLst/>
          </a:prstGeom>
          <a:noFill/>
          <a:ln w="9525">
            <a:noFill/>
            <a:miter lim="800000"/>
            <a:headEnd/>
            <a:tailEnd/>
          </a:ln>
        </p:spPr>
        <p:txBody>
          <a:bodyPr/>
          <a:lstStyle/>
          <a:p>
            <a:pPr algn="ctr"/>
            <a:endParaRPr lang="en-US" sz="1000" dirty="0"/>
          </a:p>
        </p:txBody>
      </p:sp>
      <p:sp>
        <p:nvSpPr>
          <p:cNvPr id="11268" name="Rectangle 7"/>
          <p:cNvSpPr>
            <a:spLocks noGrp="1" noChangeArrowheads="1"/>
          </p:cNvSpPr>
          <p:nvPr>
            <p:ph type="title"/>
          </p:nvPr>
        </p:nvSpPr>
        <p:spPr bwMode="gray">
          <a:xfrm>
            <a:off x="434442" y="327030"/>
            <a:ext cx="11782384"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Klicken Sie, um das Titelformat zu bearbeiten</a:t>
            </a:r>
          </a:p>
        </p:txBody>
      </p:sp>
      <p:sp>
        <p:nvSpPr>
          <p:cNvPr id="11298" name="Rectangle 34"/>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11300" name="Rectangle 36"/>
          <p:cNvSpPr>
            <a:spLocks noChangeArrowheads="1"/>
          </p:cNvSpPr>
          <p:nvPr userDrawn="1"/>
        </p:nvSpPr>
        <p:spPr bwMode="auto">
          <a:xfrm>
            <a:off x="6" y="-201145"/>
            <a:ext cx="181822" cy="402291"/>
          </a:xfrm>
          <a:prstGeom prst="rect">
            <a:avLst/>
          </a:prstGeom>
          <a:noFill/>
          <a:ln w="9525" cap="flat" cmpd="sng">
            <a:noFill/>
            <a:prstDash val="solid"/>
            <a:miter lim="800000"/>
            <a:headEnd/>
            <a:tailEnd/>
          </a:ln>
          <a:effectLst/>
        </p:spPr>
        <p:txBody>
          <a:bodyPr vert="horz" wrap="none" lIns="90000" tIns="46800" rIns="90000" bIns="46800" numCol="1" anchor="ctr" anchorCtr="0" compatLnSpc="1">
            <a:prstTxWarp prst="textNoShape">
              <a:avLst/>
            </a:prstTxWarp>
            <a:spAutoFit/>
          </a:bodyPr>
          <a:lstStyle/>
          <a:p>
            <a:endParaRPr lang="en-ZA" dirty="0"/>
          </a:p>
        </p:txBody>
      </p:sp>
      <p:pic>
        <p:nvPicPr>
          <p:cNvPr id="2" name="Picture 36"/>
          <p:cNvPicPr>
            <a:picLocks noChangeAspect="1" noChangeArrowheads="1"/>
          </p:cNvPicPr>
          <p:nvPr userDrawn="1"/>
        </p:nvPicPr>
        <p:blipFill>
          <a:blip r:embed="rId14" cstate="print"/>
          <a:srcRect/>
          <a:stretch>
            <a:fillRect/>
          </a:stretch>
        </p:blipFill>
        <p:spPr bwMode="auto">
          <a:xfrm>
            <a:off x="11337315" y="6030000"/>
            <a:ext cx="1300775" cy="828000"/>
          </a:xfrm>
          <a:prstGeom prst="rect">
            <a:avLst/>
          </a:prstGeom>
          <a:noFill/>
          <a:ln w="9525">
            <a:noFill/>
            <a:miter lim="800000"/>
            <a:headEnd/>
            <a:tailEnd/>
          </a:ln>
        </p:spPr>
      </p:pic>
      <p:sp>
        <p:nvSpPr>
          <p:cNvPr id="10" name="Rectangle 34"/>
          <p:cNvSpPr>
            <a:spLocks noChangeArrowheads="1"/>
          </p:cNvSpPr>
          <p:nvPr userDrawn="1"/>
        </p:nvSpPr>
        <p:spPr bwMode="auto">
          <a:xfrm rot="16200000">
            <a:off x="10907405" y="1934848"/>
            <a:ext cx="3338513" cy="12287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5" name="Slide Number Placeholder 4"/>
          <p:cNvSpPr>
            <a:spLocks noGrp="1"/>
          </p:cNvSpPr>
          <p:nvPr>
            <p:ph type="sldNum" sz="quarter" idx="4"/>
          </p:nvPr>
        </p:nvSpPr>
        <p:spPr>
          <a:xfrm>
            <a:off x="11161710" y="0"/>
            <a:ext cx="1353516" cy="365125"/>
          </a:xfrm>
          <a:prstGeom prst="rect">
            <a:avLst/>
          </a:prstGeom>
        </p:spPr>
        <p:txBody>
          <a:bodyPr vert="horz" lIns="91440" tIns="45720" rIns="91440" bIns="45720" rtlCol="0" anchor="ctr"/>
          <a:lstStyle>
            <a:lvl1pPr algn="r">
              <a:defRPr sz="1200" b="1">
                <a:solidFill>
                  <a:schemeClr val="tx1"/>
                </a:solidFill>
              </a:defRPr>
            </a:lvl1pPr>
          </a:lstStyle>
          <a:p>
            <a:r>
              <a:rPr lang="en-ZA" dirty="0"/>
              <a:t>Slide  </a:t>
            </a:r>
            <a:fld id="{06850BB7-DC73-49CA-8AA1-718C1406A017}" type="slidenum">
              <a:rPr lang="en-ZA" smtClean="0"/>
              <a:pPr/>
              <a:t>‹#›</a:t>
            </a:fld>
            <a:endParaRPr lang="en-ZA" dirty="0"/>
          </a:p>
        </p:txBody>
      </p:sp>
    </p:spTree>
    <p:extLst>
      <p:ext uri="{BB962C8B-B14F-4D97-AF65-F5344CB8AC3E}">
        <p14:creationId xmlns:p14="http://schemas.microsoft.com/office/powerpoint/2010/main" xmlns="" val="821766107"/>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mc:AlternateContent xmlns:mc="http://schemas.openxmlformats.org/markup-compatibility/2006">
    <mc:Choice xmlns:p14="http://schemas.microsoft.com/office/powerpoint/2010/main" xmlns="" Requires="p14">
      <p:transition p14:dur="10"/>
    </mc:Choice>
    <mc:Fallback>
      <p:transition/>
    </mc:Fallback>
  </mc:AlternateContent>
  <p:hf hdr="0" ftr="0" dt="0"/>
  <p:txStyles>
    <p:titleStyle>
      <a:lvl1pPr algn="l" rtl="0" eaLnBrk="0" fontAlgn="base" hangingPunct="0">
        <a:lnSpc>
          <a:spcPct val="95000"/>
        </a:lnSpc>
        <a:spcBef>
          <a:spcPct val="0"/>
        </a:spcBef>
        <a:spcAft>
          <a:spcPct val="0"/>
        </a:spcAft>
        <a:defRPr sz="2400" b="1">
          <a:solidFill>
            <a:schemeClr val="tx1"/>
          </a:solidFill>
          <a:latin typeface="+mj-lt"/>
          <a:ea typeface="+mj-ea"/>
          <a:cs typeface="+mj-cs"/>
        </a:defRPr>
      </a:lvl1pPr>
      <a:lvl2pPr algn="l" rtl="0" eaLnBrk="0" fontAlgn="base" hangingPunct="0">
        <a:lnSpc>
          <a:spcPct val="95000"/>
        </a:lnSpc>
        <a:spcBef>
          <a:spcPct val="0"/>
        </a:spcBef>
        <a:spcAft>
          <a:spcPct val="0"/>
        </a:spcAft>
        <a:defRPr sz="2400" b="1">
          <a:solidFill>
            <a:schemeClr val="tx1"/>
          </a:solidFill>
          <a:latin typeface="Arial" charset="0"/>
        </a:defRPr>
      </a:lvl2pPr>
      <a:lvl3pPr algn="l" rtl="0" eaLnBrk="0" fontAlgn="base" hangingPunct="0">
        <a:lnSpc>
          <a:spcPct val="95000"/>
        </a:lnSpc>
        <a:spcBef>
          <a:spcPct val="0"/>
        </a:spcBef>
        <a:spcAft>
          <a:spcPct val="0"/>
        </a:spcAft>
        <a:defRPr sz="2400" b="1">
          <a:solidFill>
            <a:schemeClr val="tx1"/>
          </a:solidFill>
          <a:latin typeface="Arial" charset="0"/>
        </a:defRPr>
      </a:lvl3pPr>
      <a:lvl4pPr algn="l" rtl="0" eaLnBrk="0" fontAlgn="base" hangingPunct="0">
        <a:lnSpc>
          <a:spcPct val="95000"/>
        </a:lnSpc>
        <a:spcBef>
          <a:spcPct val="0"/>
        </a:spcBef>
        <a:spcAft>
          <a:spcPct val="0"/>
        </a:spcAft>
        <a:defRPr sz="2400" b="1">
          <a:solidFill>
            <a:schemeClr val="tx1"/>
          </a:solidFill>
          <a:latin typeface="Arial" charset="0"/>
        </a:defRPr>
      </a:lvl4pPr>
      <a:lvl5pPr algn="l" rtl="0" eaLnBrk="0" fontAlgn="base" hangingPunct="0">
        <a:lnSpc>
          <a:spcPct val="95000"/>
        </a:lnSpc>
        <a:spcBef>
          <a:spcPct val="0"/>
        </a:spcBef>
        <a:spcAft>
          <a:spcPct val="0"/>
        </a:spcAft>
        <a:defRPr sz="2400" b="1">
          <a:solidFill>
            <a:schemeClr val="tx1"/>
          </a:solidFill>
          <a:latin typeface="Arial" charset="0"/>
        </a:defRPr>
      </a:lvl5pPr>
      <a:lvl6pPr marL="457200" algn="l" rtl="0" eaLnBrk="0" fontAlgn="base" hangingPunct="0">
        <a:lnSpc>
          <a:spcPct val="95000"/>
        </a:lnSpc>
        <a:spcBef>
          <a:spcPct val="0"/>
        </a:spcBef>
        <a:spcAft>
          <a:spcPct val="0"/>
        </a:spcAft>
        <a:defRPr sz="2400" b="1">
          <a:solidFill>
            <a:schemeClr val="tx1"/>
          </a:solidFill>
          <a:latin typeface="Arial" charset="0"/>
        </a:defRPr>
      </a:lvl6pPr>
      <a:lvl7pPr marL="914400" algn="l" rtl="0" eaLnBrk="0" fontAlgn="base" hangingPunct="0">
        <a:lnSpc>
          <a:spcPct val="95000"/>
        </a:lnSpc>
        <a:spcBef>
          <a:spcPct val="0"/>
        </a:spcBef>
        <a:spcAft>
          <a:spcPct val="0"/>
        </a:spcAft>
        <a:defRPr sz="2400" b="1">
          <a:solidFill>
            <a:schemeClr val="tx1"/>
          </a:solidFill>
          <a:latin typeface="Arial" charset="0"/>
        </a:defRPr>
      </a:lvl7pPr>
      <a:lvl8pPr marL="1371600" algn="l" rtl="0" eaLnBrk="0" fontAlgn="base" hangingPunct="0">
        <a:lnSpc>
          <a:spcPct val="95000"/>
        </a:lnSpc>
        <a:spcBef>
          <a:spcPct val="0"/>
        </a:spcBef>
        <a:spcAft>
          <a:spcPct val="0"/>
        </a:spcAft>
        <a:defRPr sz="2400" b="1">
          <a:solidFill>
            <a:schemeClr val="tx1"/>
          </a:solidFill>
          <a:latin typeface="Arial" charset="0"/>
        </a:defRPr>
      </a:lvl8pPr>
      <a:lvl9pPr marL="1828800" algn="l" rtl="0" eaLnBrk="0" fontAlgn="base" hangingPunct="0">
        <a:lnSpc>
          <a:spcPct val="95000"/>
        </a:lnSpc>
        <a:spcBef>
          <a:spcPct val="0"/>
        </a:spcBef>
        <a:spcAft>
          <a:spcPct val="0"/>
        </a:spcAft>
        <a:defRPr sz="2400" b="1">
          <a:solidFill>
            <a:schemeClr val="tx1"/>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000" b="1">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11267" name="Rectangle 5"/>
          <p:cNvSpPr>
            <a:spLocks noChangeArrowheads="1"/>
          </p:cNvSpPr>
          <p:nvPr/>
        </p:nvSpPr>
        <p:spPr bwMode="gray">
          <a:xfrm>
            <a:off x="2988386" y="6408738"/>
            <a:ext cx="6613055" cy="247650"/>
          </a:xfrm>
          <a:prstGeom prst="rect">
            <a:avLst/>
          </a:prstGeom>
          <a:noFill/>
          <a:ln w="9525">
            <a:noFill/>
            <a:miter lim="800000"/>
            <a:headEnd/>
            <a:tailEnd/>
          </a:ln>
        </p:spPr>
        <p:txBody>
          <a:bodyPr/>
          <a:lstStyle/>
          <a:p>
            <a:pPr algn="ctr"/>
            <a:endParaRPr lang="en-US" sz="1000" dirty="0"/>
          </a:p>
        </p:txBody>
      </p:sp>
      <p:sp>
        <p:nvSpPr>
          <p:cNvPr id="11268" name="Rectangle 7"/>
          <p:cNvSpPr>
            <a:spLocks noGrp="1" noChangeArrowheads="1"/>
          </p:cNvSpPr>
          <p:nvPr>
            <p:ph type="title"/>
          </p:nvPr>
        </p:nvSpPr>
        <p:spPr bwMode="gray">
          <a:xfrm>
            <a:off x="434442" y="327030"/>
            <a:ext cx="11782384"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Klicken Sie, um das Titelformat zu bearbeiten</a:t>
            </a:r>
          </a:p>
        </p:txBody>
      </p:sp>
      <p:sp>
        <p:nvSpPr>
          <p:cNvPr id="11269" name="Rectangle 10"/>
          <p:cNvSpPr>
            <a:spLocks noGrp="1" noChangeArrowheads="1"/>
          </p:cNvSpPr>
          <p:nvPr>
            <p:ph type="ftr" sz="quarter" idx="3"/>
          </p:nvPr>
        </p:nvSpPr>
        <p:spPr bwMode="gray">
          <a:xfrm>
            <a:off x="302796" y="6408738"/>
            <a:ext cx="1856219" cy="247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r>
              <a:rPr lang="de-DE"/>
              <a:t>Page </a:t>
            </a:r>
            <a:r>
              <a:rPr lang="de-DE">
                <a:sym typeface="Wingdings" pitchFamily="2" charset="2"/>
              </a:rPr>
              <a:t></a:t>
            </a:r>
            <a:r>
              <a:rPr lang="de-DE"/>
              <a:t> </a:t>
            </a:r>
            <a:fld id="{5113BFCB-AD3C-4630-9733-302437771E6E}" type="slidenum">
              <a:rPr lang="de-DE"/>
              <a:pPr/>
              <a:t>‹#›</a:t>
            </a:fld>
            <a:endParaRPr lang="de-DE"/>
          </a:p>
        </p:txBody>
      </p:sp>
      <p:sp>
        <p:nvSpPr>
          <p:cNvPr id="11270" name="Rectangle 12"/>
          <p:cNvSpPr>
            <a:spLocks noGrp="1" noChangeArrowheads="1"/>
          </p:cNvSpPr>
          <p:nvPr>
            <p:ph type="body" idx="1"/>
          </p:nvPr>
        </p:nvSpPr>
        <p:spPr bwMode="gray">
          <a:xfrm>
            <a:off x="434442" y="1614492"/>
            <a:ext cx="11782384"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p:txBody>
      </p:sp>
      <p:sp>
        <p:nvSpPr>
          <p:cNvPr id="11298" name="Rectangle 34"/>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11300" name="Rectangle 36"/>
          <p:cNvSpPr>
            <a:spLocks noChangeArrowheads="1"/>
          </p:cNvSpPr>
          <p:nvPr userDrawn="1"/>
        </p:nvSpPr>
        <p:spPr bwMode="auto">
          <a:xfrm>
            <a:off x="6" y="-201145"/>
            <a:ext cx="181822" cy="402291"/>
          </a:xfrm>
          <a:prstGeom prst="rect">
            <a:avLst/>
          </a:prstGeom>
          <a:noFill/>
          <a:ln w="9525" cap="flat" cmpd="sng">
            <a:noFill/>
            <a:prstDash val="solid"/>
            <a:miter lim="800000"/>
            <a:headEnd/>
            <a:tailEnd/>
          </a:ln>
          <a:effectLst/>
        </p:spPr>
        <p:txBody>
          <a:bodyPr vert="horz" wrap="none" lIns="90000" tIns="46800" rIns="90000" bIns="46800" numCol="1" anchor="ctr" anchorCtr="0" compatLnSpc="1">
            <a:prstTxWarp prst="textNoShape">
              <a:avLst/>
            </a:prstTxWarp>
            <a:spAutoFit/>
          </a:bodyPr>
          <a:lstStyle/>
          <a:p>
            <a:endParaRPr lang="en-ZA" dirty="0"/>
          </a:p>
        </p:txBody>
      </p:sp>
      <p:pic>
        <p:nvPicPr>
          <p:cNvPr id="2" name="Picture 36"/>
          <p:cNvPicPr>
            <a:picLocks noChangeAspect="1" noChangeArrowheads="1"/>
          </p:cNvPicPr>
          <p:nvPr userDrawn="1"/>
        </p:nvPicPr>
        <p:blipFill>
          <a:blip r:embed="rId15" cstate="print"/>
          <a:srcRect/>
          <a:stretch>
            <a:fillRect/>
          </a:stretch>
        </p:blipFill>
        <p:spPr bwMode="auto">
          <a:xfrm>
            <a:off x="11337315" y="6030000"/>
            <a:ext cx="1300775" cy="828000"/>
          </a:xfrm>
          <a:prstGeom prst="rect">
            <a:avLst/>
          </a:prstGeom>
          <a:noFill/>
          <a:ln w="9525">
            <a:noFill/>
            <a:miter lim="800000"/>
            <a:headEnd/>
            <a:tailEnd/>
          </a:ln>
        </p:spPr>
      </p:pic>
      <p:sp>
        <p:nvSpPr>
          <p:cNvPr id="10" name="Rectangle 34"/>
          <p:cNvSpPr>
            <a:spLocks noChangeArrowheads="1"/>
          </p:cNvSpPr>
          <p:nvPr userDrawn="1"/>
        </p:nvSpPr>
        <p:spPr bwMode="auto">
          <a:xfrm rot="16200000">
            <a:off x="10907405" y="1934848"/>
            <a:ext cx="3338513" cy="12287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Tree>
    <p:extLst>
      <p:ext uri="{BB962C8B-B14F-4D97-AF65-F5344CB8AC3E}">
        <p14:creationId xmlns:p14="http://schemas.microsoft.com/office/powerpoint/2010/main" xmlns="" val="1935773607"/>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Lst>
  <p:hf sldNum="0" hdr="0" dt="0"/>
  <p:txStyles>
    <p:titleStyle>
      <a:lvl1pPr algn="l" rtl="0" eaLnBrk="0" fontAlgn="base" hangingPunct="0">
        <a:lnSpc>
          <a:spcPct val="95000"/>
        </a:lnSpc>
        <a:spcBef>
          <a:spcPct val="0"/>
        </a:spcBef>
        <a:spcAft>
          <a:spcPct val="0"/>
        </a:spcAft>
        <a:defRPr sz="2400" b="1">
          <a:solidFill>
            <a:schemeClr val="tx1"/>
          </a:solidFill>
          <a:latin typeface="+mj-lt"/>
          <a:ea typeface="+mj-ea"/>
          <a:cs typeface="+mj-cs"/>
        </a:defRPr>
      </a:lvl1pPr>
      <a:lvl2pPr algn="l" rtl="0" eaLnBrk="0" fontAlgn="base" hangingPunct="0">
        <a:lnSpc>
          <a:spcPct val="95000"/>
        </a:lnSpc>
        <a:spcBef>
          <a:spcPct val="0"/>
        </a:spcBef>
        <a:spcAft>
          <a:spcPct val="0"/>
        </a:spcAft>
        <a:defRPr sz="2400" b="1">
          <a:solidFill>
            <a:schemeClr val="tx1"/>
          </a:solidFill>
          <a:latin typeface="Arial" charset="0"/>
        </a:defRPr>
      </a:lvl2pPr>
      <a:lvl3pPr algn="l" rtl="0" eaLnBrk="0" fontAlgn="base" hangingPunct="0">
        <a:lnSpc>
          <a:spcPct val="95000"/>
        </a:lnSpc>
        <a:spcBef>
          <a:spcPct val="0"/>
        </a:spcBef>
        <a:spcAft>
          <a:spcPct val="0"/>
        </a:spcAft>
        <a:defRPr sz="2400" b="1">
          <a:solidFill>
            <a:schemeClr val="tx1"/>
          </a:solidFill>
          <a:latin typeface="Arial" charset="0"/>
        </a:defRPr>
      </a:lvl3pPr>
      <a:lvl4pPr algn="l" rtl="0" eaLnBrk="0" fontAlgn="base" hangingPunct="0">
        <a:lnSpc>
          <a:spcPct val="95000"/>
        </a:lnSpc>
        <a:spcBef>
          <a:spcPct val="0"/>
        </a:spcBef>
        <a:spcAft>
          <a:spcPct val="0"/>
        </a:spcAft>
        <a:defRPr sz="2400" b="1">
          <a:solidFill>
            <a:schemeClr val="tx1"/>
          </a:solidFill>
          <a:latin typeface="Arial" charset="0"/>
        </a:defRPr>
      </a:lvl4pPr>
      <a:lvl5pPr algn="l" rtl="0" eaLnBrk="0" fontAlgn="base" hangingPunct="0">
        <a:lnSpc>
          <a:spcPct val="95000"/>
        </a:lnSpc>
        <a:spcBef>
          <a:spcPct val="0"/>
        </a:spcBef>
        <a:spcAft>
          <a:spcPct val="0"/>
        </a:spcAft>
        <a:defRPr sz="2400" b="1">
          <a:solidFill>
            <a:schemeClr val="tx1"/>
          </a:solidFill>
          <a:latin typeface="Arial" charset="0"/>
        </a:defRPr>
      </a:lvl5pPr>
      <a:lvl6pPr marL="457200" algn="l" rtl="0" eaLnBrk="0" fontAlgn="base" hangingPunct="0">
        <a:lnSpc>
          <a:spcPct val="95000"/>
        </a:lnSpc>
        <a:spcBef>
          <a:spcPct val="0"/>
        </a:spcBef>
        <a:spcAft>
          <a:spcPct val="0"/>
        </a:spcAft>
        <a:defRPr sz="2400" b="1">
          <a:solidFill>
            <a:schemeClr val="tx1"/>
          </a:solidFill>
          <a:latin typeface="Arial" charset="0"/>
        </a:defRPr>
      </a:lvl6pPr>
      <a:lvl7pPr marL="914400" algn="l" rtl="0" eaLnBrk="0" fontAlgn="base" hangingPunct="0">
        <a:lnSpc>
          <a:spcPct val="95000"/>
        </a:lnSpc>
        <a:spcBef>
          <a:spcPct val="0"/>
        </a:spcBef>
        <a:spcAft>
          <a:spcPct val="0"/>
        </a:spcAft>
        <a:defRPr sz="2400" b="1">
          <a:solidFill>
            <a:schemeClr val="tx1"/>
          </a:solidFill>
          <a:latin typeface="Arial" charset="0"/>
        </a:defRPr>
      </a:lvl7pPr>
      <a:lvl8pPr marL="1371600" algn="l" rtl="0" eaLnBrk="0" fontAlgn="base" hangingPunct="0">
        <a:lnSpc>
          <a:spcPct val="95000"/>
        </a:lnSpc>
        <a:spcBef>
          <a:spcPct val="0"/>
        </a:spcBef>
        <a:spcAft>
          <a:spcPct val="0"/>
        </a:spcAft>
        <a:defRPr sz="2400" b="1">
          <a:solidFill>
            <a:schemeClr val="tx1"/>
          </a:solidFill>
          <a:latin typeface="Arial" charset="0"/>
        </a:defRPr>
      </a:lvl8pPr>
      <a:lvl9pPr marL="1828800" algn="l" rtl="0" eaLnBrk="0" fontAlgn="base" hangingPunct="0">
        <a:lnSpc>
          <a:spcPct val="95000"/>
        </a:lnSpc>
        <a:spcBef>
          <a:spcPct val="0"/>
        </a:spcBef>
        <a:spcAft>
          <a:spcPct val="0"/>
        </a:spcAft>
        <a:defRPr sz="2400" b="1">
          <a:solidFill>
            <a:schemeClr val="tx1"/>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000" b="1">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7" cstate="print"/>
          <a:srcRect/>
          <a:stretch>
            <a:fillRect/>
          </a:stretch>
        </a:blipFill>
        <a:effectLst/>
      </p:bgPr>
    </p:bg>
    <p:spTree>
      <p:nvGrpSpPr>
        <p:cNvPr id="1" name=""/>
        <p:cNvGrpSpPr/>
        <p:nvPr/>
      </p:nvGrpSpPr>
      <p:grpSpPr>
        <a:xfrm>
          <a:off x="0" y="0"/>
          <a:ext cx="0" cy="0"/>
          <a:chOff x="0" y="0"/>
          <a:chExt cx="0" cy="0"/>
        </a:xfrm>
      </p:grpSpPr>
      <p:sp>
        <p:nvSpPr>
          <p:cNvPr id="11267" name="Rectangle 5"/>
          <p:cNvSpPr>
            <a:spLocks noChangeArrowheads="1"/>
          </p:cNvSpPr>
          <p:nvPr/>
        </p:nvSpPr>
        <p:spPr bwMode="gray">
          <a:xfrm>
            <a:off x="2988387" y="6408738"/>
            <a:ext cx="6613055" cy="247650"/>
          </a:xfrm>
          <a:prstGeom prst="rect">
            <a:avLst/>
          </a:prstGeom>
          <a:noFill/>
          <a:ln w="9525">
            <a:noFill/>
            <a:miter lim="800000"/>
            <a:headEnd/>
            <a:tailEnd/>
          </a:ln>
        </p:spPr>
        <p:txBody>
          <a:bodyPr/>
          <a:lstStyle/>
          <a:p>
            <a:pPr algn="ctr"/>
            <a:endParaRPr lang="en-US" sz="965" dirty="0"/>
          </a:p>
        </p:txBody>
      </p:sp>
      <p:sp>
        <p:nvSpPr>
          <p:cNvPr id="11268" name="Rectangle 7"/>
          <p:cNvSpPr>
            <a:spLocks noGrp="1" noChangeArrowheads="1"/>
          </p:cNvSpPr>
          <p:nvPr>
            <p:ph type="title"/>
          </p:nvPr>
        </p:nvSpPr>
        <p:spPr bwMode="gray">
          <a:xfrm>
            <a:off x="434442" y="327032"/>
            <a:ext cx="11782384"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Klicken Sie, um das Titelformat zu bearbeiten</a:t>
            </a:r>
          </a:p>
        </p:txBody>
      </p:sp>
      <p:sp>
        <p:nvSpPr>
          <p:cNvPr id="11270" name="Rectangle 12"/>
          <p:cNvSpPr>
            <a:spLocks noGrp="1" noChangeArrowheads="1"/>
          </p:cNvSpPr>
          <p:nvPr>
            <p:ph type="body" idx="1"/>
          </p:nvPr>
        </p:nvSpPr>
        <p:spPr bwMode="gray">
          <a:xfrm>
            <a:off x="434442" y="1614493"/>
            <a:ext cx="11782384"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p:txBody>
      </p:sp>
      <p:sp>
        <p:nvSpPr>
          <p:cNvPr id="11298" name="Rectangle 34"/>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86823" tIns="45148" rIns="86823" bIns="45148" anchor="ctr"/>
          <a:lstStyle/>
          <a:p>
            <a:endParaRPr lang="en-ZA" sz="1736" dirty="0"/>
          </a:p>
        </p:txBody>
      </p:sp>
      <p:sp>
        <p:nvSpPr>
          <p:cNvPr id="11300" name="Rectangle 36"/>
          <p:cNvSpPr>
            <a:spLocks noChangeArrowheads="1"/>
          </p:cNvSpPr>
          <p:nvPr userDrawn="1"/>
        </p:nvSpPr>
        <p:spPr bwMode="auto">
          <a:xfrm>
            <a:off x="6" y="-180819"/>
            <a:ext cx="181822" cy="361638"/>
          </a:xfrm>
          <a:prstGeom prst="rect">
            <a:avLst/>
          </a:prstGeom>
          <a:noFill/>
          <a:ln w="9525" cap="flat" cmpd="sng">
            <a:noFill/>
            <a:prstDash val="solid"/>
            <a:miter lim="800000"/>
            <a:headEnd/>
            <a:tailEnd/>
          </a:ln>
          <a:effectLst/>
        </p:spPr>
        <p:txBody>
          <a:bodyPr vert="horz" wrap="none" lIns="86823" tIns="45148" rIns="86823" bIns="45148" numCol="1" anchor="ctr" anchorCtr="0" compatLnSpc="1">
            <a:prstTxWarp prst="textNoShape">
              <a:avLst/>
            </a:prstTxWarp>
            <a:spAutoFit/>
          </a:bodyPr>
          <a:lstStyle/>
          <a:p>
            <a:endParaRPr lang="en-ZA" sz="1736" dirty="0"/>
          </a:p>
        </p:txBody>
      </p:sp>
      <p:pic>
        <p:nvPicPr>
          <p:cNvPr id="2" name="Picture 36"/>
          <p:cNvPicPr>
            <a:picLocks noChangeAspect="1" noChangeArrowheads="1"/>
          </p:cNvPicPr>
          <p:nvPr userDrawn="1"/>
        </p:nvPicPr>
        <p:blipFill>
          <a:blip r:embed="rId8" cstate="print"/>
          <a:srcRect/>
          <a:stretch>
            <a:fillRect/>
          </a:stretch>
        </p:blipFill>
        <p:spPr bwMode="auto">
          <a:xfrm>
            <a:off x="11337316" y="6030000"/>
            <a:ext cx="1300775" cy="828000"/>
          </a:xfrm>
          <a:prstGeom prst="rect">
            <a:avLst/>
          </a:prstGeom>
          <a:noFill/>
          <a:ln w="9525">
            <a:noFill/>
            <a:miter lim="800000"/>
            <a:headEnd/>
            <a:tailEnd/>
          </a:ln>
        </p:spPr>
      </p:pic>
      <p:sp>
        <p:nvSpPr>
          <p:cNvPr id="10" name="Rectangle 34"/>
          <p:cNvSpPr>
            <a:spLocks noChangeArrowheads="1"/>
          </p:cNvSpPr>
          <p:nvPr userDrawn="1"/>
        </p:nvSpPr>
        <p:spPr bwMode="auto">
          <a:xfrm rot="16200000">
            <a:off x="10907406" y="1934848"/>
            <a:ext cx="3338513" cy="122870"/>
          </a:xfrm>
          <a:prstGeom prst="rect">
            <a:avLst/>
          </a:prstGeom>
          <a:solidFill>
            <a:srgbClr val="F18B1B"/>
          </a:solidFill>
          <a:ln w="9525">
            <a:noFill/>
            <a:miter lim="800000"/>
            <a:headEnd/>
            <a:tailEnd/>
          </a:ln>
          <a:effectLst/>
        </p:spPr>
        <p:txBody>
          <a:bodyPr wrap="none" lIns="86823" tIns="45148" rIns="86823" bIns="45148" anchor="ctr"/>
          <a:lstStyle/>
          <a:p>
            <a:endParaRPr lang="en-ZA" sz="1736" dirty="0"/>
          </a:p>
        </p:txBody>
      </p:sp>
      <p:sp>
        <p:nvSpPr>
          <p:cNvPr id="3" name="Slide Number Placeholder 2"/>
          <p:cNvSpPr>
            <a:spLocks noGrp="1"/>
          </p:cNvSpPr>
          <p:nvPr>
            <p:ph type="sldNum" sz="quarter" idx="4"/>
          </p:nvPr>
        </p:nvSpPr>
        <p:spPr>
          <a:xfrm>
            <a:off x="9793298" y="0"/>
            <a:ext cx="2844800" cy="327030"/>
          </a:xfrm>
          <a:prstGeom prst="rect">
            <a:avLst/>
          </a:prstGeom>
        </p:spPr>
        <p:txBody>
          <a:bodyPr vert="horz" lIns="91440" tIns="45720" rIns="91440" bIns="45720" rtlCol="0" anchor="ctr"/>
          <a:lstStyle>
            <a:lvl1pPr algn="r">
              <a:defRPr sz="1158">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2109056596"/>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Lst>
  <p:hf hdr="0" ftr="0" dt="0"/>
  <p:txStyles>
    <p:titleStyle>
      <a:lvl1pPr algn="l" rtl="0" eaLnBrk="0" fontAlgn="base" hangingPunct="0">
        <a:lnSpc>
          <a:spcPct val="95000"/>
        </a:lnSpc>
        <a:spcBef>
          <a:spcPct val="0"/>
        </a:spcBef>
        <a:spcAft>
          <a:spcPct val="0"/>
        </a:spcAft>
        <a:defRPr sz="2315" b="1">
          <a:solidFill>
            <a:schemeClr val="tx1"/>
          </a:solidFill>
          <a:latin typeface="+mj-lt"/>
          <a:ea typeface="+mj-ea"/>
          <a:cs typeface="+mj-cs"/>
        </a:defRPr>
      </a:lvl1pPr>
      <a:lvl2pPr algn="l" rtl="0" eaLnBrk="0" fontAlgn="base" hangingPunct="0">
        <a:lnSpc>
          <a:spcPct val="95000"/>
        </a:lnSpc>
        <a:spcBef>
          <a:spcPct val="0"/>
        </a:spcBef>
        <a:spcAft>
          <a:spcPct val="0"/>
        </a:spcAft>
        <a:defRPr sz="2315" b="1">
          <a:solidFill>
            <a:schemeClr val="tx1"/>
          </a:solidFill>
          <a:latin typeface="Arial" charset="0"/>
        </a:defRPr>
      </a:lvl2pPr>
      <a:lvl3pPr algn="l" rtl="0" eaLnBrk="0" fontAlgn="base" hangingPunct="0">
        <a:lnSpc>
          <a:spcPct val="95000"/>
        </a:lnSpc>
        <a:spcBef>
          <a:spcPct val="0"/>
        </a:spcBef>
        <a:spcAft>
          <a:spcPct val="0"/>
        </a:spcAft>
        <a:defRPr sz="2315" b="1">
          <a:solidFill>
            <a:schemeClr val="tx1"/>
          </a:solidFill>
          <a:latin typeface="Arial" charset="0"/>
        </a:defRPr>
      </a:lvl3pPr>
      <a:lvl4pPr algn="l" rtl="0" eaLnBrk="0" fontAlgn="base" hangingPunct="0">
        <a:lnSpc>
          <a:spcPct val="95000"/>
        </a:lnSpc>
        <a:spcBef>
          <a:spcPct val="0"/>
        </a:spcBef>
        <a:spcAft>
          <a:spcPct val="0"/>
        </a:spcAft>
        <a:defRPr sz="2315" b="1">
          <a:solidFill>
            <a:schemeClr val="tx1"/>
          </a:solidFill>
          <a:latin typeface="Arial" charset="0"/>
        </a:defRPr>
      </a:lvl4pPr>
      <a:lvl5pPr algn="l" rtl="0" eaLnBrk="0" fontAlgn="base" hangingPunct="0">
        <a:lnSpc>
          <a:spcPct val="95000"/>
        </a:lnSpc>
        <a:spcBef>
          <a:spcPct val="0"/>
        </a:spcBef>
        <a:spcAft>
          <a:spcPct val="0"/>
        </a:spcAft>
        <a:defRPr sz="2315" b="1">
          <a:solidFill>
            <a:schemeClr val="tx1"/>
          </a:solidFill>
          <a:latin typeface="Arial" charset="0"/>
        </a:defRPr>
      </a:lvl5pPr>
      <a:lvl6pPr marL="441061" algn="l" rtl="0" eaLnBrk="0" fontAlgn="base" hangingPunct="0">
        <a:lnSpc>
          <a:spcPct val="95000"/>
        </a:lnSpc>
        <a:spcBef>
          <a:spcPct val="0"/>
        </a:spcBef>
        <a:spcAft>
          <a:spcPct val="0"/>
        </a:spcAft>
        <a:defRPr sz="2315" b="1">
          <a:solidFill>
            <a:schemeClr val="tx1"/>
          </a:solidFill>
          <a:latin typeface="Arial" charset="0"/>
        </a:defRPr>
      </a:lvl6pPr>
      <a:lvl7pPr marL="882122" algn="l" rtl="0" eaLnBrk="0" fontAlgn="base" hangingPunct="0">
        <a:lnSpc>
          <a:spcPct val="95000"/>
        </a:lnSpc>
        <a:spcBef>
          <a:spcPct val="0"/>
        </a:spcBef>
        <a:spcAft>
          <a:spcPct val="0"/>
        </a:spcAft>
        <a:defRPr sz="2315" b="1">
          <a:solidFill>
            <a:schemeClr val="tx1"/>
          </a:solidFill>
          <a:latin typeface="Arial" charset="0"/>
        </a:defRPr>
      </a:lvl7pPr>
      <a:lvl8pPr marL="1323183" algn="l" rtl="0" eaLnBrk="0" fontAlgn="base" hangingPunct="0">
        <a:lnSpc>
          <a:spcPct val="95000"/>
        </a:lnSpc>
        <a:spcBef>
          <a:spcPct val="0"/>
        </a:spcBef>
        <a:spcAft>
          <a:spcPct val="0"/>
        </a:spcAft>
        <a:defRPr sz="2315" b="1">
          <a:solidFill>
            <a:schemeClr val="tx1"/>
          </a:solidFill>
          <a:latin typeface="Arial" charset="0"/>
        </a:defRPr>
      </a:lvl8pPr>
      <a:lvl9pPr marL="1764243" algn="l" rtl="0" eaLnBrk="0" fontAlgn="base" hangingPunct="0">
        <a:lnSpc>
          <a:spcPct val="95000"/>
        </a:lnSpc>
        <a:spcBef>
          <a:spcPct val="0"/>
        </a:spcBef>
        <a:spcAft>
          <a:spcPct val="0"/>
        </a:spcAft>
        <a:defRPr sz="2315" b="1">
          <a:solidFill>
            <a:schemeClr val="tx1"/>
          </a:solidFill>
          <a:latin typeface="Arial" charset="0"/>
        </a:defRPr>
      </a:lvl9pPr>
    </p:titleStyle>
    <p:bodyStyle>
      <a:lvl1pPr marL="183775" indent="-183775" algn="l" rtl="0" eaLnBrk="0" fontAlgn="base" hangingPunct="0">
        <a:spcBef>
          <a:spcPct val="60000"/>
        </a:spcBef>
        <a:spcAft>
          <a:spcPct val="0"/>
        </a:spcAft>
        <a:buClr>
          <a:schemeClr val="accent1"/>
        </a:buClr>
        <a:buFont typeface="Wingdings" pitchFamily="2" charset="2"/>
        <a:buChar char="§"/>
        <a:defRPr sz="1929" b="1">
          <a:solidFill>
            <a:schemeClr val="tx1"/>
          </a:solidFill>
          <a:latin typeface="+mn-lt"/>
          <a:ea typeface="+mn-ea"/>
          <a:cs typeface="+mn-cs"/>
        </a:defRPr>
      </a:lvl1pPr>
      <a:lvl2pPr marL="367551" indent="-182244"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2pPr>
      <a:lvl3pPr marL="542137" indent="-173056" algn="l" rtl="0" eaLnBrk="0" fontAlgn="base" hangingPunct="0">
        <a:spcBef>
          <a:spcPct val="30000"/>
        </a:spcBef>
        <a:spcAft>
          <a:spcPct val="0"/>
        </a:spcAft>
        <a:buClr>
          <a:schemeClr val="accent1"/>
        </a:buClr>
        <a:buFont typeface="Wingdings" pitchFamily="2" charset="2"/>
        <a:buChar char="§"/>
        <a:defRPr sz="1544">
          <a:solidFill>
            <a:schemeClr val="tx1"/>
          </a:solidFill>
          <a:latin typeface="+mn-lt"/>
        </a:defRPr>
      </a:lvl3pPr>
      <a:lvl4pPr marL="741227" indent="-197559" algn="l" rtl="0" eaLnBrk="0" fontAlgn="base" hangingPunct="0">
        <a:spcBef>
          <a:spcPct val="30000"/>
        </a:spcBef>
        <a:spcAft>
          <a:spcPct val="0"/>
        </a:spcAft>
        <a:buClr>
          <a:schemeClr val="accent1"/>
        </a:buClr>
        <a:buFont typeface="Wingdings" pitchFamily="2" charset="2"/>
        <a:buChar char="§"/>
        <a:defRPr sz="1544">
          <a:solidFill>
            <a:schemeClr val="tx1"/>
          </a:solidFill>
          <a:latin typeface="+mn-lt"/>
        </a:defRPr>
      </a:lvl4pPr>
      <a:lvl5pPr marL="1013827" indent="-162335" algn="l" rtl="0" eaLnBrk="0" fontAlgn="base" hangingPunct="0">
        <a:spcBef>
          <a:spcPct val="40000"/>
        </a:spcBef>
        <a:spcAft>
          <a:spcPct val="0"/>
        </a:spcAft>
        <a:buClr>
          <a:schemeClr val="accent1"/>
        </a:buClr>
        <a:buFont typeface="Wingdings" pitchFamily="2" charset="2"/>
        <a:buChar char="»"/>
        <a:defRPr sz="1929">
          <a:solidFill>
            <a:schemeClr val="tx1"/>
          </a:solidFill>
          <a:latin typeface="+mn-lt"/>
        </a:defRPr>
      </a:lvl5pPr>
      <a:lvl6pPr marL="1454888" indent="-162335" algn="l" rtl="0" eaLnBrk="0" fontAlgn="base" hangingPunct="0">
        <a:spcBef>
          <a:spcPct val="40000"/>
        </a:spcBef>
        <a:spcAft>
          <a:spcPct val="0"/>
        </a:spcAft>
        <a:buClr>
          <a:schemeClr val="accent1"/>
        </a:buClr>
        <a:buFont typeface="Wingdings" pitchFamily="2" charset="2"/>
        <a:buChar char="»"/>
        <a:defRPr sz="1929">
          <a:solidFill>
            <a:schemeClr val="tx1"/>
          </a:solidFill>
          <a:latin typeface="+mn-lt"/>
        </a:defRPr>
      </a:lvl6pPr>
      <a:lvl7pPr marL="1895949" indent="-162335" algn="l" rtl="0" eaLnBrk="0" fontAlgn="base" hangingPunct="0">
        <a:spcBef>
          <a:spcPct val="40000"/>
        </a:spcBef>
        <a:spcAft>
          <a:spcPct val="0"/>
        </a:spcAft>
        <a:buClr>
          <a:schemeClr val="accent1"/>
        </a:buClr>
        <a:buFont typeface="Wingdings" pitchFamily="2" charset="2"/>
        <a:buChar char="»"/>
        <a:defRPr sz="1929">
          <a:solidFill>
            <a:schemeClr val="tx1"/>
          </a:solidFill>
          <a:latin typeface="+mn-lt"/>
        </a:defRPr>
      </a:lvl7pPr>
      <a:lvl8pPr marL="2337010" indent="-162335" algn="l" rtl="0" eaLnBrk="0" fontAlgn="base" hangingPunct="0">
        <a:spcBef>
          <a:spcPct val="40000"/>
        </a:spcBef>
        <a:spcAft>
          <a:spcPct val="0"/>
        </a:spcAft>
        <a:buClr>
          <a:schemeClr val="accent1"/>
        </a:buClr>
        <a:buFont typeface="Wingdings" pitchFamily="2" charset="2"/>
        <a:buChar char="»"/>
        <a:defRPr sz="1929">
          <a:solidFill>
            <a:schemeClr val="tx1"/>
          </a:solidFill>
          <a:latin typeface="+mn-lt"/>
        </a:defRPr>
      </a:lvl8pPr>
      <a:lvl9pPr marL="2778071" indent="-162335" algn="l" rtl="0" eaLnBrk="0" fontAlgn="base" hangingPunct="0">
        <a:spcBef>
          <a:spcPct val="40000"/>
        </a:spcBef>
        <a:spcAft>
          <a:spcPct val="0"/>
        </a:spcAft>
        <a:buClr>
          <a:schemeClr val="accent1"/>
        </a:buClr>
        <a:buFont typeface="Wingdings" pitchFamily="2" charset="2"/>
        <a:buChar char="»"/>
        <a:defRPr sz="1929">
          <a:solidFill>
            <a:schemeClr val="tx1"/>
          </a:solidFill>
          <a:latin typeface="+mn-lt"/>
        </a:defRPr>
      </a:lvl9pPr>
    </p:bodyStyle>
    <p:otherStyle>
      <a:defPPr>
        <a:defRPr lang="en-US"/>
      </a:defPPr>
      <a:lvl1pPr marL="0" algn="l" defTabSz="882122" rtl="0" eaLnBrk="1" latinLnBrk="0" hangingPunct="1">
        <a:defRPr sz="1736" kern="1200">
          <a:solidFill>
            <a:schemeClr val="tx1"/>
          </a:solidFill>
          <a:latin typeface="+mn-lt"/>
          <a:ea typeface="+mn-ea"/>
          <a:cs typeface="+mn-cs"/>
        </a:defRPr>
      </a:lvl1pPr>
      <a:lvl2pPr marL="441061" algn="l" defTabSz="882122" rtl="0" eaLnBrk="1" latinLnBrk="0" hangingPunct="1">
        <a:defRPr sz="1736" kern="1200">
          <a:solidFill>
            <a:schemeClr val="tx1"/>
          </a:solidFill>
          <a:latin typeface="+mn-lt"/>
          <a:ea typeface="+mn-ea"/>
          <a:cs typeface="+mn-cs"/>
        </a:defRPr>
      </a:lvl2pPr>
      <a:lvl3pPr marL="882122" algn="l" defTabSz="882122" rtl="0" eaLnBrk="1" latinLnBrk="0" hangingPunct="1">
        <a:defRPr sz="1736" kern="1200">
          <a:solidFill>
            <a:schemeClr val="tx1"/>
          </a:solidFill>
          <a:latin typeface="+mn-lt"/>
          <a:ea typeface="+mn-ea"/>
          <a:cs typeface="+mn-cs"/>
        </a:defRPr>
      </a:lvl3pPr>
      <a:lvl4pPr marL="1323183" algn="l" defTabSz="882122" rtl="0" eaLnBrk="1" latinLnBrk="0" hangingPunct="1">
        <a:defRPr sz="1736" kern="1200">
          <a:solidFill>
            <a:schemeClr val="tx1"/>
          </a:solidFill>
          <a:latin typeface="+mn-lt"/>
          <a:ea typeface="+mn-ea"/>
          <a:cs typeface="+mn-cs"/>
        </a:defRPr>
      </a:lvl4pPr>
      <a:lvl5pPr marL="1764243" algn="l" defTabSz="882122" rtl="0" eaLnBrk="1" latinLnBrk="0" hangingPunct="1">
        <a:defRPr sz="1736" kern="1200">
          <a:solidFill>
            <a:schemeClr val="tx1"/>
          </a:solidFill>
          <a:latin typeface="+mn-lt"/>
          <a:ea typeface="+mn-ea"/>
          <a:cs typeface="+mn-cs"/>
        </a:defRPr>
      </a:lvl5pPr>
      <a:lvl6pPr marL="2205304" algn="l" defTabSz="882122" rtl="0" eaLnBrk="1" latinLnBrk="0" hangingPunct="1">
        <a:defRPr sz="1736" kern="1200">
          <a:solidFill>
            <a:schemeClr val="tx1"/>
          </a:solidFill>
          <a:latin typeface="+mn-lt"/>
          <a:ea typeface="+mn-ea"/>
          <a:cs typeface="+mn-cs"/>
        </a:defRPr>
      </a:lvl6pPr>
      <a:lvl7pPr marL="2646365" algn="l" defTabSz="882122" rtl="0" eaLnBrk="1" latinLnBrk="0" hangingPunct="1">
        <a:defRPr sz="1736" kern="1200">
          <a:solidFill>
            <a:schemeClr val="tx1"/>
          </a:solidFill>
          <a:latin typeface="+mn-lt"/>
          <a:ea typeface="+mn-ea"/>
          <a:cs typeface="+mn-cs"/>
        </a:defRPr>
      </a:lvl7pPr>
      <a:lvl8pPr marL="3087426" algn="l" defTabSz="882122" rtl="0" eaLnBrk="1" latinLnBrk="0" hangingPunct="1">
        <a:defRPr sz="1736" kern="1200">
          <a:solidFill>
            <a:schemeClr val="tx1"/>
          </a:solidFill>
          <a:latin typeface="+mn-lt"/>
          <a:ea typeface="+mn-ea"/>
          <a:cs typeface="+mn-cs"/>
        </a:defRPr>
      </a:lvl8pPr>
      <a:lvl9pPr marL="3528487" algn="l" defTabSz="882122" rtl="0" eaLnBrk="1" latinLnBrk="0" hangingPunct="1">
        <a:defRPr sz="17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7" cstate="print"/>
          <a:srcRect/>
          <a:stretch>
            <a:fillRect/>
          </a:stretch>
        </a:blipFill>
        <a:effectLst/>
      </p:bgPr>
    </p:bg>
    <p:spTree>
      <p:nvGrpSpPr>
        <p:cNvPr id="1" name=""/>
        <p:cNvGrpSpPr/>
        <p:nvPr/>
      </p:nvGrpSpPr>
      <p:grpSpPr>
        <a:xfrm>
          <a:off x="0" y="0"/>
          <a:ext cx="0" cy="0"/>
          <a:chOff x="0" y="0"/>
          <a:chExt cx="0" cy="0"/>
        </a:xfrm>
      </p:grpSpPr>
      <p:sp>
        <p:nvSpPr>
          <p:cNvPr id="11267" name="Rectangle 5"/>
          <p:cNvSpPr>
            <a:spLocks noChangeArrowheads="1"/>
          </p:cNvSpPr>
          <p:nvPr/>
        </p:nvSpPr>
        <p:spPr bwMode="gray">
          <a:xfrm>
            <a:off x="2988386" y="6408738"/>
            <a:ext cx="6613055" cy="247650"/>
          </a:xfrm>
          <a:prstGeom prst="rect">
            <a:avLst/>
          </a:prstGeom>
          <a:noFill/>
          <a:ln w="9525">
            <a:noFill/>
            <a:miter lim="800000"/>
            <a:headEnd/>
            <a:tailEnd/>
          </a:ln>
        </p:spPr>
        <p:txBody>
          <a:bodyPr/>
          <a:lstStyle/>
          <a:p>
            <a:pPr algn="ctr"/>
            <a:endParaRPr lang="en-US" sz="1000" dirty="0"/>
          </a:p>
        </p:txBody>
      </p:sp>
      <p:sp>
        <p:nvSpPr>
          <p:cNvPr id="11268" name="Rectangle 7"/>
          <p:cNvSpPr>
            <a:spLocks noGrp="1" noChangeArrowheads="1"/>
          </p:cNvSpPr>
          <p:nvPr>
            <p:ph type="title"/>
          </p:nvPr>
        </p:nvSpPr>
        <p:spPr bwMode="gray">
          <a:xfrm>
            <a:off x="434442" y="327030"/>
            <a:ext cx="11782384"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Klicken Sie, um das Titelformat zu bearbeiten</a:t>
            </a:r>
          </a:p>
        </p:txBody>
      </p:sp>
      <p:sp>
        <p:nvSpPr>
          <p:cNvPr id="11270" name="Rectangle 12"/>
          <p:cNvSpPr>
            <a:spLocks noGrp="1" noChangeArrowheads="1"/>
          </p:cNvSpPr>
          <p:nvPr>
            <p:ph type="body" idx="1"/>
          </p:nvPr>
        </p:nvSpPr>
        <p:spPr bwMode="gray">
          <a:xfrm>
            <a:off x="434442" y="1614492"/>
            <a:ext cx="11782384"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p:txBody>
      </p:sp>
      <p:sp>
        <p:nvSpPr>
          <p:cNvPr id="11298" name="Rectangle 34"/>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11300" name="Rectangle 36"/>
          <p:cNvSpPr>
            <a:spLocks noChangeArrowheads="1"/>
          </p:cNvSpPr>
          <p:nvPr userDrawn="1"/>
        </p:nvSpPr>
        <p:spPr bwMode="auto">
          <a:xfrm>
            <a:off x="6" y="-201145"/>
            <a:ext cx="181822" cy="402291"/>
          </a:xfrm>
          <a:prstGeom prst="rect">
            <a:avLst/>
          </a:prstGeom>
          <a:noFill/>
          <a:ln w="9525" cap="flat" cmpd="sng">
            <a:noFill/>
            <a:prstDash val="solid"/>
            <a:miter lim="800000"/>
            <a:headEnd/>
            <a:tailEnd/>
          </a:ln>
          <a:effectLst/>
        </p:spPr>
        <p:txBody>
          <a:bodyPr vert="horz" wrap="none" lIns="90000" tIns="46800" rIns="90000" bIns="46800" numCol="1" anchor="ctr" anchorCtr="0" compatLnSpc="1">
            <a:prstTxWarp prst="textNoShape">
              <a:avLst/>
            </a:prstTxWarp>
            <a:spAutoFit/>
          </a:bodyPr>
          <a:lstStyle/>
          <a:p>
            <a:endParaRPr lang="en-ZA" dirty="0"/>
          </a:p>
        </p:txBody>
      </p:sp>
      <p:pic>
        <p:nvPicPr>
          <p:cNvPr id="2" name="Picture 36"/>
          <p:cNvPicPr>
            <a:picLocks noChangeAspect="1" noChangeArrowheads="1"/>
          </p:cNvPicPr>
          <p:nvPr userDrawn="1"/>
        </p:nvPicPr>
        <p:blipFill>
          <a:blip r:embed="rId8" cstate="print"/>
          <a:srcRect/>
          <a:stretch>
            <a:fillRect/>
          </a:stretch>
        </p:blipFill>
        <p:spPr bwMode="auto">
          <a:xfrm>
            <a:off x="11337315" y="6030000"/>
            <a:ext cx="1300775" cy="828000"/>
          </a:xfrm>
          <a:prstGeom prst="rect">
            <a:avLst/>
          </a:prstGeom>
          <a:noFill/>
          <a:ln w="9525">
            <a:noFill/>
            <a:miter lim="800000"/>
            <a:headEnd/>
            <a:tailEnd/>
          </a:ln>
        </p:spPr>
      </p:pic>
      <p:sp>
        <p:nvSpPr>
          <p:cNvPr id="10" name="Rectangle 34"/>
          <p:cNvSpPr>
            <a:spLocks noChangeArrowheads="1"/>
          </p:cNvSpPr>
          <p:nvPr userDrawn="1"/>
        </p:nvSpPr>
        <p:spPr bwMode="auto">
          <a:xfrm rot="16200000">
            <a:off x="10907405" y="1934848"/>
            <a:ext cx="3338513" cy="12287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3"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2360716485"/>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Lst>
  <p:hf hdr="0" dt="0"/>
  <p:txStyles>
    <p:titleStyle>
      <a:lvl1pPr algn="l" rtl="0" eaLnBrk="0" fontAlgn="base" hangingPunct="0">
        <a:lnSpc>
          <a:spcPct val="95000"/>
        </a:lnSpc>
        <a:spcBef>
          <a:spcPct val="0"/>
        </a:spcBef>
        <a:spcAft>
          <a:spcPct val="0"/>
        </a:spcAft>
        <a:defRPr sz="2400" b="1">
          <a:solidFill>
            <a:schemeClr val="tx1"/>
          </a:solidFill>
          <a:latin typeface="+mj-lt"/>
          <a:ea typeface="+mj-ea"/>
          <a:cs typeface="+mj-cs"/>
        </a:defRPr>
      </a:lvl1pPr>
      <a:lvl2pPr algn="l" rtl="0" eaLnBrk="0" fontAlgn="base" hangingPunct="0">
        <a:lnSpc>
          <a:spcPct val="95000"/>
        </a:lnSpc>
        <a:spcBef>
          <a:spcPct val="0"/>
        </a:spcBef>
        <a:spcAft>
          <a:spcPct val="0"/>
        </a:spcAft>
        <a:defRPr sz="2400" b="1">
          <a:solidFill>
            <a:schemeClr val="tx1"/>
          </a:solidFill>
          <a:latin typeface="Arial" charset="0"/>
        </a:defRPr>
      </a:lvl2pPr>
      <a:lvl3pPr algn="l" rtl="0" eaLnBrk="0" fontAlgn="base" hangingPunct="0">
        <a:lnSpc>
          <a:spcPct val="95000"/>
        </a:lnSpc>
        <a:spcBef>
          <a:spcPct val="0"/>
        </a:spcBef>
        <a:spcAft>
          <a:spcPct val="0"/>
        </a:spcAft>
        <a:defRPr sz="2400" b="1">
          <a:solidFill>
            <a:schemeClr val="tx1"/>
          </a:solidFill>
          <a:latin typeface="Arial" charset="0"/>
        </a:defRPr>
      </a:lvl3pPr>
      <a:lvl4pPr algn="l" rtl="0" eaLnBrk="0" fontAlgn="base" hangingPunct="0">
        <a:lnSpc>
          <a:spcPct val="95000"/>
        </a:lnSpc>
        <a:spcBef>
          <a:spcPct val="0"/>
        </a:spcBef>
        <a:spcAft>
          <a:spcPct val="0"/>
        </a:spcAft>
        <a:defRPr sz="2400" b="1">
          <a:solidFill>
            <a:schemeClr val="tx1"/>
          </a:solidFill>
          <a:latin typeface="Arial" charset="0"/>
        </a:defRPr>
      </a:lvl4pPr>
      <a:lvl5pPr algn="l" rtl="0" eaLnBrk="0" fontAlgn="base" hangingPunct="0">
        <a:lnSpc>
          <a:spcPct val="95000"/>
        </a:lnSpc>
        <a:spcBef>
          <a:spcPct val="0"/>
        </a:spcBef>
        <a:spcAft>
          <a:spcPct val="0"/>
        </a:spcAft>
        <a:defRPr sz="2400" b="1">
          <a:solidFill>
            <a:schemeClr val="tx1"/>
          </a:solidFill>
          <a:latin typeface="Arial" charset="0"/>
        </a:defRPr>
      </a:lvl5pPr>
      <a:lvl6pPr marL="457200" algn="l" rtl="0" eaLnBrk="0" fontAlgn="base" hangingPunct="0">
        <a:lnSpc>
          <a:spcPct val="95000"/>
        </a:lnSpc>
        <a:spcBef>
          <a:spcPct val="0"/>
        </a:spcBef>
        <a:spcAft>
          <a:spcPct val="0"/>
        </a:spcAft>
        <a:defRPr sz="2400" b="1">
          <a:solidFill>
            <a:schemeClr val="tx1"/>
          </a:solidFill>
          <a:latin typeface="Arial" charset="0"/>
        </a:defRPr>
      </a:lvl6pPr>
      <a:lvl7pPr marL="914400" algn="l" rtl="0" eaLnBrk="0" fontAlgn="base" hangingPunct="0">
        <a:lnSpc>
          <a:spcPct val="95000"/>
        </a:lnSpc>
        <a:spcBef>
          <a:spcPct val="0"/>
        </a:spcBef>
        <a:spcAft>
          <a:spcPct val="0"/>
        </a:spcAft>
        <a:defRPr sz="2400" b="1">
          <a:solidFill>
            <a:schemeClr val="tx1"/>
          </a:solidFill>
          <a:latin typeface="Arial" charset="0"/>
        </a:defRPr>
      </a:lvl7pPr>
      <a:lvl8pPr marL="1371600" algn="l" rtl="0" eaLnBrk="0" fontAlgn="base" hangingPunct="0">
        <a:lnSpc>
          <a:spcPct val="95000"/>
        </a:lnSpc>
        <a:spcBef>
          <a:spcPct val="0"/>
        </a:spcBef>
        <a:spcAft>
          <a:spcPct val="0"/>
        </a:spcAft>
        <a:defRPr sz="2400" b="1">
          <a:solidFill>
            <a:schemeClr val="tx1"/>
          </a:solidFill>
          <a:latin typeface="Arial" charset="0"/>
        </a:defRPr>
      </a:lvl8pPr>
      <a:lvl9pPr marL="1828800" algn="l" rtl="0" eaLnBrk="0" fontAlgn="base" hangingPunct="0">
        <a:lnSpc>
          <a:spcPct val="95000"/>
        </a:lnSpc>
        <a:spcBef>
          <a:spcPct val="0"/>
        </a:spcBef>
        <a:spcAft>
          <a:spcPct val="0"/>
        </a:spcAft>
        <a:defRPr sz="2400" b="1">
          <a:solidFill>
            <a:schemeClr val="tx1"/>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000" b="1">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A2E645C-F089-4D39-B0DB-1F27CE8D197E}"/>
              </a:ext>
            </a:extLst>
          </p:cNvPr>
          <p:cNvGraphicFramePr>
            <a:graphicFrameLocks noChangeAspect="1"/>
          </p:cNvGraphicFramePr>
          <p:nvPr userDrawn="1"/>
        </p:nvGraphicFramePr>
        <p:xfrm>
          <a:off x="1588" y="1588"/>
          <a:ext cx="1588" cy="1588"/>
        </p:xfrm>
        <a:graphic>
          <a:graphicData uri="http://schemas.openxmlformats.org/presentationml/2006/ole">
            <p:oleObj spid="_x0000_s1026" name="think-cell Slide" r:id="rId12" imgW="360" imgH="360" progId="">
              <p:embed/>
            </p:oleObj>
          </a:graphicData>
        </a:graphic>
      </p:graphicFrame>
      <p:sp>
        <p:nvSpPr>
          <p:cNvPr id="11267" name="Rectangle 5"/>
          <p:cNvSpPr>
            <a:spLocks noChangeArrowheads="1"/>
          </p:cNvSpPr>
          <p:nvPr/>
        </p:nvSpPr>
        <p:spPr bwMode="gray">
          <a:xfrm>
            <a:off x="2988386" y="6408738"/>
            <a:ext cx="6613055" cy="247650"/>
          </a:xfrm>
          <a:prstGeom prst="rect">
            <a:avLst/>
          </a:prstGeom>
          <a:noFill/>
          <a:ln w="9525">
            <a:noFill/>
            <a:miter lim="800000"/>
            <a:headEnd/>
            <a:tailEnd/>
          </a:ln>
        </p:spPr>
        <p:txBody>
          <a:bodyPr/>
          <a:lstStyle/>
          <a:p>
            <a:pPr algn="ctr"/>
            <a:endParaRPr lang="en-US" sz="1000" dirty="0"/>
          </a:p>
        </p:txBody>
      </p:sp>
      <p:sp>
        <p:nvSpPr>
          <p:cNvPr id="11268" name="Rectangle 7"/>
          <p:cNvSpPr>
            <a:spLocks noGrp="1" noChangeArrowheads="1"/>
          </p:cNvSpPr>
          <p:nvPr>
            <p:ph type="title"/>
          </p:nvPr>
        </p:nvSpPr>
        <p:spPr bwMode="gray">
          <a:xfrm>
            <a:off x="434442" y="327030"/>
            <a:ext cx="11782384"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Klicken Sie, um das Titelformat zu bearbeiten</a:t>
            </a:r>
          </a:p>
        </p:txBody>
      </p:sp>
      <p:sp>
        <p:nvSpPr>
          <p:cNvPr id="11270" name="Rectangle 12"/>
          <p:cNvSpPr>
            <a:spLocks noGrp="1" noChangeArrowheads="1"/>
          </p:cNvSpPr>
          <p:nvPr>
            <p:ph type="body" idx="1"/>
          </p:nvPr>
        </p:nvSpPr>
        <p:spPr bwMode="gray">
          <a:xfrm>
            <a:off x="434442" y="1614492"/>
            <a:ext cx="11782384"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p:txBody>
      </p:sp>
      <p:sp>
        <p:nvSpPr>
          <p:cNvPr id="11298" name="Rectangle 34"/>
          <p:cNvSpPr>
            <a:spLocks noChangeArrowheads="1"/>
          </p:cNvSpPr>
          <p:nvPr userDrawn="1"/>
        </p:nvSpPr>
        <p:spPr bwMode="auto">
          <a:xfrm>
            <a:off x="5" y="0"/>
            <a:ext cx="4614221" cy="8890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11300" name="Rectangle 36"/>
          <p:cNvSpPr>
            <a:spLocks noChangeArrowheads="1"/>
          </p:cNvSpPr>
          <p:nvPr userDrawn="1"/>
        </p:nvSpPr>
        <p:spPr bwMode="auto">
          <a:xfrm>
            <a:off x="6" y="-201145"/>
            <a:ext cx="181822" cy="402291"/>
          </a:xfrm>
          <a:prstGeom prst="rect">
            <a:avLst/>
          </a:prstGeom>
          <a:noFill/>
          <a:ln w="9525" cap="flat" cmpd="sng">
            <a:noFill/>
            <a:prstDash val="solid"/>
            <a:miter lim="800000"/>
            <a:headEnd/>
            <a:tailEnd/>
          </a:ln>
          <a:effectLst/>
        </p:spPr>
        <p:txBody>
          <a:bodyPr vert="horz" wrap="none" lIns="90000" tIns="46800" rIns="90000" bIns="46800" numCol="1" anchor="ctr" anchorCtr="0" compatLnSpc="1">
            <a:prstTxWarp prst="textNoShape">
              <a:avLst/>
            </a:prstTxWarp>
            <a:spAutoFit/>
          </a:bodyPr>
          <a:lstStyle/>
          <a:p>
            <a:endParaRPr lang="en-ZA" dirty="0"/>
          </a:p>
        </p:txBody>
      </p:sp>
      <p:pic>
        <p:nvPicPr>
          <p:cNvPr id="2" name="Picture 36"/>
          <p:cNvPicPr>
            <a:picLocks noChangeAspect="1" noChangeArrowheads="1"/>
          </p:cNvPicPr>
          <p:nvPr userDrawn="1"/>
        </p:nvPicPr>
        <p:blipFill>
          <a:blip r:embed="rId13" cstate="print"/>
          <a:srcRect/>
          <a:stretch>
            <a:fillRect/>
          </a:stretch>
        </p:blipFill>
        <p:spPr bwMode="auto">
          <a:xfrm>
            <a:off x="11337315" y="6030000"/>
            <a:ext cx="1300775" cy="828000"/>
          </a:xfrm>
          <a:prstGeom prst="rect">
            <a:avLst/>
          </a:prstGeom>
          <a:noFill/>
          <a:ln w="9525">
            <a:noFill/>
            <a:miter lim="800000"/>
            <a:headEnd/>
            <a:tailEnd/>
          </a:ln>
        </p:spPr>
      </p:pic>
      <p:sp>
        <p:nvSpPr>
          <p:cNvPr id="10" name="Rectangle 34"/>
          <p:cNvSpPr>
            <a:spLocks noChangeArrowheads="1"/>
          </p:cNvSpPr>
          <p:nvPr userDrawn="1"/>
        </p:nvSpPr>
        <p:spPr bwMode="auto">
          <a:xfrm rot="16200000">
            <a:off x="10907405" y="1934848"/>
            <a:ext cx="3338513" cy="122870"/>
          </a:xfrm>
          <a:prstGeom prst="rect">
            <a:avLst/>
          </a:prstGeom>
          <a:solidFill>
            <a:srgbClr val="F18B1B"/>
          </a:solidFill>
          <a:ln w="9525">
            <a:noFill/>
            <a:miter lim="800000"/>
            <a:headEnd/>
            <a:tailEnd/>
          </a:ln>
          <a:effectLst/>
        </p:spPr>
        <p:txBody>
          <a:bodyPr wrap="none" lIns="90000" tIns="46800" rIns="90000" bIns="46800" anchor="ctr"/>
          <a:lstStyle/>
          <a:p>
            <a:endParaRPr lang="en-ZA" dirty="0"/>
          </a:p>
        </p:txBody>
      </p:sp>
      <p:sp>
        <p:nvSpPr>
          <p:cNvPr id="3" name="Slide Number Placeholder 2"/>
          <p:cNvSpPr>
            <a:spLocks noGrp="1"/>
          </p:cNvSpPr>
          <p:nvPr>
            <p:ph type="sldNum" sz="quarter" idx="4"/>
          </p:nvPr>
        </p:nvSpPr>
        <p:spPr>
          <a:xfrm>
            <a:off x="9793297" y="0"/>
            <a:ext cx="2844800" cy="327030"/>
          </a:xfrm>
          <a:prstGeom prst="rect">
            <a:avLst/>
          </a:prstGeom>
        </p:spPr>
        <p:txBody>
          <a:bodyPr vert="horz" lIns="91440" tIns="45720" rIns="91440" bIns="45720" rtlCol="0" anchor="ctr"/>
          <a:lstStyle>
            <a:lvl1pPr algn="r">
              <a:defRPr sz="1200">
                <a:solidFill>
                  <a:schemeClr val="tx1">
                    <a:tint val="75000"/>
                  </a:schemeClr>
                </a:solidFill>
              </a:defRPr>
            </a:lvl1pPr>
          </a:lstStyle>
          <a:p>
            <a:fld id="{F667033A-4247-4ED4-8A21-2B1E2D674746}" type="slidenum">
              <a:rPr lang="en-ZA" smtClean="0"/>
              <a:pPr/>
              <a:t>‹#›</a:t>
            </a:fld>
            <a:endParaRPr lang="en-ZA" dirty="0"/>
          </a:p>
        </p:txBody>
      </p:sp>
    </p:spTree>
    <p:extLst>
      <p:ext uri="{BB962C8B-B14F-4D97-AF65-F5344CB8AC3E}">
        <p14:creationId xmlns:p14="http://schemas.microsoft.com/office/powerpoint/2010/main" xmlns="" val="668412565"/>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Lst>
  <p:hf hdr="0" ftr="0" dt="0"/>
  <p:txStyles>
    <p:titleStyle>
      <a:lvl1pPr algn="l" rtl="0" eaLnBrk="0" fontAlgn="base" hangingPunct="0">
        <a:lnSpc>
          <a:spcPct val="95000"/>
        </a:lnSpc>
        <a:spcBef>
          <a:spcPct val="0"/>
        </a:spcBef>
        <a:spcAft>
          <a:spcPct val="0"/>
        </a:spcAft>
        <a:defRPr sz="2400" b="1">
          <a:solidFill>
            <a:schemeClr val="tx1"/>
          </a:solidFill>
          <a:latin typeface="+mj-lt"/>
          <a:ea typeface="+mj-ea"/>
          <a:cs typeface="+mj-cs"/>
        </a:defRPr>
      </a:lvl1pPr>
      <a:lvl2pPr algn="l" rtl="0" eaLnBrk="0" fontAlgn="base" hangingPunct="0">
        <a:lnSpc>
          <a:spcPct val="95000"/>
        </a:lnSpc>
        <a:spcBef>
          <a:spcPct val="0"/>
        </a:spcBef>
        <a:spcAft>
          <a:spcPct val="0"/>
        </a:spcAft>
        <a:defRPr sz="2400" b="1">
          <a:solidFill>
            <a:schemeClr val="tx1"/>
          </a:solidFill>
          <a:latin typeface="Arial" charset="0"/>
        </a:defRPr>
      </a:lvl2pPr>
      <a:lvl3pPr algn="l" rtl="0" eaLnBrk="0" fontAlgn="base" hangingPunct="0">
        <a:lnSpc>
          <a:spcPct val="95000"/>
        </a:lnSpc>
        <a:spcBef>
          <a:spcPct val="0"/>
        </a:spcBef>
        <a:spcAft>
          <a:spcPct val="0"/>
        </a:spcAft>
        <a:defRPr sz="2400" b="1">
          <a:solidFill>
            <a:schemeClr val="tx1"/>
          </a:solidFill>
          <a:latin typeface="Arial" charset="0"/>
        </a:defRPr>
      </a:lvl3pPr>
      <a:lvl4pPr algn="l" rtl="0" eaLnBrk="0" fontAlgn="base" hangingPunct="0">
        <a:lnSpc>
          <a:spcPct val="95000"/>
        </a:lnSpc>
        <a:spcBef>
          <a:spcPct val="0"/>
        </a:spcBef>
        <a:spcAft>
          <a:spcPct val="0"/>
        </a:spcAft>
        <a:defRPr sz="2400" b="1">
          <a:solidFill>
            <a:schemeClr val="tx1"/>
          </a:solidFill>
          <a:latin typeface="Arial" charset="0"/>
        </a:defRPr>
      </a:lvl4pPr>
      <a:lvl5pPr algn="l" rtl="0" eaLnBrk="0" fontAlgn="base" hangingPunct="0">
        <a:lnSpc>
          <a:spcPct val="95000"/>
        </a:lnSpc>
        <a:spcBef>
          <a:spcPct val="0"/>
        </a:spcBef>
        <a:spcAft>
          <a:spcPct val="0"/>
        </a:spcAft>
        <a:defRPr sz="2400" b="1">
          <a:solidFill>
            <a:schemeClr val="tx1"/>
          </a:solidFill>
          <a:latin typeface="Arial" charset="0"/>
        </a:defRPr>
      </a:lvl5pPr>
      <a:lvl6pPr marL="457200" algn="l" rtl="0" eaLnBrk="0" fontAlgn="base" hangingPunct="0">
        <a:lnSpc>
          <a:spcPct val="95000"/>
        </a:lnSpc>
        <a:spcBef>
          <a:spcPct val="0"/>
        </a:spcBef>
        <a:spcAft>
          <a:spcPct val="0"/>
        </a:spcAft>
        <a:defRPr sz="2400" b="1">
          <a:solidFill>
            <a:schemeClr val="tx1"/>
          </a:solidFill>
          <a:latin typeface="Arial" charset="0"/>
        </a:defRPr>
      </a:lvl6pPr>
      <a:lvl7pPr marL="914400" algn="l" rtl="0" eaLnBrk="0" fontAlgn="base" hangingPunct="0">
        <a:lnSpc>
          <a:spcPct val="95000"/>
        </a:lnSpc>
        <a:spcBef>
          <a:spcPct val="0"/>
        </a:spcBef>
        <a:spcAft>
          <a:spcPct val="0"/>
        </a:spcAft>
        <a:defRPr sz="2400" b="1">
          <a:solidFill>
            <a:schemeClr val="tx1"/>
          </a:solidFill>
          <a:latin typeface="Arial" charset="0"/>
        </a:defRPr>
      </a:lvl7pPr>
      <a:lvl8pPr marL="1371600" algn="l" rtl="0" eaLnBrk="0" fontAlgn="base" hangingPunct="0">
        <a:lnSpc>
          <a:spcPct val="95000"/>
        </a:lnSpc>
        <a:spcBef>
          <a:spcPct val="0"/>
        </a:spcBef>
        <a:spcAft>
          <a:spcPct val="0"/>
        </a:spcAft>
        <a:defRPr sz="2400" b="1">
          <a:solidFill>
            <a:schemeClr val="tx1"/>
          </a:solidFill>
          <a:latin typeface="Arial" charset="0"/>
        </a:defRPr>
      </a:lvl8pPr>
      <a:lvl9pPr marL="1828800" algn="l" rtl="0" eaLnBrk="0" fontAlgn="base" hangingPunct="0">
        <a:lnSpc>
          <a:spcPct val="95000"/>
        </a:lnSpc>
        <a:spcBef>
          <a:spcPct val="0"/>
        </a:spcBef>
        <a:spcAft>
          <a:spcPct val="0"/>
        </a:spcAft>
        <a:defRPr sz="2400" b="1">
          <a:solidFill>
            <a:schemeClr val="tx1"/>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000" b="1">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customXml" Target="../ink/ink4.xml"/><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customXml" Target="../ink/ink1.xml"/><Relationship Id="rId1" Type="http://schemas.openxmlformats.org/officeDocument/2006/relationships/slideLayout" Target="../slideLayouts/slideLayout4.xml"/><Relationship Id="rId6" Type="http://schemas.openxmlformats.org/officeDocument/2006/relationships/customXml" Target="../ink/ink3.xml"/><Relationship Id="rId11" Type="http://schemas.openxmlformats.org/officeDocument/2006/relationships/image" Target="NULL"/><Relationship Id="rId5" Type="http://schemas.openxmlformats.org/officeDocument/2006/relationships/image" Target="NULL"/><Relationship Id="rId10" Type="http://schemas.openxmlformats.org/officeDocument/2006/relationships/customXml" Target="../ink/ink5.xml"/><Relationship Id="rId4" Type="http://schemas.openxmlformats.org/officeDocument/2006/relationships/customXml" Target="../ink/ink2.xml"/><Relationship Id="rId9" Type="http://schemas.openxmlformats.org/officeDocument/2006/relationships/image" Target="NUL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chart" Target="../charts/chart7.xml"/><Relationship Id="rId18" Type="http://schemas.openxmlformats.org/officeDocument/2006/relationships/chart" Target="../charts/chart12.xml"/><Relationship Id="rId3" Type="http://schemas.openxmlformats.org/officeDocument/2006/relationships/chart" Target="../charts/chart3.xml"/><Relationship Id="rId7" Type="http://schemas.openxmlformats.org/officeDocument/2006/relationships/image" Target="../media/image49.png"/><Relationship Id="rId12" Type="http://schemas.openxmlformats.org/officeDocument/2006/relationships/image" Target="../media/image52.png"/><Relationship Id="rId17" Type="http://schemas.openxmlformats.org/officeDocument/2006/relationships/chart" Target="../charts/chart11.xml"/><Relationship Id="rId2" Type="http://schemas.openxmlformats.org/officeDocument/2006/relationships/chart" Target="../charts/chart2.xml"/><Relationship Id="rId16" Type="http://schemas.openxmlformats.org/officeDocument/2006/relationships/chart" Target="../charts/chart10.xml"/><Relationship Id="rId1" Type="http://schemas.openxmlformats.org/officeDocument/2006/relationships/slideLayout" Target="../slideLayouts/slideLayout4.xml"/><Relationship Id="rId6" Type="http://schemas.openxmlformats.org/officeDocument/2006/relationships/image" Target="../media/image48.jpeg"/><Relationship Id="rId11" Type="http://schemas.openxmlformats.org/officeDocument/2006/relationships/chart" Target="../charts/chart6.xml"/><Relationship Id="rId5" Type="http://schemas.openxmlformats.org/officeDocument/2006/relationships/image" Target="../media/image47.jpeg"/><Relationship Id="rId15" Type="http://schemas.openxmlformats.org/officeDocument/2006/relationships/chart" Target="../charts/chart9.xml"/><Relationship Id="rId10" Type="http://schemas.openxmlformats.org/officeDocument/2006/relationships/image" Target="../media/image51.jpeg"/><Relationship Id="rId19" Type="http://schemas.openxmlformats.org/officeDocument/2006/relationships/chart" Target="../charts/chart13.xml"/><Relationship Id="rId4" Type="http://schemas.openxmlformats.org/officeDocument/2006/relationships/chart" Target="../charts/chart4.xml"/><Relationship Id="rId9" Type="http://schemas.openxmlformats.org/officeDocument/2006/relationships/chart" Target="../charts/chart5.xml"/><Relationship Id="rId14" Type="http://schemas.openxmlformats.org/officeDocument/2006/relationships/chart" Target="../charts/chart8.xml"/></Relationships>
</file>

<file path=ppt/slides/_rels/slide26.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5.svg"/><Relationship Id="rId18" Type="http://schemas.openxmlformats.org/officeDocument/2006/relationships/image" Target="../media/image24.png"/><Relationship Id="rId26" Type="http://schemas.openxmlformats.org/officeDocument/2006/relationships/image" Target="../media/image28.png"/><Relationship Id="rId3" Type="http://schemas.openxmlformats.org/officeDocument/2006/relationships/image" Target="../media/image15.png"/><Relationship Id="rId21" Type="http://schemas.openxmlformats.org/officeDocument/2006/relationships/image" Target="../media/image33.svg"/><Relationship Id="rId7" Type="http://schemas.openxmlformats.org/officeDocument/2006/relationships/image" Target="../media/image19.svg"/><Relationship Id="rId12" Type="http://schemas.openxmlformats.org/officeDocument/2006/relationships/image" Target="../media/image21.png"/><Relationship Id="rId17" Type="http://schemas.openxmlformats.org/officeDocument/2006/relationships/image" Target="../media/image29.svg"/><Relationship Id="rId25" Type="http://schemas.openxmlformats.org/officeDocument/2006/relationships/image" Target="../media/image37.svg"/><Relationship Id="rId2" Type="http://schemas.openxmlformats.org/officeDocument/2006/relationships/image" Target="../media/image14.png"/><Relationship Id="rId16" Type="http://schemas.openxmlformats.org/officeDocument/2006/relationships/image" Target="../media/image23.png"/><Relationship Id="rId20"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svg"/><Relationship Id="rId24" Type="http://schemas.openxmlformats.org/officeDocument/2006/relationships/image" Target="../media/image27.png"/><Relationship Id="rId5" Type="http://schemas.openxmlformats.org/officeDocument/2006/relationships/image" Target="../media/image17.png"/><Relationship Id="rId15" Type="http://schemas.openxmlformats.org/officeDocument/2006/relationships/image" Target="../media/image27.svg"/><Relationship Id="rId23" Type="http://schemas.openxmlformats.org/officeDocument/2006/relationships/image" Target="../media/image35.svg"/><Relationship Id="rId10" Type="http://schemas.openxmlformats.org/officeDocument/2006/relationships/image" Target="../media/image20.png"/><Relationship Id="rId19" Type="http://schemas.openxmlformats.org/officeDocument/2006/relationships/image" Target="../media/image31.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2.png"/><Relationship Id="rId22" Type="http://schemas.openxmlformats.org/officeDocument/2006/relationships/image" Target="../media/image26.png"/><Relationship Id="rId27" Type="http://schemas.openxmlformats.org/officeDocument/2006/relationships/image" Target="../media/image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44.svg"/><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42.sv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image" Target="../media/image32.png"/><Relationship Id="rId26" Type="http://schemas.openxmlformats.org/officeDocument/2006/relationships/image" Target="../media/image36.png"/><Relationship Id="rId3" Type="http://schemas.openxmlformats.org/officeDocument/2006/relationships/tags" Target="../tags/tag6.xml"/><Relationship Id="rId21" Type="http://schemas.openxmlformats.org/officeDocument/2006/relationships/image" Target="../media/image48.svg"/><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chart" Target="../charts/chart1.xml"/><Relationship Id="rId25" Type="http://schemas.openxmlformats.org/officeDocument/2006/relationships/image" Target="../media/image52.svg"/><Relationship Id="rId2" Type="http://schemas.openxmlformats.org/officeDocument/2006/relationships/tags" Target="../tags/tag5.xml"/><Relationship Id="rId16" Type="http://schemas.openxmlformats.org/officeDocument/2006/relationships/slideLayout" Target="../slideLayouts/slideLayout2.xml"/><Relationship Id="rId20" Type="http://schemas.openxmlformats.org/officeDocument/2006/relationships/image" Target="../media/image33.png"/><Relationship Id="rId29" Type="http://schemas.openxmlformats.org/officeDocument/2006/relationships/image" Target="../media/image56.sv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image" Target="../media/image35.png"/><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image" Target="../media/image50.svg"/><Relationship Id="rId28" Type="http://schemas.openxmlformats.org/officeDocument/2006/relationships/image" Target="../media/image37.png"/><Relationship Id="rId10" Type="http://schemas.openxmlformats.org/officeDocument/2006/relationships/tags" Target="../tags/tag13.xml"/><Relationship Id="rId19" Type="http://schemas.openxmlformats.org/officeDocument/2006/relationships/image" Target="../media/image46.svg"/><Relationship Id="rId31" Type="http://schemas.openxmlformats.org/officeDocument/2006/relationships/image" Target="../media/image58.sv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image" Target="../media/image34.png"/><Relationship Id="rId27" Type="http://schemas.openxmlformats.org/officeDocument/2006/relationships/image" Target="../media/image54.svg"/><Relationship Id="rId30" Type="http://schemas.openxmlformats.org/officeDocument/2006/relationships/image" Target="../media/image3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1692097-5246-0C41-B654-5C4BA6018450}"/>
              </a:ext>
            </a:extLst>
          </p:cNvPr>
          <p:cNvSpPr>
            <a:spLocks noGrp="1"/>
          </p:cNvSpPr>
          <p:nvPr>
            <p:ph type="title"/>
          </p:nvPr>
        </p:nvSpPr>
        <p:spPr>
          <a:xfrm>
            <a:off x="280248" y="220437"/>
            <a:ext cx="12179192" cy="2427934"/>
          </a:xfrm>
        </p:spPr>
        <p:txBody>
          <a:bodyPr>
            <a:normAutofit/>
          </a:bodyPr>
          <a:lstStyle/>
          <a:p>
            <a:r>
              <a:rPr lang="en-US" sz="4267" dirty="0"/>
              <a:t>Briefing by the CEF Group on their Annual Performance Plans for 2021/22.</a:t>
            </a:r>
            <a:br>
              <a:rPr lang="en-US" sz="4267" dirty="0"/>
            </a:br>
            <a:r>
              <a:rPr lang="en-US" sz="2400" dirty="0"/>
              <a:t>Presentation to the Portfolio Committee on Mineral Resources and Energy</a:t>
            </a:r>
            <a:r>
              <a:rPr lang="en-US" sz="4267" dirty="0"/>
              <a:t/>
            </a:r>
            <a:br>
              <a:rPr lang="en-US" sz="4267" dirty="0"/>
            </a:br>
            <a:endParaRPr lang="en-US" sz="2800" dirty="0">
              <a:solidFill>
                <a:srgbClr val="E96E09"/>
              </a:solidFill>
            </a:endParaRPr>
          </a:p>
        </p:txBody>
      </p:sp>
      <p:sp>
        <p:nvSpPr>
          <p:cNvPr id="3" name="Text Placeholder 2">
            <a:extLst>
              <a:ext uri="{FF2B5EF4-FFF2-40B4-BE49-F238E27FC236}">
                <a16:creationId xmlns:a16="http://schemas.microsoft.com/office/drawing/2014/main" xmlns="" id="{F9D1992B-C1C1-0842-843B-ECFA709DBE84}"/>
              </a:ext>
            </a:extLst>
          </p:cNvPr>
          <p:cNvSpPr>
            <a:spLocks noGrp="1"/>
          </p:cNvSpPr>
          <p:nvPr>
            <p:ph type="body" idx="1"/>
          </p:nvPr>
        </p:nvSpPr>
        <p:spPr>
          <a:xfrm>
            <a:off x="868869" y="2530618"/>
            <a:ext cx="10900351" cy="523764"/>
          </a:xfrm>
        </p:spPr>
        <p:txBody>
          <a:bodyPr>
            <a:noAutofit/>
          </a:bodyPr>
          <a:lstStyle/>
          <a:p>
            <a:r>
              <a:rPr lang="en-US" sz="3200" b="1" dirty="0"/>
              <a:t>February 2022</a:t>
            </a:r>
            <a:endParaRPr lang="en-US" sz="3200" dirty="0"/>
          </a:p>
        </p:txBody>
      </p:sp>
      <p:sp>
        <p:nvSpPr>
          <p:cNvPr id="4" name="Title 59"/>
          <p:cNvSpPr txBox="1">
            <a:spLocks/>
          </p:cNvSpPr>
          <p:nvPr/>
        </p:nvSpPr>
        <p:spPr>
          <a:xfrm>
            <a:off x="1442244" y="6257533"/>
            <a:ext cx="9855200" cy="463944"/>
          </a:xfrm>
          <a:prstGeom prst="rect">
            <a:avLst/>
          </a:prstGeom>
        </p:spPr>
        <p:txBody>
          <a:bodyPr>
            <a:noAutofit/>
          </a:bodyPr>
          <a:lstStyle>
            <a:lvl1pPr algn="l" defTabSz="914362" rtl="0" eaLnBrk="1" latinLnBrk="0" hangingPunct="1">
              <a:spcBef>
                <a:spcPct val="0"/>
              </a:spcBef>
              <a:buNone/>
              <a:defRPr sz="2400" kern="1200">
                <a:solidFill>
                  <a:schemeClr val="tx1">
                    <a:lumMod val="65000"/>
                    <a:lumOff val="35000"/>
                  </a:schemeClr>
                </a:solidFill>
                <a:latin typeface="+mj-lt"/>
                <a:ea typeface="+mj-ea"/>
                <a:cs typeface="+mj-cs"/>
              </a:defRPr>
            </a:lvl1pPr>
          </a:lstStyle>
          <a:p>
            <a:pPr algn="ctr" defTabSz="1219119" fontAlgn="auto">
              <a:spcAft>
                <a:spcPts val="0"/>
              </a:spcAft>
            </a:pPr>
            <a:r>
              <a:rPr lang="en-US" sz="2933" b="1" dirty="0">
                <a:solidFill>
                  <a:srgbClr val="4472C4">
                    <a:lumMod val="75000"/>
                  </a:srgbClr>
                </a:solidFill>
                <a:latin typeface="Arial" pitchFamily="34" charset="0"/>
                <a:cs typeface="Arial" pitchFamily="34" charset="0"/>
              </a:rPr>
              <a:t>Group Reset</a:t>
            </a:r>
          </a:p>
        </p:txBody>
      </p:sp>
    </p:spTree>
    <p:extLst>
      <p:ext uri="{BB962C8B-B14F-4D97-AF65-F5344CB8AC3E}">
        <p14:creationId xmlns:p14="http://schemas.microsoft.com/office/powerpoint/2010/main" xmlns="" val="18027904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58" name="Left-Right Arrow 4">
            <a:extLst>
              <a:ext uri="{FF2B5EF4-FFF2-40B4-BE49-F238E27FC236}">
                <a16:creationId xmlns:a16="http://schemas.microsoft.com/office/drawing/2014/main" xmlns="" id="{F02ABC6C-BA1B-4820-8BD5-3D77AD420A5D}"/>
              </a:ext>
            </a:extLst>
          </p:cNvPr>
          <p:cNvSpPr/>
          <p:nvPr/>
        </p:nvSpPr>
        <p:spPr>
          <a:xfrm>
            <a:off x="435580" y="896071"/>
            <a:ext cx="2880531" cy="1753578"/>
          </a:xfrm>
          <a:prstGeom prst="rect">
            <a:avLst/>
          </a:prstGeom>
          <a:solidFill>
            <a:sysClr val="window" lastClr="FFFFFF"/>
          </a:solidFill>
          <a:ln w="6350" cap="flat" cmpd="sng" algn="ctr">
            <a:solidFill>
              <a:sysClr val="window" lastClr="FFFFFF">
                <a:lumMod val="65000"/>
              </a:sysClr>
            </a:solidFill>
            <a:prstDash val="solid"/>
            <a:miter lim="800000"/>
          </a:ln>
          <a:effectLst>
            <a:outerShdw blurRad="50800" dist="25400" dir="16200000"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61" name="TextBox 60">
            <a:extLst>
              <a:ext uri="{FF2B5EF4-FFF2-40B4-BE49-F238E27FC236}">
                <a16:creationId xmlns:a16="http://schemas.microsoft.com/office/drawing/2014/main" xmlns="" id="{410BAA64-1850-4286-BDC1-0461D930D8CC}"/>
              </a:ext>
            </a:extLst>
          </p:cNvPr>
          <p:cNvSpPr txBox="1"/>
          <p:nvPr/>
        </p:nvSpPr>
        <p:spPr>
          <a:xfrm>
            <a:off x="575432" y="1545678"/>
            <a:ext cx="274067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Stabilising the CEF Group </a:t>
            </a:r>
            <a:r>
              <a:rPr kumimoji="0" lang="en-US" sz="15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improve long term commercial sustainability and strategic relevance</a:t>
            </a:r>
          </a:p>
        </p:txBody>
      </p:sp>
      <p:sp>
        <p:nvSpPr>
          <p:cNvPr id="53" name="Left-Right Arrow 4">
            <a:extLst>
              <a:ext uri="{FF2B5EF4-FFF2-40B4-BE49-F238E27FC236}">
                <a16:creationId xmlns:a16="http://schemas.microsoft.com/office/drawing/2014/main" xmlns="" id="{78E7308F-A9B6-433E-B050-D2E46CEC7F38}"/>
              </a:ext>
            </a:extLst>
          </p:cNvPr>
          <p:cNvSpPr/>
          <p:nvPr/>
        </p:nvSpPr>
        <p:spPr>
          <a:xfrm>
            <a:off x="3409284" y="896071"/>
            <a:ext cx="2880532" cy="1753578"/>
          </a:xfrm>
          <a:prstGeom prst="rect">
            <a:avLst/>
          </a:prstGeom>
          <a:solidFill>
            <a:sysClr val="window" lastClr="FFFFFF"/>
          </a:solidFill>
          <a:ln w="38100" cap="flat" cmpd="sng" algn="ctr">
            <a:solidFill>
              <a:srgbClr val="F18B1B"/>
            </a:solidFill>
            <a:prstDash val="solid"/>
            <a:miter lim="800000"/>
          </a:ln>
          <a:effectLst>
            <a:outerShdw blurRad="50800" dist="25400" dir="16200000"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6" name="TextBox 55">
            <a:extLst>
              <a:ext uri="{FF2B5EF4-FFF2-40B4-BE49-F238E27FC236}">
                <a16:creationId xmlns:a16="http://schemas.microsoft.com/office/drawing/2014/main" xmlns="" id="{9E7EB3FE-0AC6-4597-A037-0F1FDAE35CD2}"/>
              </a:ext>
            </a:extLst>
          </p:cNvPr>
          <p:cNvSpPr txBox="1"/>
          <p:nvPr/>
        </p:nvSpPr>
        <p:spPr>
          <a:xfrm>
            <a:off x="3409283" y="1555451"/>
            <a:ext cx="288053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Drive growth </a:t>
            </a:r>
            <a:r>
              <a:rPr kumimoji="0" lang="en-US" sz="15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increase Market Share  through diversification of Iincome streams &amp; product portfolio</a:t>
            </a:r>
          </a:p>
        </p:txBody>
      </p:sp>
      <p:sp>
        <p:nvSpPr>
          <p:cNvPr id="48" name="Left-Right Arrow 4">
            <a:extLst>
              <a:ext uri="{FF2B5EF4-FFF2-40B4-BE49-F238E27FC236}">
                <a16:creationId xmlns:a16="http://schemas.microsoft.com/office/drawing/2014/main" xmlns="" id="{CCB6E704-CA82-49E4-A254-E9BA72B0A603}"/>
              </a:ext>
            </a:extLst>
          </p:cNvPr>
          <p:cNvSpPr/>
          <p:nvPr/>
        </p:nvSpPr>
        <p:spPr>
          <a:xfrm>
            <a:off x="6382988" y="896071"/>
            <a:ext cx="2880531" cy="1753578"/>
          </a:xfrm>
          <a:prstGeom prst="rect">
            <a:avLst/>
          </a:prstGeom>
          <a:solidFill>
            <a:sysClr val="window" lastClr="FFFFFF"/>
          </a:solidFill>
          <a:ln w="6350" cap="flat" cmpd="sng" algn="ctr">
            <a:solidFill>
              <a:sysClr val="window" lastClr="FFFFFF">
                <a:lumMod val="65000"/>
              </a:sysClr>
            </a:solidFill>
            <a:prstDash val="solid"/>
            <a:miter lim="800000"/>
          </a:ln>
          <a:effectLst>
            <a:outerShdw blurRad="50800" dist="25400" dir="16200000"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1" name="TextBox 50">
            <a:extLst>
              <a:ext uri="{FF2B5EF4-FFF2-40B4-BE49-F238E27FC236}">
                <a16:creationId xmlns:a16="http://schemas.microsoft.com/office/drawing/2014/main" xmlns="" id="{91A91B55-876B-45C7-BF88-49BE2FD9CC48}"/>
              </a:ext>
            </a:extLst>
          </p:cNvPr>
          <p:cNvSpPr txBox="1"/>
          <p:nvPr/>
        </p:nvSpPr>
        <p:spPr>
          <a:xfrm>
            <a:off x="6429666" y="1564692"/>
            <a:ext cx="283385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Development of key Energy Infrastructure</a:t>
            </a:r>
            <a:r>
              <a:rPr kumimoji="0" lang="en-US" sz="15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grams in support of economic development &amp; growth</a:t>
            </a:r>
          </a:p>
        </p:txBody>
      </p:sp>
      <p:sp>
        <p:nvSpPr>
          <p:cNvPr id="43" name="Left-Right Arrow 4">
            <a:extLst>
              <a:ext uri="{FF2B5EF4-FFF2-40B4-BE49-F238E27FC236}">
                <a16:creationId xmlns:a16="http://schemas.microsoft.com/office/drawing/2014/main" xmlns="" id="{AB48DC2B-9432-496D-88E0-DEAB32AAE5A4}"/>
              </a:ext>
            </a:extLst>
          </p:cNvPr>
          <p:cNvSpPr/>
          <p:nvPr/>
        </p:nvSpPr>
        <p:spPr>
          <a:xfrm>
            <a:off x="9356693" y="896071"/>
            <a:ext cx="2880531" cy="1753578"/>
          </a:xfrm>
          <a:prstGeom prst="rect">
            <a:avLst/>
          </a:prstGeom>
          <a:solidFill>
            <a:sysClr val="window" lastClr="FFFFFF"/>
          </a:solidFill>
          <a:ln w="38100" cap="flat" cmpd="sng" algn="ctr">
            <a:solidFill>
              <a:srgbClr val="F18B1B"/>
            </a:solidFill>
            <a:prstDash val="solid"/>
            <a:miter lim="800000"/>
          </a:ln>
          <a:effectLst>
            <a:outerShdw blurRad="50800" dist="25400" dir="16200000"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45" name="Rounded Rectangle 4">
            <a:extLst>
              <a:ext uri="{FF2B5EF4-FFF2-40B4-BE49-F238E27FC236}">
                <a16:creationId xmlns:a16="http://schemas.microsoft.com/office/drawing/2014/main" xmlns="" id="{D935041D-DA4E-43BE-A029-19FA1DB2DCB2}"/>
              </a:ext>
            </a:extLst>
          </p:cNvPr>
          <p:cNvSpPr/>
          <p:nvPr/>
        </p:nvSpPr>
        <p:spPr>
          <a:xfrm flipH="1">
            <a:off x="-162369" y="5206650"/>
            <a:ext cx="454870" cy="548336"/>
          </a:xfrm>
          <a:custGeom>
            <a:avLst/>
            <a:gdLst>
              <a:gd name="connsiteX0" fmla="*/ 0 w 1250004"/>
              <a:gd name="connsiteY0" fmla="*/ 208338 h 1478604"/>
              <a:gd name="connsiteX1" fmla="*/ 208338 w 1250004"/>
              <a:gd name="connsiteY1" fmla="*/ 0 h 1478604"/>
              <a:gd name="connsiteX2" fmla="*/ 1041666 w 1250004"/>
              <a:gd name="connsiteY2" fmla="*/ 0 h 1478604"/>
              <a:gd name="connsiteX3" fmla="*/ 1250004 w 1250004"/>
              <a:gd name="connsiteY3" fmla="*/ 208338 h 1478604"/>
              <a:gd name="connsiteX4" fmla="*/ 1250004 w 1250004"/>
              <a:gd name="connsiteY4" fmla="*/ 1270266 h 1478604"/>
              <a:gd name="connsiteX5" fmla="*/ 1041666 w 1250004"/>
              <a:gd name="connsiteY5" fmla="*/ 1478604 h 1478604"/>
              <a:gd name="connsiteX6" fmla="*/ 208338 w 1250004"/>
              <a:gd name="connsiteY6" fmla="*/ 1478604 h 1478604"/>
              <a:gd name="connsiteX7" fmla="*/ 0 w 1250004"/>
              <a:gd name="connsiteY7" fmla="*/ 1270266 h 1478604"/>
              <a:gd name="connsiteX8" fmla="*/ 0 w 1250004"/>
              <a:gd name="connsiteY8" fmla="*/ 208338 h 1478604"/>
              <a:gd name="connsiteX0" fmla="*/ 0 w 1250004"/>
              <a:gd name="connsiteY0" fmla="*/ 208338 h 1478604"/>
              <a:gd name="connsiteX1" fmla="*/ 208338 w 1250004"/>
              <a:gd name="connsiteY1" fmla="*/ 0 h 1478604"/>
              <a:gd name="connsiteX2" fmla="*/ 1041666 w 1250004"/>
              <a:gd name="connsiteY2" fmla="*/ 0 h 1478604"/>
              <a:gd name="connsiteX3" fmla="*/ 1250004 w 1250004"/>
              <a:gd name="connsiteY3" fmla="*/ 208338 h 1478604"/>
              <a:gd name="connsiteX4" fmla="*/ 1250004 w 1250004"/>
              <a:gd name="connsiteY4" fmla="*/ 1270266 h 1478604"/>
              <a:gd name="connsiteX5" fmla="*/ 1041666 w 1250004"/>
              <a:gd name="connsiteY5" fmla="*/ 1478604 h 1478604"/>
              <a:gd name="connsiteX6" fmla="*/ 208338 w 1250004"/>
              <a:gd name="connsiteY6" fmla="*/ 1478604 h 1478604"/>
              <a:gd name="connsiteX7" fmla="*/ 0 w 1250004"/>
              <a:gd name="connsiteY7" fmla="*/ 1027074 h 1478604"/>
              <a:gd name="connsiteX8" fmla="*/ 0 w 1250004"/>
              <a:gd name="connsiteY8" fmla="*/ 208338 h 1478604"/>
              <a:gd name="connsiteX0" fmla="*/ 0 w 1250004"/>
              <a:gd name="connsiteY0" fmla="*/ 208338 h 1546697"/>
              <a:gd name="connsiteX1" fmla="*/ 208338 w 1250004"/>
              <a:gd name="connsiteY1" fmla="*/ 0 h 1546697"/>
              <a:gd name="connsiteX2" fmla="*/ 1041666 w 1250004"/>
              <a:gd name="connsiteY2" fmla="*/ 0 h 1546697"/>
              <a:gd name="connsiteX3" fmla="*/ 1250004 w 1250004"/>
              <a:gd name="connsiteY3" fmla="*/ 208338 h 1546697"/>
              <a:gd name="connsiteX4" fmla="*/ 1250004 w 1250004"/>
              <a:gd name="connsiteY4" fmla="*/ 1270266 h 1546697"/>
              <a:gd name="connsiteX5" fmla="*/ 1041666 w 1250004"/>
              <a:gd name="connsiteY5" fmla="*/ 1478604 h 1546697"/>
              <a:gd name="connsiteX6" fmla="*/ 436938 w 1250004"/>
              <a:gd name="connsiteY6" fmla="*/ 1546697 h 1546697"/>
              <a:gd name="connsiteX7" fmla="*/ 0 w 1250004"/>
              <a:gd name="connsiteY7" fmla="*/ 1027074 h 1546697"/>
              <a:gd name="connsiteX8" fmla="*/ 0 w 1250004"/>
              <a:gd name="connsiteY8" fmla="*/ 208338 h 1546697"/>
              <a:gd name="connsiteX0" fmla="*/ 0 w 1250004"/>
              <a:gd name="connsiteY0" fmla="*/ 208338 h 1546697"/>
              <a:gd name="connsiteX1" fmla="*/ 208338 w 1250004"/>
              <a:gd name="connsiteY1" fmla="*/ 0 h 1546697"/>
              <a:gd name="connsiteX2" fmla="*/ 1041666 w 1250004"/>
              <a:gd name="connsiteY2" fmla="*/ 0 h 1546697"/>
              <a:gd name="connsiteX3" fmla="*/ 1250004 w 1250004"/>
              <a:gd name="connsiteY3" fmla="*/ 208338 h 1546697"/>
              <a:gd name="connsiteX4" fmla="*/ 1250004 w 1250004"/>
              <a:gd name="connsiteY4" fmla="*/ 1270266 h 1546697"/>
              <a:gd name="connsiteX5" fmla="*/ 1041666 w 1250004"/>
              <a:gd name="connsiteY5" fmla="*/ 1478604 h 1546697"/>
              <a:gd name="connsiteX6" fmla="*/ 436938 w 1250004"/>
              <a:gd name="connsiteY6" fmla="*/ 1546697 h 1546697"/>
              <a:gd name="connsiteX7" fmla="*/ 0 w 1250004"/>
              <a:gd name="connsiteY7" fmla="*/ 1027074 h 1546697"/>
              <a:gd name="connsiteX8" fmla="*/ 0 w 1250004"/>
              <a:gd name="connsiteY8" fmla="*/ 208338 h 1546697"/>
              <a:gd name="connsiteX0" fmla="*/ 0 w 1250004"/>
              <a:gd name="connsiteY0" fmla="*/ 208338 h 1546697"/>
              <a:gd name="connsiteX1" fmla="*/ 208338 w 1250004"/>
              <a:gd name="connsiteY1" fmla="*/ 0 h 1546697"/>
              <a:gd name="connsiteX2" fmla="*/ 1041666 w 1250004"/>
              <a:gd name="connsiteY2" fmla="*/ 0 h 1546697"/>
              <a:gd name="connsiteX3" fmla="*/ 1250004 w 1250004"/>
              <a:gd name="connsiteY3" fmla="*/ 208338 h 1546697"/>
              <a:gd name="connsiteX4" fmla="*/ 1041666 w 1250004"/>
              <a:gd name="connsiteY4" fmla="*/ 1478604 h 1546697"/>
              <a:gd name="connsiteX5" fmla="*/ 436938 w 1250004"/>
              <a:gd name="connsiteY5" fmla="*/ 1546697 h 1546697"/>
              <a:gd name="connsiteX6" fmla="*/ 0 w 1250004"/>
              <a:gd name="connsiteY6" fmla="*/ 1027074 h 1546697"/>
              <a:gd name="connsiteX7" fmla="*/ 0 w 1250004"/>
              <a:gd name="connsiteY7" fmla="*/ 208338 h 1546697"/>
              <a:gd name="connsiteX0" fmla="*/ 0 w 1250004"/>
              <a:gd name="connsiteY0" fmla="*/ 208338 h 1546697"/>
              <a:gd name="connsiteX1" fmla="*/ 208338 w 1250004"/>
              <a:gd name="connsiteY1" fmla="*/ 0 h 1546697"/>
              <a:gd name="connsiteX2" fmla="*/ 1041666 w 1250004"/>
              <a:gd name="connsiteY2" fmla="*/ 0 h 1546697"/>
              <a:gd name="connsiteX3" fmla="*/ 1250004 w 1250004"/>
              <a:gd name="connsiteY3" fmla="*/ 208338 h 1546697"/>
              <a:gd name="connsiteX4" fmla="*/ 997892 w 1250004"/>
              <a:gd name="connsiteY4" fmla="*/ 1084634 h 1546697"/>
              <a:gd name="connsiteX5" fmla="*/ 436938 w 1250004"/>
              <a:gd name="connsiteY5" fmla="*/ 1546697 h 1546697"/>
              <a:gd name="connsiteX6" fmla="*/ 0 w 1250004"/>
              <a:gd name="connsiteY6" fmla="*/ 1027074 h 1546697"/>
              <a:gd name="connsiteX7" fmla="*/ 0 w 1250004"/>
              <a:gd name="connsiteY7" fmla="*/ 208338 h 1546697"/>
              <a:gd name="connsiteX0" fmla="*/ 0 w 1250004"/>
              <a:gd name="connsiteY0" fmla="*/ 208338 h 1546697"/>
              <a:gd name="connsiteX1" fmla="*/ 208338 w 1250004"/>
              <a:gd name="connsiteY1" fmla="*/ 0 h 1546697"/>
              <a:gd name="connsiteX2" fmla="*/ 1041666 w 1250004"/>
              <a:gd name="connsiteY2" fmla="*/ 0 h 1546697"/>
              <a:gd name="connsiteX3" fmla="*/ 1250004 w 1250004"/>
              <a:gd name="connsiteY3" fmla="*/ 208338 h 1546697"/>
              <a:gd name="connsiteX4" fmla="*/ 1119488 w 1250004"/>
              <a:gd name="connsiteY4" fmla="*/ 1293779 h 1546697"/>
              <a:gd name="connsiteX5" fmla="*/ 436938 w 1250004"/>
              <a:gd name="connsiteY5" fmla="*/ 1546697 h 1546697"/>
              <a:gd name="connsiteX6" fmla="*/ 0 w 1250004"/>
              <a:gd name="connsiteY6" fmla="*/ 1027074 h 1546697"/>
              <a:gd name="connsiteX7" fmla="*/ 0 w 1250004"/>
              <a:gd name="connsiteY7" fmla="*/ 208338 h 1546697"/>
              <a:gd name="connsiteX0" fmla="*/ 0 w 1250004"/>
              <a:gd name="connsiteY0" fmla="*/ 208338 h 1546697"/>
              <a:gd name="connsiteX1" fmla="*/ 208338 w 1250004"/>
              <a:gd name="connsiteY1" fmla="*/ 0 h 1546697"/>
              <a:gd name="connsiteX2" fmla="*/ 1041666 w 1250004"/>
              <a:gd name="connsiteY2" fmla="*/ 0 h 1546697"/>
              <a:gd name="connsiteX3" fmla="*/ 1250004 w 1250004"/>
              <a:gd name="connsiteY3" fmla="*/ 208338 h 1546697"/>
              <a:gd name="connsiteX4" fmla="*/ 1119488 w 1250004"/>
              <a:gd name="connsiteY4" fmla="*/ 1293779 h 1546697"/>
              <a:gd name="connsiteX5" fmla="*/ 436938 w 1250004"/>
              <a:gd name="connsiteY5" fmla="*/ 1546697 h 1546697"/>
              <a:gd name="connsiteX6" fmla="*/ 0 w 1250004"/>
              <a:gd name="connsiteY6" fmla="*/ 1027074 h 1546697"/>
              <a:gd name="connsiteX7" fmla="*/ 0 w 1250004"/>
              <a:gd name="connsiteY7" fmla="*/ 208338 h 1546697"/>
              <a:gd name="connsiteX0" fmla="*/ 0 w 1250004"/>
              <a:gd name="connsiteY0" fmla="*/ 208338 h 1561896"/>
              <a:gd name="connsiteX1" fmla="*/ 208338 w 1250004"/>
              <a:gd name="connsiteY1" fmla="*/ 0 h 1561896"/>
              <a:gd name="connsiteX2" fmla="*/ 1041666 w 1250004"/>
              <a:gd name="connsiteY2" fmla="*/ 0 h 1561896"/>
              <a:gd name="connsiteX3" fmla="*/ 1250004 w 1250004"/>
              <a:gd name="connsiteY3" fmla="*/ 208338 h 1561896"/>
              <a:gd name="connsiteX4" fmla="*/ 1119488 w 1250004"/>
              <a:gd name="connsiteY4" fmla="*/ 1293779 h 1561896"/>
              <a:gd name="connsiteX5" fmla="*/ 436938 w 1250004"/>
              <a:gd name="connsiteY5" fmla="*/ 1546697 h 1561896"/>
              <a:gd name="connsiteX6" fmla="*/ 0 w 1250004"/>
              <a:gd name="connsiteY6" fmla="*/ 1027074 h 1561896"/>
              <a:gd name="connsiteX7" fmla="*/ 0 w 1250004"/>
              <a:gd name="connsiteY7" fmla="*/ 208338 h 1561896"/>
              <a:gd name="connsiteX0" fmla="*/ 0 w 1634247"/>
              <a:gd name="connsiteY0" fmla="*/ 208338 h 1561896"/>
              <a:gd name="connsiteX1" fmla="*/ 208338 w 1634247"/>
              <a:gd name="connsiteY1" fmla="*/ 0 h 1561896"/>
              <a:gd name="connsiteX2" fmla="*/ 1041666 w 1634247"/>
              <a:gd name="connsiteY2" fmla="*/ 0 h 1561896"/>
              <a:gd name="connsiteX3" fmla="*/ 1634247 w 1634247"/>
              <a:gd name="connsiteY3" fmla="*/ 539078 h 1561896"/>
              <a:gd name="connsiteX4" fmla="*/ 1119488 w 1634247"/>
              <a:gd name="connsiteY4" fmla="*/ 1293779 h 1561896"/>
              <a:gd name="connsiteX5" fmla="*/ 436938 w 1634247"/>
              <a:gd name="connsiteY5" fmla="*/ 1546697 h 1561896"/>
              <a:gd name="connsiteX6" fmla="*/ 0 w 1634247"/>
              <a:gd name="connsiteY6" fmla="*/ 1027074 h 1561896"/>
              <a:gd name="connsiteX7" fmla="*/ 0 w 1634247"/>
              <a:gd name="connsiteY7" fmla="*/ 208338 h 1561896"/>
              <a:gd name="connsiteX0" fmla="*/ 0 w 1634247"/>
              <a:gd name="connsiteY0" fmla="*/ 208338 h 1561896"/>
              <a:gd name="connsiteX1" fmla="*/ 208338 w 1634247"/>
              <a:gd name="connsiteY1" fmla="*/ 0 h 1561896"/>
              <a:gd name="connsiteX2" fmla="*/ 1284857 w 1634247"/>
              <a:gd name="connsiteY2" fmla="*/ 559341 h 1561896"/>
              <a:gd name="connsiteX3" fmla="*/ 1634247 w 1634247"/>
              <a:gd name="connsiteY3" fmla="*/ 539078 h 1561896"/>
              <a:gd name="connsiteX4" fmla="*/ 1119488 w 1634247"/>
              <a:gd name="connsiteY4" fmla="*/ 1293779 h 1561896"/>
              <a:gd name="connsiteX5" fmla="*/ 436938 w 1634247"/>
              <a:gd name="connsiteY5" fmla="*/ 1546697 h 1561896"/>
              <a:gd name="connsiteX6" fmla="*/ 0 w 1634247"/>
              <a:gd name="connsiteY6" fmla="*/ 1027074 h 1561896"/>
              <a:gd name="connsiteX7" fmla="*/ 0 w 1634247"/>
              <a:gd name="connsiteY7" fmla="*/ 208338 h 1561896"/>
              <a:gd name="connsiteX0" fmla="*/ 0 w 1634247"/>
              <a:gd name="connsiteY0" fmla="*/ 208338 h 1561896"/>
              <a:gd name="connsiteX1" fmla="*/ 208338 w 1634247"/>
              <a:gd name="connsiteY1" fmla="*/ 0 h 1561896"/>
              <a:gd name="connsiteX2" fmla="*/ 1284857 w 1634247"/>
              <a:gd name="connsiteY2" fmla="*/ 559341 h 1561896"/>
              <a:gd name="connsiteX3" fmla="*/ 1634247 w 1634247"/>
              <a:gd name="connsiteY3" fmla="*/ 539078 h 1561896"/>
              <a:gd name="connsiteX4" fmla="*/ 1119488 w 1634247"/>
              <a:gd name="connsiteY4" fmla="*/ 1293779 h 1561896"/>
              <a:gd name="connsiteX5" fmla="*/ 436938 w 1634247"/>
              <a:gd name="connsiteY5" fmla="*/ 1546697 h 1561896"/>
              <a:gd name="connsiteX6" fmla="*/ 0 w 1634247"/>
              <a:gd name="connsiteY6" fmla="*/ 1027074 h 1561896"/>
              <a:gd name="connsiteX7" fmla="*/ 0 w 1634247"/>
              <a:gd name="connsiteY7" fmla="*/ 208338 h 1561896"/>
              <a:gd name="connsiteX0" fmla="*/ 0 w 1656746"/>
              <a:gd name="connsiteY0" fmla="*/ 208338 h 1561896"/>
              <a:gd name="connsiteX1" fmla="*/ 208338 w 1656746"/>
              <a:gd name="connsiteY1" fmla="*/ 0 h 1561896"/>
              <a:gd name="connsiteX2" fmla="*/ 1284857 w 1656746"/>
              <a:gd name="connsiteY2" fmla="*/ 559341 h 1561896"/>
              <a:gd name="connsiteX3" fmla="*/ 1634247 w 1656746"/>
              <a:gd name="connsiteY3" fmla="*/ 539078 h 1561896"/>
              <a:gd name="connsiteX4" fmla="*/ 1119488 w 1656746"/>
              <a:gd name="connsiteY4" fmla="*/ 1293779 h 1561896"/>
              <a:gd name="connsiteX5" fmla="*/ 436938 w 1656746"/>
              <a:gd name="connsiteY5" fmla="*/ 1546697 h 1561896"/>
              <a:gd name="connsiteX6" fmla="*/ 0 w 1656746"/>
              <a:gd name="connsiteY6" fmla="*/ 1027074 h 1561896"/>
              <a:gd name="connsiteX7" fmla="*/ 0 w 1656746"/>
              <a:gd name="connsiteY7" fmla="*/ 208338 h 1561896"/>
              <a:gd name="connsiteX0" fmla="*/ 0 w 1664054"/>
              <a:gd name="connsiteY0" fmla="*/ 208338 h 1561896"/>
              <a:gd name="connsiteX1" fmla="*/ 208338 w 1664054"/>
              <a:gd name="connsiteY1" fmla="*/ 0 h 1561896"/>
              <a:gd name="connsiteX2" fmla="*/ 1284857 w 1664054"/>
              <a:gd name="connsiteY2" fmla="*/ 559341 h 1561896"/>
              <a:gd name="connsiteX3" fmla="*/ 1634247 w 1664054"/>
              <a:gd name="connsiteY3" fmla="*/ 539078 h 1561896"/>
              <a:gd name="connsiteX4" fmla="*/ 1119488 w 1664054"/>
              <a:gd name="connsiteY4" fmla="*/ 1293779 h 1561896"/>
              <a:gd name="connsiteX5" fmla="*/ 436938 w 1664054"/>
              <a:gd name="connsiteY5" fmla="*/ 1546697 h 1561896"/>
              <a:gd name="connsiteX6" fmla="*/ 0 w 1664054"/>
              <a:gd name="connsiteY6" fmla="*/ 1027074 h 1561896"/>
              <a:gd name="connsiteX7" fmla="*/ 0 w 1664054"/>
              <a:gd name="connsiteY7" fmla="*/ 208338 h 1561896"/>
              <a:gd name="connsiteX0" fmla="*/ 0 w 1664054"/>
              <a:gd name="connsiteY0" fmla="*/ 208338 h 1561896"/>
              <a:gd name="connsiteX1" fmla="*/ 208338 w 1664054"/>
              <a:gd name="connsiteY1" fmla="*/ 0 h 1561896"/>
              <a:gd name="connsiteX2" fmla="*/ 1162454 w 1664054"/>
              <a:gd name="connsiteY2" fmla="*/ 496110 h 1561896"/>
              <a:gd name="connsiteX3" fmla="*/ 1284857 w 1664054"/>
              <a:gd name="connsiteY3" fmla="*/ 559341 h 1561896"/>
              <a:gd name="connsiteX4" fmla="*/ 1634247 w 1664054"/>
              <a:gd name="connsiteY4" fmla="*/ 539078 h 1561896"/>
              <a:gd name="connsiteX5" fmla="*/ 1119488 w 1664054"/>
              <a:gd name="connsiteY5" fmla="*/ 1293779 h 1561896"/>
              <a:gd name="connsiteX6" fmla="*/ 436938 w 1664054"/>
              <a:gd name="connsiteY6" fmla="*/ 1546697 h 1561896"/>
              <a:gd name="connsiteX7" fmla="*/ 0 w 1664054"/>
              <a:gd name="connsiteY7" fmla="*/ 1027074 h 1561896"/>
              <a:gd name="connsiteX8" fmla="*/ 0 w 1664054"/>
              <a:gd name="connsiteY8" fmla="*/ 208338 h 1561896"/>
              <a:gd name="connsiteX0" fmla="*/ 0 w 1664054"/>
              <a:gd name="connsiteY0" fmla="*/ 208338 h 1561896"/>
              <a:gd name="connsiteX1" fmla="*/ 208338 w 1664054"/>
              <a:gd name="connsiteY1" fmla="*/ 0 h 1561896"/>
              <a:gd name="connsiteX2" fmla="*/ 1230548 w 1664054"/>
              <a:gd name="connsiteY2" fmla="*/ 510702 h 1561896"/>
              <a:gd name="connsiteX3" fmla="*/ 1284857 w 1664054"/>
              <a:gd name="connsiteY3" fmla="*/ 559341 h 1561896"/>
              <a:gd name="connsiteX4" fmla="*/ 1634247 w 1664054"/>
              <a:gd name="connsiteY4" fmla="*/ 539078 h 1561896"/>
              <a:gd name="connsiteX5" fmla="*/ 1119488 w 1664054"/>
              <a:gd name="connsiteY5" fmla="*/ 1293779 h 1561896"/>
              <a:gd name="connsiteX6" fmla="*/ 436938 w 1664054"/>
              <a:gd name="connsiteY6" fmla="*/ 1546697 h 1561896"/>
              <a:gd name="connsiteX7" fmla="*/ 0 w 1664054"/>
              <a:gd name="connsiteY7" fmla="*/ 1027074 h 1561896"/>
              <a:gd name="connsiteX8" fmla="*/ 0 w 1664054"/>
              <a:gd name="connsiteY8" fmla="*/ 208338 h 1561896"/>
              <a:gd name="connsiteX0" fmla="*/ 0 w 1664054"/>
              <a:gd name="connsiteY0" fmla="*/ 208338 h 1561896"/>
              <a:gd name="connsiteX1" fmla="*/ 208338 w 1664054"/>
              <a:gd name="connsiteY1" fmla="*/ 0 h 1561896"/>
              <a:gd name="connsiteX2" fmla="*/ 826850 w 1664054"/>
              <a:gd name="connsiteY2" fmla="*/ 306420 h 1561896"/>
              <a:gd name="connsiteX3" fmla="*/ 1230548 w 1664054"/>
              <a:gd name="connsiteY3" fmla="*/ 510702 h 1561896"/>
              <a:gd name="connsiteX4" fmla="*/ 1284857 w 1664054"/>
              <a:gd name="connsiteY4" fmla="*/ 559341 h 1561896"/>
              <a:gd name="connsiteX5" fmla="*/ 1634247 w 1664054"/>
              <a:gd name="connsiteY5" fmla="*/ 539078 h 1561896"/>
              <a:gd name="connsiteX6" fmla="*/ 1119488 w 1664054"/>
              <a:gd name="connsiteY6" fmla="*/ 1293779 h 1561896"/>
              <a:gd name="connsiteX7" fmla="*/ 436938 w 1664054"/>
              <a:gd name="connsiteY7" fmla="*/ 1546697 h 1561896"/>
              <a:gd name="connsiteX8" fmla="*/ 0 w 1664054"/>
              <a:gd name="connsiteY8" fmla="*/ 1027074 h 1561896"/>
              <a:gd name="connsiteX9" fmla="*/ 0 w 1664054"/>
              <a:gd name="connsiteY9" fmla="*/ 208338 h 1561896"/>
              <a:gd name="connsiteX0" fmla="*/ 0 w 1664054"/>
              <a:gd name="connsiteY0" fmla="*/ 281297 h 1634855"/>
              <a:gd name="connsiteX1" fmla="*/ 208338 w 1664054"/>
              <a:gd name="connsiteY1" fmla="*/ 72959 h 1634855"/>
              <a:gd name="connsiteX2" fmla="*/ 1215956 w 1664054"/>
              <a:gd name="connsiteY2" fmla="*/ 0 h 1634855"/>
              <a:gd name="connsiteX3" fmla="*/ 1230548 w 1664054"/>
              <a:gd name="connsiteY3" fmla="*/ 583661 h 1634855"/>
              <a:gd name="connsiteX4" fmla="*/ 1284857 w 1664054"/>
              <a:gd name="connsiteY4" fmla="*/ 632300 h 1634855"/>
              <a:gd name="connsiteX5" fmla="*/ 1634247 w 1664054"/>
              <a:gd name="connsiteY5" fmla="*/ 612037 h 1634855"/>
              <a:gd name="connsiteX6" fmla="*/ 1119488 w 1664054"/>
              <a:gd name="connsiteY6" fmla="*/ 1366738 h 1634855"/>
              <a:gd name="connsiteX7" fmla="*/ 436938 w 1664054"/>
              <a:gd name="connsiteY7" fmla="*/ 1619656 h 1634855"/>
              <a:gd name="connsiteX8" fmla="*/ 0 w 1664054"/>
              <a:gd name="connsiteY8" fmla="*/ 1100033 h 1634855"/>
              <a:gd name="connsiteX9" fmla="*/ 0 w 1664054"/>
              <a:gd name="connsiteY9" fmla="*/ 281297 h 1634855"/>
              <a:gd name="connsiteX0" fmla="*/ 0 w 1664054"/>
              <a:gd name="connsiteY0" fmla="*/ 281297 h 1634855"/>
              <a:gd name="connsiteX1" fmla="*/ 208338 w 1664054"/>
              <a:gd name="connsiteY1" fmla="*/ 72959 h 1634855"/>
              <a:gd name="connsiteX2" fmla="*/ 1230548 w 1664054"/>
              <a:gd name="connsiteY2" fmla="*/ 0 h 1634855"/>
              <a:gd name="connsiteX3" fmla="*/ 1230548 w 1664054"/>
              <a:gd name="connsiteY3" fmla="*/ 583661 h 1634855"/>
              <a:gd name="connsiteX4" fmla="*/ 1284857 w 1664054"/>
              <a:gd name="connsiteY4" fmla="*/ 632300 h 1634855"/>
              <a:gd name="connsiteX5" fmla="*/ 1634247 w 1664054"/>
              <a:gd name="connsiteY5" fmla="*/ 612037 h 1634855"/>
              <a:gd name="connsiteX6" fmla="*/ 1119488 w 1664054"/>
              <a:gd name="connsiteY6" fmla="*/ 1366738 h 1634855"/>
              <a:gd name="connsiteX7" fmla="*/ 436938 w 1664054"/>
              <a:gd name="connsiteY7" fmla="*/ 1619656 h 1634855"/>
              <a:gd name="connsiteX8" fmla="*/ 0 w 1664054"/>
              <a:gd name="connsiteY8" fmla="*/ 1100033 h 1634855"/>
              <a:gd name="connsiteX9" fmla="*/ 0 w 1664054"/>
              <a:gd name="connsiteY9" fmla="*/ 281297 h 1634855"/>
              <a:gd name="connsiteX0" fmla="*/ 0 w 1664054"/>
              <a:gd name="connsiteY0" fmla="*/ 281297 h 1634855"/>
              <a:gd name="connsiteX1" fmla="*/ 208338 w 1664054"/>
              <a:gd name="connsiteY1" fmla="*/ 72959 h 1634855"/>
              <a:gd name="connsiteX2" fmla="*/ 826850 w 1664054"/>
              <a:gd name="connsiteY2" fmla="*/ 19457 h 1634855"/>
              <a:gd name="connsiteX3" fmla="*/ 1230548 w 1664054"/>
              <a:gd name="connsiteY3" fmla="*/ 0 h 1634855"/>
              <a:gd name="connsiteX4" fmla="*/ 1230548 w 1664054"/>
              <a:gd name="connsiteY4" fmla="*/ 583661 h 1634855"/>
              <a:gd name="connsiteX5" fmla="*/ 1284857 w 1664054"/>
              <a:gd name="connsiteY5" fmla="*/ 632300 h 1634855"/>
              <a:gd name="connsiteX6" fmla="*/ 1634247 w 1664054"/>
              <a:gd name="connsiteY6" fmla="*/ 612037 h 1634855"/>
              <a:gd name="connsiteX7" fmla="*/ 1119488 w 1664054"/>
              <a:gd name="connsiteY7" fmla="*/ 1366738 h 1634855"/>
              <a:gd name="connsiteX8" fmla="*/ 436938 w 1664054"/>
              <a:gd name="connsiteY8" fmla="*/ 1619656 h 1634855"/>
              <a:gd name="connsiteX9" fmla="*/ 0 w 1664054"/>
              <a:gd name="connsiteY9" fmla="*/ 1100033 h 1634855"/>
              <a:gd name="connsiteX10" fmla="*/ 0 w 1664054"/>
              <a:gd name="connsiteY10" fmla="*/ 281297 h 1634855"/>
              <a:gd name="connsiteX0" fmla="*/ 0 w 1664054"/>
              <a:gd name="connsiteY0" fmla="*/ 281297 h 1634855"/>
              <a:gd name="connsiteX1" fmla="*/ 208338 w 1664054"/>
              <a:gd name="connsiteY1" fmla="*/ 72959 h 1634855"/>
              <a:gd name="connsiteX2" fmla="*/ 928991 w 1664054"/>
              <a:gd name="connsiteY2" fmla="*/ 29185 h 1634855"/>
              <a:gd name="connsiteX3" fmla="*/ 1230548 w 1664054"/>
              <a:gd name="connsiteY3" fmla="*/ 0 h 1634855"/>
              <a:gd name="connsiteX4" fmla="*/ 1230548 w 1664054"/>
              <a:gd name="connsiteY4" fmla="*/ 583661 h 1634855"/>
              <a:gd name="connsiteX5" fmla="*/ 1284857 w 1664054"/>
              <a:gd name="connsiteY5" fmla="*/ 632300 h 1634855"/>
              <a:gd name="connsiteX6" fmla="*/ 1634247 w 1664054"/>
              <a:gd name="connsiteY6" fmla="*/ 612037 h 1634855"/>
              <a:gd name="connsiteX7" fmla="*/ 1119488 w 1664054"/>
              <a:gd name="connsiteY7" fmla="*/ 1366738 h 1634855"/>
              <a:gd name="connsiteX8" fmla="*/ 436938 w 1664054"/>
              <a:gd name="connsiteY8" fmla="*/ 1619656 h 1634855"/>
              <a:gd name="connsiteX9" fmla="*/ 0 w 1664054"/>
              <a:gd name="connsiteY9" fmla="*/ 1100033 h 1634855"/>
              <a:gd name="connsiteX10" fmla="*/ 0 w 1664054"/>
              <a:gd name="connsiteY10" fmla="*/ 281297 h 1634855"/>
              <a:gd name="connsiteX0" fmla="*/ 0 w 1664054"/>
              <a:gd name="connsiteY0" fmla="*/ 352988 h 1706546"/>
              <a:gd name="connsiteX1" fmla="*/ 208338 w 1664054"/>
              <a:gd name="connsiteY1" fmla="*/ 144650 h 1706546"/>
              <a:gd name="connsiteX2" fmla="*/ 928991 w 1664054"/>
              <a:gd name="connsiteY2" fmla="*/ 100876 h 1706546"/>
              <a:gd name="connsiteX3" fmla="*/ 1230548 w 1664054"/>
              <a:gd name="connsiteY3" fmla="*/ 71691 h 1706546"/>
              <a:gd name="connsiteX4" fmla="*/ 1230548 w 1664054"/>
              <a:gd name="connsiteY4" fmla="*/ 655352 h 1706546"/>
              <a:gd name="connsiteX5" fmla="*/ 1284857 w 1664054"/>
              <a:gd name="connsiteY5" fmla="*/ 703991 h 1706546"/>
              <a:gd name="connsiteX6" fmla="*/ 1634247 w 1664054"/>
              <a:gd name="connsiteY6" fmla="*/ 683728 h 1706546"/>
              <a:gd name="connsiteX7" fmla="*/ 1119488 w 1664054"/>
              <a:gd name="connsiteY7" fmla="*/ 1438429 h 1706546"/>
              <a:gd name="connsiteX8" fmla="*/ 436938 w 1664054"/>
              <a:gd name="connsiteY8" fmla="*/ 1691347 h 1706546"/>
              <a:gd name="connsiteX9" fmla="*/ 0 w 1664054"/>
              <a:gd name="connsiteY9" fmla="*/ 1171724 h 1706546"/>
              <a:gd name="connsiteX10" fmla="*/ 0 w 1664054"/>
              <a:gd name="connsiteY10" fmla="*/ 352988 h 1706546"/>
              <a:gd name="connsiteX0" fmla="*/ 0 w 1664054"/>
              <a:gd name="connsiteY0" fmla="*/ 368910 h 1722468"/>
              <a:gd name="connsiteX1" fmla="*/ 208338 w 1664054"/>
              <a:gd name="connsiteY1" fmla="*/ 160572 h 1722468"/>
              <a:gd name="connsiteX2" fmla="*/ 928991 w 1664054"/>
              <a:gd name="connsiteY2" fmla="*/ 116798 h 1722468"/>
              <a:gd name="connsiteX3" fmla="*/ 1230548 w 1664054"/>
              <a:gd name="connsiteY3" fmla="*/ 87613 h 1722468"/>
              <a:gd name="connsiteX4" fmla="*/ 1230548 w 1664054"/>
              <a:gd name="connsiteY4" fmla="*/ 671274 h 1722468"/>
              <a:gd name="connsiteX5" fmla="*/ 1284857 w 1664054"/>
              <a:gd name="connsiteY5" fmla="*/ 719913 h 1722468"/>
              <a:gd name="connsiteX6" fmla="*/ 1634247 w 1664054"/>
              <a:gd name="connsiteY6" fmla="*/ 699650 h 1722468"/>
              <a:gd name="connsiteX7" fmla="*/ 1119488 w 1664054"/>
              <a:gd name="connsiteY7" fmla="*/ 1454351 h 1722468"/>
              <a:gd name="connsiteX8" fmla="*/ 436938 w 1664054"/>
              <a:gd name="connsiteY8" fmla="*/ 1707269 h 1722468"/>
              <a:gd name="connsiteX9" fmla="*/ 0 w 1664054"/>
              <a:gd name="connsiteY9" fmla="*/ 1187646 h 1722468"/>
              <a:gd name="connsiteX10" fmla="*/ 0 w 1664054"/>
              <a:gd name="connsiteY10" fmla="*/ 368910 h 1722468"/>
              <a:gd name="connsiteX0" fmla="*/ 0 w 1664054"/>
              <a:gd name="connsiteY0" fmla="*/ 374886 h 1728444"/>
              <a:gd name="connsiteX1" fmla="*/ 208338 w 1664054"/>
              <a:gd name="connsiteY1" fmla="*/ 166548 h 1728444"/>
              <a:gd name="connsiteX2" fmla="*/ 928991 w 1664054"/>
              <a:gd name="connsiteY2" fmla="*/ 122774 h 1728444"/>
              <a:gd name="connsiteX3" fmla="*/ 1230548 w 1664054"/>
              <a:gd name="connsiteY3" fmla="*/ 93589 h 1728444"/>
              <a:gd name="connsiteX4" fmla="*/ 1230548 w 1664054"/>
              <a:gd name="connsiteY4" fmla="*/ 677250 h 1728444"/>
              <a:gd name="connsiteX5" fmla="*/ 1284857 w 1664054"/>
              <a:gd name="connsiteY5" fmla="*/ 725889 h 1728444"/>
              <a:gd name="connsiteX6" fmla="*/ 1634247 w 1664054"/>
              <a:gd name="connsiteY6" fmla="*/ 705626 h 1728444"/>
              <a:gd name="connsiteX7" fmla="*/ 1119488 w 1664054"/>
              <a:gd name="connsiteY7" fmla="*/ 1460327 h 1728444"/>
              <a:gd name="connsiteX8" fmla="*/ 436938 w 1664054"/>
              <a:gd name="connsiteY8" fmla="*/ 1713245 h 1728444"/>
              <a:gd name="connsiteX9" fmla="*/ 0 w 1664054"/>
              <a:gd name="connsiteY9" fmla="*/ 1193622 h 1728444"/>
              <a:gd name="connsiteX10" fmla="*/ 0 w 1664054"/>
              <a:gd name="connsiteY10" fmla="*/ 374886 h 1728444"/>
              <a:gd name="connsiteX0" fmla="*/ 0 w 1664054"/>
              <a:gd name="connsiteY0" fmla="*/ 366774 h 1720332"/>
              <a:gd name="connsiteX1" fmla="*/ 208338 w 1664054"/>
              <a:gd name="connsiteY1" fmla="*/ 158436 h 1720332"/>
              <a:gd name="connsiteX2" fmla="*/ 928991 w 1664054"/>
              <a:gd name="connsiteY2" fmla="*/ 114662 h 1720332"/>
              <a:gd name="connsiteX3" fmla="*/ 1230548 w 1664054"/>
              <a:gd name="connsiteY3" fmla="*/ 85477 h 1720332"/>
              <a:gd name="connsiteX4" fmla="*/ 1230548 w 1664054"/>
              <a:gd name="connsiteY4" fmla="*/ 669138 h 1720332"/>
              <a:gd name="connsiteX5" fmla="*/ 1284857 w 1664054"/>
              <a:gd name="connsiteY5" fmla="*/ 717777 h 1720332"/>
              <a:gd name="connsiteX6" fmla="*/ 1634247 w 1664054"/>
              <a:gd name="connsiteY6" fmla="*/ 697514 h 1720332"/>
              <a:gd name="connsiteX7" fmla="*/ 1119488 w 1664054"/>
              <a:gd name="connsiteY7" fmla="*/ 1452215 h 1720332"/>
              <a:gd name="connsiteX8" fmla="*/ 436938 w 1664054"/>
              <a:gd name="connsiteY8" fmla="*/ 1705133 h 1720332"/>
              <a:gd name="connsiteX9" fmla="*/ 0 w 1664054"/>
              <a:gd name="connsiteY9" fmla="*/ 1185510 h 1720332"/>
              <a:gd name="connsiteX10" fmla="*/ 0 w 1664054"/>
              <a:gd name="connsiteY10" fmla="*/ 366774 h 1720332"/>
              <a:gd name="connsiteX0" fmla="*/ 0 w 1664054"/>
              <a:gd name="connsiteY0" fmla="*/ 378325 h 1731883"/>
              <a:gd name="connsiteX1" fmla="*/ 208338 w 1664054"/>
              <a:gd name="connsiteY1" fmla="*/ 169987 h 1731883"/>
              <a:gd name="connsiteX2" fmla="*/ 928991 w 1664054"/>
              <a:gd name="connsiteY2" fmla="*/ 126213 h 1731883"/>
              <a:gd name="connsiteX3" fmla="*/ 1230548 w 1664054"/>
              <a:gd name="connsiteY3" fmla="*/ 97028 h 1731883"/>
              <a:gd name="connsiteX4" fmla="*/ 1230548 w 1664054"/>
              <a:gd name="connsiteY4" fmla="*/ 680689 h 1731883"/>
              <a:gd name="connsiteX5" fmla="*/ 1284857 w 1664054"/>
              <a:gd name="connsiteY5" fmla="*/ 729328 h 1731883"/>
              <a:gd name="connsiteX6" fmla="*/ 1634247 w 1664054"/>
              <a:gd name="connsiteY6" fmla="*/ 709065 h 1731883"/>
              <a:gd name="connsiteX7" fmla="*/ 1119488 w 1664054"/>
              <a:gd name="connsiteY7" fmla="*/ 1463766 h 1731883"/>
              <a:gd name="connsiteX8" fmla="*/ 436938 w 1664054"/>
              <a:gd name="connsiteY8" fmla="*/ 1716684 h 1731883"/>
              <a:gd name="connsiteX9" fmla="*/ 0 w 1664054"/>
              <a:gd name="connsiteY9" fmla="*/ 1197061 h 1731883"/>
              <a:gd name="connsiteX10" fmla="*/ 0 w 1664054"/>
              <a:gd name="connsiteY10" fmla="*/ 378325 h 1731883"/>
              <a:gd name="connsiteX0" fmla="*/ 0 w 1664054"/>
              <a:gd name="connsiteY0" fmla="*/ 359951 h 1713509"/>
              <a:gd name="connsiteX1" fmla="*/ 208338 w 1664054"/>
              <a:gd name="connsiteY1" fmla="*/ 151613 h 1713509"/>
              <a:gd name="connsiteX2" fmla="*/ 928991 w 1664054"/>
              <a:gd name="connsiteY2" fmla="*/ 107839 h 1713509"/>
              <a:gd name="connsiteX3" fmla="*/ 1234025 w 1664054"/>
              <a:gd name="connsiteY3" fmla="*/ 123852 h 1713509"/>
              <a:gd name="connsiteX4" fmla="*/ 1230548 w 1664054"/>
              <a:gd name="connsiteY4" fmla="*/ 662315 h 1713509"/>
              <a:gd name="connsiteX5" fmla="*/ 1284857 w 1664054"/>
              <a:gd name="connsiteY5" fmla="*/ 710954 h 1713509"/>
              <a:gd name="connsiteX6" fmla="*/ 1634247 w 1664054"/>
              <a:gd name="connsiteY6" fmla="*/ 690691 h 1713509"/>
              <a:gd name="connsiteX7" fmla="*/ 1119488 w 1664054"/>
              <a:gd name="connsiteY7" fmla="*/ 1445392 h 1713509"/>
              <a:gd name="connsiteX8" fmla="*/ 436938 w 1664054"/>
              <a:gd name="connsiteY8" fmla="*/ 1698310 h 1713509"/>
              <a:gd name="connsiteX9" fmla="*/ 0 w 1664054"/>
              <a:gd name="connsiteY9" fmla="*/ 1178687 h 1713509"/>
              <a:gd name="connsiteX10" fmla="*/ 0 w 1664054"/>
              <a:gd name="connsiteY10" fmla="*/ 359951 h 1713509"/>
              <a:gd name="connsiteX0" fmla="*/ 0 w 1664054"/>
              <a:gd name="connsiteY0" fmla="*/ 375151 h 1728709"/>
              <a:gd name="connsiteX1" fmla="*/ 208338 w 1664054"/>
              <a:gd name="connsiteY1" fmla="*/ 166813 h 1728709"/>
              <a:gd name="connsiteX2" fmla="*/ 928991 w 1664054"/>
              <a:gd name="connsiteY2" fmla="*/ 123039 h 1728709"/>
              <a:gd name="connsiteX3" fmla="*/ 1234025 w 1664054"/>
              <a:gd name="connsiteY3" fmla="*/ 139052 h 1728709"/>
              <a:gd name="connsiteX4" fmla="*/ 1230548 w 1664054"/>
              <a:gd name="connsiteY4" fmla="*/ 677515 h 1728709"/>
              <a:gd name="connsiteX5" fmla="*/ 1284857 w 1664054"/>
              <a:gd name="connsiteY5" fmla="*/ 726154 h 1728709"/>
              <a:gd name="connsiteX6" fmla="*/ 1634247 w 1664054"/>
              <a:gd name="connsiteY6" fmla="*/ 705891 h 1728709"/>
              <a:gd name="connsiteX7" fmla="*/ 1119488 w 1664054"/>
              <a:gd name="connsiteY7" fmla="*/ 1460592 h 1728709"/>
              <a:gd name="connsiteX8" fmla="*/ 436938 w 1664054"/>
              <a:gd name="connsiteY8" fmla="*/ 1713510 h 1728709"/>
              <a:gd name="connsiteX9" fmla="*/ 0 w 1664054"/>
              <a:gd name="connsiteY9" fmla="*/ 1193887 h 1728709"/>
              <a:gd name="connsiteX10" fmla="*/ 0 w 1664054"/>
              <a:gd name="connsiteY10" fmla="*/ 375151 h 1728709"/>
              <a:gd name="connsiteX0" fmla="*/ 0 w 1664054"/>
              <a:gd name="connsiteY0" fmla="*/ 365380 h 1718938"/>
              <a:gd name="connsiteX1" fmla="*/ 208338 w 1664054"/>
              <a:gd name="connsiteY1" fmla="*/ 157042 h 1718938"/>
              <a:gd name="connsiteX2" fmla="*/ 935945 w 1664054"/>
              <a:gd name="connsiteY2" fmla="*/ 130653 h 1718938"/>
              <a:gd name="connsiteX3" fmla="*/ 1234025 w 1664054"/>
              <a:gd name="connsiteY3" fmla="*/ 129281 h 1718938"/>
              <a:gd name="connsiteX4" fmla="*/ 1230548 w 1664054"/>
              <a:gd name="connsiteY4" fmla="*/ 667744 h 1718938"/>
              <a:gd name="connsiteX5" fmla="*/ 1284857 w 1664054"/>
              <a:gd name="connsiteY5" fmla="*/ 716383 h 1718938"/>
              <a:gd name="connsiteX6" fmla="*/ 1634247 w 1664054"/>
              <a:gd name="connsiteY6" fmla="*/ 696120 h 1718938"/>
              <a:gd name="connsiteX7" fmla="*/ 1119488 w 1664054"/>
              <a:gd name="connsiteY7" fmla="*/ 1450821 h 1718938"/>
              <a:gd name="connsiteX8" fmla="*/ 436938 w 1664054"/>
              <a:gd name="connsiteY8" fmla="*/ 1703739 h 1718938"/>
              <a:gd name="connsiteX9" fmla="*/ 0 w 1664054"/>
              <a:gd name="connsiteY9" fmla="*/ 1184116 h 1718938"/>
              <a:gd name="connsiteX10" fmla="*/ 0 w 1664054"/>
              <a:gd name="connsiteY10" fmla="*/ 365380 h 1718938"/>
              <a:gd name="connsiteX0" fmla="*/ 0 w 1664054"/>
              <a:gd name="connsiteY0" fmla="*/ 368140 h 1721698"/>
              <a:gd name="connsiteX1" fmla="*/ 208338 w 1664054"/>
              <a:gd name="connsiteY1" fmla="*/ 159802 h 1721698"/>
              <a:gd name="connsiteX2" fmla="*/ 935945 w 1664054"/>
              <a:gd name="connsiteY2" fmla="*/ 133413 h 1721698"/>
              <a:gd name="connsiteX3" fmla="*/ 1234025 w 1664054"/>
              <a:gd name="connsiteY3" fmla="*/ 132041 h 1721698"/>
              <a:gd name="connsiteX4" fmla="*/ 1230548 w 1664054"/>
              <a:gd name="connsiteY4" fmla="*/ 670504 h 1721698"/>
              <a:gd name="connsiteX5" fmla="*/ 1284857 w 1664054"/>
              <a:gd name="connsiteY5" fmla="*/ 719143 h 1721698"/>
              <a:gd name="connsiteX6" fmla="*/ 1634247 w 1664054"/>
              <a:gd name="connsiteY6" fmla="*/ 698880 h 1721698"/>
              <a:gd name="connsiteX7" fmla="*/ 1119488 w 1664054"/>
              <a:gd name="connsiteY7" fmla="*/ 1453581 h 1721698"/>
              <a:gd name="connsiteX8" fmla="*/ 436938 w 1664054"/>
              <a:gd name="connsiteY8" fmla="*/ 1706499 h 1721698"/>
              <a:gd name="connsiteX9" fmla="*/ 0 w 1664054"/>
              <a:gd name="connsiteY9" fmla="*/ 1186876 h 1721698"/>
              <a:gd name="connsiteX10" fmla="*/ 0 w 1664054"/>
              <a:gd name="connsiteY10" fmla="*/ 368140 h 1721698"/>
              <a:gd name="connsiteX0" fmla="*/ 0 w 1664054"/>
              <a:gd name="connsiteY0" fmla="*/ 368140 h 1721698"/>
              <a:gd name="connsiteX1" fmla="*/ 208338 w 1664054"/>
              <a:gd name="connsiteY1" fmla="*/ 159802 h 1721698"/>
              <a:gd name="connsiteX2" fmla="*/ 649552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208338 w 1664054"/>
              <a:gd name="connsiteY1" fmla="*/ 159802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208338 w 1664054"/>
              <a:gd name="connsiteY1" fmla="*/ 159802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208338 w 1664054"/>
              <a:gd name="connsiteY1" fmla="*/ 159802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208338 w 1664054"/>
              <a:gd name="connsiteY1" fmla="*/ 159802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243106 w 1664054"/>
              <a:gd name="connsiteY1" fmla="*/ 382318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204861 w 1664054"/>
              <a:gd name="connsiteY1" fmla="*/ 337120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204861 w 1664054"/>
              <a:gd name="connsiteY1" fmla="*/ 337120 h 1721698"/>
              <a:gd name="connsiteX2" fmla="*/ 395745 w 1664054"/>
              <a:gd name="connsiteY2" fmla="*/ 250088 h 1721698"/>
              <a:gd name="connsiteX3" fmla="*/ 653029 w 1664054"/>
              <a:gd name="connsiteY3" fmla="*/ 14926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204861 w 1664054"/>
              <a:gd name="connsiteY1" fmla="*/ 337120 h 1721698"/>
              <a:gd name="connsiteX2" fmla="*/ 319256 w 1664054"/>
              <a:gd name="connsiteY2" fmla="*/ 190982 h 1721698"/>
              <a:gd name="connsiteX3" fmla="*/ 653029 w 1664054"/>
              <a:gd name="connsiteY3" fmla="*/ 14926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204861 w 1664054"/>
              <a:gd name="connsiteY1" fmla="*/ 337120 h 1721698"/>
              <a:gd name="connsiteX2" fmla="*/ 336640 w 1664054"/>
              <a:gd name="connsiteY2" fmla="*/ 190982 h 1721698"/>
              <a:gd name="connsiteX3" fmla="*/ 653029 w 1664054"/>
              <a:gd name="connsiteY3" fmla="*/ 14926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204861 w 1664054"/>
              <a:gd name="connsiteY1" fmla="*/ 337120 h 1721698"/>
              <a:gd name="connsiteX2" fmla="*/ 336640 w 1664054"/>
              <a:gd name="connsiteY2" fmla="*/ 190982 h 1721698"/>
              <a:gd name="connsiteX3" fmla="*/ 653029 w 1664054"/>
              <a:gd name="connsiteY3" fmla="*/ 14926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204861 w 1664054"/>
              <a:gd name="connsiteY1" fmla="*/ 337120 h 1721698"/>
              <a:gd name="connsiteX2" fmla="*/ 336640 w 1664054"/>
              <a:gd name="connsiteY2" fmla="*/ 190982 h 1721698"/>
              <a:gd name="connsiteX3" fmla="*/ 653029 w 1664054"/>
              <a:gd name="connsiteY3" fmla="*/ 14926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204861 w 1664054"/>
              <a:gd name="connsiteY1" fmla="*/ 337120 h 1721698"/>
              <a:gd name="connsiteX2" fmla="*/ 357501 w 1664054"/>
              <a:gd name="connsiteY2" fmla="*/ 190982 h 1721698"/>
              <a:gd name="connsiteX3" fmla="*/ 653029 w 1664054"/>
              <a:gd name="connsiteY3" fmla="*/ 14926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204861 w 1664054"/>
              <a:gd name="connsiteY1" fmla="*/ 337120 h 1721698"/>
              <a:gd name="connsiteX2" fmla="*/ 357501 w 1664054"/>
              <a:gd name="connsiteY2" fmla="*/ 190982 h 1721698"/>
              <a:gd name="connsiteX3" fmla="*/ 653029 w 1664054"/>
              <a:gd name="connsiteY3" fmla="*/ 14926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204861 w 1664054"/>
              <a:gd name="connsiteY1" fmla="*/ 337120 h 1721698"/>
              <a:gd name="connsiteX2" fmla="*/ 357501 w 1664054"/>
              <a:gd name="connsiteY2" fmla="*/ 190982 h 1721698"/>
              <a:gd name="connsiteX3" fmla="*/ 653029 w 1664054"/>
              <a:gd name="connsiteY3" fmla="*/ 14926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357501 w 1664054"/>
              <a:gd name="connsiteY1" fmla="*/ 190982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371408 w 1664054"/>
              <a:gd name="connsiteY1" fmla="*/ 187505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371408 w 1664054"/>
              <a:gd name="connsiteY1" fmla="*/ 187505 h 1721698"/>
              <a:gd name="connsiteX2" fmla="*/ 653029 w 1664054"/>
              <a:gd name="connsiteY2" fmla="*/ 14926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371408 w 1664054"/>
              <a:gd name="connsiteY1" fmla="*/ 187505 h 1721698"/>
              <a:gd name="connsiteX2" fmla="*/ 653029 w 1664054"/>
              <a:gd name="connsiteY2" fmla="*/ 15969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371408 w 1664054"/>
              <a:gd name="connsiteY1" fmla="*/ 187505 h 1721698"/>
              <a:gd name="connsiteX2" fmla="*/ 653029 w 1664054"/>
              <a:gd name="connsiteY2" fmla="*/ 15969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371408 w 1664054"/>
              <a:gd name="connsiteY1" fmla="*/ 187505 h 1721698"/>
              <a:gd name="connsiteX2" fmla="*/ 653029 w 1664054"/>
              <a:gd name="connsiteY2" fmla="*/ 159691 h 1721698"/>
              <a:gd name="connsiteX3" fmla="*/ 935945 w 1664054"/>
              <a:gd name="connsiteY3" fmla="*/ 133413 h 1721698"/>
              <a:gd name="connsiteX4" fmla="*/ 1234025 w 1664054"/>
              <a:gd name="connsiteY4" fmla="*/ 132041 h 1721698"/>
              <a:gd name="connsiteX5" fmla="*/ 1230548 w 1664054"/>
              <a:gd name="connsiteY5" fmla="*/ 670504 h 1721698"/>
              <a:gd name="connsiteX6" fmla="*/ 1284857 w 1664054"/>
              <a:gd name="connsiteY6" fmla="*/ 719143 h 1721698"/>
              <a:gd name="connsiteX7" fmla="*/ 1634247 w 1664054"/>
              <a:gd name="connsiteY7" fmla="*/ 698880 h 1721698"/>
              <a:gd name="connsiteX8" fmla="*/ 1119488 w 1664054"/>
              <a:gd name="connsiteY8" fmla="*/ 1453581 h 1721698"/>
              <a:gd name="connsiteX9" fmla="*/ 436938 w 1664054"/>
              <a:gd name="connsiteY9" fmla="*/ 1706499 h 1721698"/>
              <a:gd name="connsiteX10" fmla="*/ 0 w 1664054"/>
              <a:gd name="connsiteY10" fmla="*/ 1186876 h 1721698"/>
              <a:gd name="connsiteX11" fmla="*/ 0 w 1664054"/>
              <a:gd name="connsiteY11" fmla="*/ 368140 h 1721698"/>
              <a:gd name="connsiteX0" fmla="*/ 0 w 1664054"/>
              <a:gd name="connsiteY0" fmla="*/ 368140 h 1721698"/>
              <a:gd name="connsiteX1" fmla="*/ 131507 w 1664054"/>
              <a:gd name="connsiteY1" fmla="*/ 236181 h 1721698"/>
              <a:gd name="connsiteX2" fmla="*/ 371408 w 1664054"/>
              <a:gd name="connsiteY2" fmla="*/ 187505 h 1721698"/>
              <a:gd name="connsiteX3" fmla="*/ 653029 w 1664054"/>
              <a:gd name="connsiteY3" fmla="*/ 15969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169752 w 1664054"/>
              <a:gd name="connsiteY1" fmla="*/ 274426 h 1721698"/>
              <a:gd name="connsiteX2" fmla="*/ 371408 w 1664054"/>
              <a:gd name="connsiteY2" fmla="*/ 187505 h 1721698"/>
              <a:gd name="connsiteX3" fmla="*/ 653029 w 1664054"/>
              <a:gd name="connsiteY3" fmla="*/ 15969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0 w 1664054"/>
              <a:gd name="connsiteY0" fmla="*/ 368140 h 1721698"/>
              <a:gd name="connsiteX1" fmla="*/ 180183 w 1664054"/>
              <a:gd name="connsiteY1" fmla="*/ 274426 h 1721698"/>
              <a:gd name="connsiteX2" fmla="*/ 371408 w 1664054"/>
              <a:gd name="connsiteY2" fmla="*/ 187505 h 1721698"/>
              <a:gd name="connsiteX3" fmla="*/ 653029 w 1664054"/>
              <a:gd name="connsiteY3" fmla="*/ 15969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0 w 1664054"/>
              <a:gd name="connsiteY12" fmla="*/ 368140 h 1721698"/>
              <a:gd name="connsiteX0" fmla="*/ 295529 w 1664054"/>
              <a:gd name="connsiteY0" fmla="*/ 555888 h 1721698"/>
              <a:gd name="connsiteX1" fmla="*/ 180183 w 1664054"/>
              <a:gd name="connsiteY1" fmla="*/ 274426 h 1721698"/>
              <a:gd name="connsiteX2" fmla="*/ 371408 w 1664054"/>
              <a:gd name="connsiteY2" fmla="*/ 187505 h 1721698"/>
              <a:gd name="connsiteX3" fmla="*/ 653029 w 1664054"/>
              <a:gd name="connsiteY3" fmla="*/ 15969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12" fmla="*/ 295529 w 1664054"/>
              <a:gd name="connsiteY12" fmla="*/ 555888 h 1721698"/>
              <a:gd name="connsiteX0" fmla="*/ 0 w 1664054"/>
              <a:gd name="connsiteY0" fmla="*/ 1186876 h 1721698"/>
              <a:gd name="connsiteX1" fmla="*/ 180183 w 1664054"/>
              <a:gd name="connsiteY1" fmla="*/ 274426 h 1721698"/>
              <a:gd name="connsiteX2" fmla="*/ 371408 w 1664054"/>
              <a:gd name="connsiteY2" fmla="*/ 187505 h 1721698"/>
              <a:gd name="connsiteX3" fmla="*/ 653029 w 1664054"/>
              <a:gd name="connsiteY3" fmla="*/ 15969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0" fmla="*/ 0 w 1664054"/>
              <a:gd name="connsiteY0" fmla="*/ 1186876 h 1721698"/>
              <a:gd name="connsiteX1" fmla="*/ 34157 w 1664054"/>
              <a:gd name="connsiteY1" fmla="*/ 281379 h 1721698"/>
              <a:gd name="connsiteX2" fmla="*/ 371408 w 1664054"/>
              <a:gd name="connsiteY2" fmla="*/ 187505 h 1721698"/>
              <a:gd name="connsiteX3" fmla="*/ 653029 w 1664054"/>
              <a:gd name="connsiteY3" fmla="*/ 15969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0" fmla="*/ 0 w 1664054"/>
              <a:gd name="connsiteY0" fmla="*/ 1186876 h 1721698"/>
              <a:gd name="connsiteX1" fmla="*/ 9820 w 1664054"/>
              <a:gd name="connsiteY1" fmla="*/ 288333 h 1721698"/>
              <a:gd name="connsiteX2" fmla="*/ 371408 w 1664054"/>
              <a:gd name="connsiteY2" fmla="*/ 187505 h 1721698"/>
              <a:gd name="connsiteX3" fmla="*/ 653029 w 1664054"/>
              <a:gd name="connsiteY3" fmla="*/ 159691 h 1721698"/>
              <a:gd name="connsiteX4" fmla="*/ 935945 w 1664054"/>
              <a:gd name="connsiteY4" fmla="*/ 133413 h 1721698"/>
              <a:gd name="connsiteX5" fmla="*/ 1234025 w 1664054"/>
              <a:gd name="connsiteY5" fmla="*/ 132041 h 1721698"/>
              <a:gd name="connsiteX6" fmla="*/ 1230548 w 1664054"/>
              <a:gd name="connsiteY6" fmla="*/ 670504 h 1721698"/>
              <a:gd name="connsiteX7" fmla="*/ 1284857 w 1664054"/>
              <a:gd name="connsiteY7" fmla="*/ 719143 h 1721698"/>
              <a:gd name="connsiteX8" fmla="*/ 1634247 w 1664054"/>
              <a:gd name="connsiteY8" fmla="*/ 698880 h 1721698"/>
              <a:gd name="connsiteX9" fmla="*/ 1119488 w 1664054"/>
              <a:gd name="connsiteY9" fmla="*/ 1453581 h 1721698"/>
              <a:gd name="connsiteX10" fmla="*/ 436938 w 1664054"/>
              <a:gd name="connsiteY10" fmla="*/ 1706499 h 1721698"/>
              <a:gd name="connsiteX11" fmla="*/ 0 w 1664054"/>
              <a:gd name="connsiteY11" fmla="*/ 1186876 h 1721698"/>
              <a:gd name="connsiteX0" fmla="*/ 4087 w 1668141"/>
              <a:gd name="connsiteY0" fmla="*/ 1186876 h 1721698"/>
              <a:gd name="connsiteX1" fmla="*/ 0 w 1668141"/>
              <a:gd name="connsiteY1" fmla="*/ 288333 h 1721698"/>
              <a:gd name="connsiteX2" fmla="*/ 375495 w 1668141"/>
              <a:gd name="connsiteY2" fmla="*/ 187505 h 1721698"/>
              <a:gd name="connsiteX3" fmla="*/ 657116 w 1668141"/>
              <a:gd name="connsiteY3" fmla="*/ 159691 h 1721698"/>
              <a:gd name="connsiteX4" fmla="*/ 940032 w 1668141"/>
              <a:gd name="connsiteY4" fmla="*/ 133413 h 1721698"/>
              <a:gd name="connsiteX5" fmla="*/ 1238112 w 1668141"/>
              <a:gd name="connsiteY5" fmla="*/ 132041 h 1721698"/>
              <a:gd name="connsiteX6" fmla="*/ 1234635 w 1668141"/>
              <a:gd name="connsiteY6" fmla="*/ 670504 h 1721698"/>
              <a:gd name="connsiteX7" fmla="*/ 1288944 w 1668141"/>
              <a:gd name="connsiteY7" fmla="*/ 719143 h 1721698"/>
              <a:gd name="connsiteX8" fmla="*/ 1638334 w 1668141"/>
              <a:gd name="connsiteY8" fmla="*/ 698880 h 1721698"/>
              <a:gd name="connsiteX9" fmla="*/ 1123575 w 1668141"/>
              <a:gd name="connsiteY9" fmla="*/ 1453581 h 1721698"/>
              <a:gd name="connsiteX10" fmla="*/ 441025 w 1668141"/>
              <a:gd name="connsiteY10" fmla="*/ 1706499 h 1721698"/>
              <a:gd name="connsiteX11" fmla="*/ 4087 w 1668141"/>
              <a:gd name="connsiteY11" fmla="*/ 1186876 h 1721698"/>
              <a:gd name="connsiteX0" fmla="*/ 17994 w 1682048"/>
              <a:gd name="connsiteY0" fmla="*/ 1186876 h 1721698"/>
              <a:gd name="connsiteX1" fmla="*/ 0 w 1682048"/>
              <a:gd name="connsiteY1" fmla="*/ 288333 h 1721698"/>
              <a:gd name="connsiteX2" fmla="*/ 389402 w 1682048"/>
              <a:gd name="connsiteY2" fmla="*/ 187505 h 1721698"/>
              <a:gd name="connsiteX3" fmla="*/ 671023 w 1682048"/>
              <a:gd name="connsiteY3" fmla="*/ 159691 h 1721698"/>
              <a:gd name="connsiteX4" fmla="*/ 953939 w 1682048"/>
              <a:gd name="connsiteY4" fmla="*/ 133413 h 1721698"/>
              <a:gd name="connsiteX5" fmla="*/ 1252019 w 1682048"/>
              <a:gd name="connsiteY5" fmla="*/ 132041 h 1721698"/>
              <a:gd name="connsiteX6" fmla="*/ 1248542 w 1682048"/>
              <a:gd name="connsiteY6" fmla="*/ 670504 h 1721698"/>
              <a:gd name="connsiteX7" fmla="*/ 1302851 w 1682048"/>
              <a:gd name="connsiteY7" fmla="*/ 719143 h 1721698"/>
              <a:gd name="connsiteX8" fmla="*/ 1652241 w 1682048"/>
              <a:gd name="connsiteY8" fmla="*/ 698880 h 1721698"/>
              <a:gd name="connsiteX9" fmla="*/ 1137482 w 1682048"/>
              <a:gd name="connsiteY9" fmla="*/ 1453581 h 1721698"/>
              <a:gd name="connsiteX10" fmla="*/ 454932 w 1682048"/>
              <a:gd name="connsiteY10" fmla="*/ 1706499 h 1721698"/>
              <a:gd name="connsiteX11" fmla="*/ 17994 w 1682048"/>
              <a:gd name="connsiteY11" fmla="*/ 1186876 h 1721698"/>
              <a:gd name="connsiteX0" fmla="*/ 610 w 1664664"/>
              <a:gd name="connsiteY0" fmla="*/ 1186876 h 1721698"/>
              <a:gd name="connsiteX1" fmla="*/ 0 w 1664664"/>
              <a:gd name="connsiteY1" fmla="*/ 288333 h 1721698"/>
              <a:gd name="connsiteX2" fmla="*/ 372018 w 1664664"/>
              <a:gd name="connsiteY2" fmla="*/ 187505 h 1721698"/>
              <a:gd name="connsiteX3" fmla="*/ 653639 w 1664664"/>
              <a:gd name="connsiteY3" fmla="*/ 159691 h 1721698"/>
              <a:gd name="connsiteX4" fmla="*/ 936555 w 1664664"/>
              <a:gd name="connsiteY4" fmla="*/ 133413 h 1721698"/>
              <a:gd name="connsiteX5" fmla="*/ 1234635 w 1664664"/>
              <a:gd name="connsiteY5" fmla="*/ 132041 h 1721698"/>
              <a:gd name="connsiteX6" fmla="*/ 1231158 w 1664664"/>
              <a:gd name="connsiteY6" fmla="*/ 670504 h 1721698"/>
              <a:gd name="connsiteX7" fmla="*/ 1285467 w 1664664"/>
              <a:gd name="connsiteY7" fmla="*/ 719143 h 1721698"/>
              <a:gd name="connsiteX8" fmla="*/ 1634857 w 1664664"/>
              <a:gd name="connsiteY8" fmla="*/ 698880 h 1721698"/>
              <a:gd name="connsiteX9" fmla="*/ 1120098 w 1664664"/>
              <a:gd name="connsiteY9" fmla="*/ 1453581 h 1721698"/>
              <a:gd name="connsiteX10" fmla="*/ 437548 w 1664664"/>
              <a:gd name="connsiteY10" fmla="*/ 1706499 h 1721698"/>
              <a:gd name="connsiteX11" fmla="*/ 610 w 1664664"/>
              <a:gd name="connsiteY11" fmla="*/ 1186876 h 1721698"/>
              <a:gd name="connsiteX0" fmla="*/ 610 w 1664664"/>
              <a:gd name="connsiteY0" fmla="*/ 1186876 h 1721698"/>
              <a:gd name="connsiteX1" fmla="*/ 0 w 1664664"/>
              <a:gd name="connsiteY1" fmla="*/ 288333 h 1721698"/>
              <a:gd name="connsiteX2" fmla="*/ 434600 w 1664664"/>
              <a:gd name="connsiteY2" fmla="*/ 517801 h 1721698"/>
              <a:gd name="connsiteX3" fmla="*/ 653639 w 1664664"/>
              <a:gd name="connsiteY3" fmla="*/ 159691 h 1721698"/>
              <a:gd name="connsiteX4" fmla="*/ 936555 w 1664664"/>
              <a:gd name="connsiteY4" fmla="*/ 133413 h 1721698"/>
              <a:gd name="connsiteX5" fmla="*/ 1234635 w 1664664"/>
              <a:gd name="connsiteY5" fmla="*/ 132041 h 1721698"/>
              <a:gd name="connsiteX6" fmla="*/ 1231158 w 1664664"/>
              <a:gd name="connsiteY6" fmla="*/ 670504 h 1721698"/>
              <a:gd name="connsiteX7" fmla="*/ 1285467 w 1664664"/>
              <a:gd name="connsiteY7" fmla="*/ 719143 h 1721698"/>
              <a:gd name="connsiteX8" fmla="*/ 1634857 w 1664664"/>
              <a:gd name="connsiteY8" fmla="*/ 698880 h 1721698"/>
              <a:gd name="connsiteX9" fmla="*/ 1120098 w 1664664"/>
              <a:gd name="connsiteY9" fmla="*/ 1453581 h 1721698"/>
              <a:gd name="connsiteX10" fmla="*/ 437548 w 1664664"/>
              <a:gd name="connsiteY10" fmla="*/ 1706499 h 1721698"/>
              <a:gd name="connsiteX11" fmla="*/ 610 w 1664664"/>
              <a:gd name="connsiteY11" fmla="*/ 1186876 h 1721698"/>
              <a:gd name="connsiteX0" fmla="*/ 610 w 1664664"/>
              <a:gd name="connsiteY0" fmla="*/ 1186876 h 1721698"/>
              <a:gd name="connsiteX1" fmla="*/ 0 w 1664664"/>
              <a:gd name="connsiteY1" fmla="*/ 288333 h 1721698"/>
              <a:gd name="connsiteX2" fmla="*/ 312911 w 1664664"/>
              <a:gd name="connsiteY2" fmla="*/ 239656 h 1721698"/>
              <a:gd name="connsiteX3" fmla="*/ 653639 w 1664664"/>
              <a:gd name="connsiteY3" fmla="*/ 159691 h 1721698"/>
              <a:gd name="connsiteX4" fmla="*/ 936555 w 1664664"/>
              <a:gd name="connsiteY4" fmla="*/ 133413 h 1721698"/>
              <a:gd name="connsiteX5" fmla="*/ 1234635 w 1664664"/>
              <a:gd name="connsiteY5" fmla="*/ 132041 h 1721698"/>
              <a:gd name="connsiteX6" fmla="*/ 1231158 w 1664664"/>
              <a:gd name="connsiteY6" fmla="*/ 670504 h 1721698"/>
              <a:gd name="connsiteX7" fmla="*/ 1285467 w 1664664"/>
              <a:gd name="connsiteY7" fmla="*/ 719143 h 1721698"/>
              <a:gd name="connsiteX8" fmla="*/ 1634857 w 1664664"/>
              <a:gd name="connsiteY8" fmla="*/ 698880 h 1721698"/>
              <a:gd name="connsiteX9" fmla="*/ 1120098 w 1664664"/>
              <a:gd name="connsiteY9" fmla="*/ 1453581 h 1721698"/>
              <a:gd name="connsiteX10" fmla="*/ 437548 w 1664664"/>
              <a:gd name="connsiteY10" fmla="*/ 1706499 h 1721698"/>
              <a:gd name="connsiteX11" fmla="*/ 610 w 1664664"/>
              <a:gd name="connsiteY11" fmla="*/ 1186876 h 1721698"/>
              <a:gd name="connsiteX0" fmla="*/ 610 w 1664664"/>
              <a:gd name="connsiteY0" fmla="*/ 1186876 h 1721698"/>
              <a:gd name="connsiteX1" fmla="*/ 0 w 1664664"/>
              <a:gd name="connsiteY1" fmla="*/ 288333 h 1721698"/>
              <a:gd name="connsiteX2" fmla="*/ 312911 w 1664664"/>
              <a:gd name="connsiteY2" fmla="*/ 239656 h 1721698"/>
              <a:gd name="connsiteX3" fmla="*/ 653639 w 1664664"/>
              <a:gd name="connsiteY3" fmla="*/ 159691 h 1721698"/>
              <a:gd name="connsiteX4" fmla="*/ 936555 w 1664664"/>
              <a:gd name="connsiteY4" fmla="*/ 133413 h 1721698"/>
              <a:gd name="connsiteX5" fmla="*/ 1234635 w 1664664"/>
              <a:gd name="connsiteY5" fmla="*/ 132041 h 1721698"/>
              <a:gd name="connsiteX6" fmla="*/ 1231158 w 1664664"/>
              <a:gd name="connsiteY6" fmla="*/ 670504 h 1721698"/>
              <a:gd name="connsiteX7" fmla="*/ 1285467 w 1664664"/>
              <a:gd name="connsiteY7" fmla="*/ 719143 h 1721698"/>
              <a:gd name="connsiteX8" fmla="*/ 1634857 w 1664664"/>
              <a:gd name="connsiteY8" fmla="*/ 698880 h 1721698"/>
              <a:gd name="connsiteX9" fmla="*/ 1120098 w 1664664"/>
              <a:gd name="connsiteY9" fmla="*/ 1453581 h 1721698"/>
              <a:gd name="connsiteX10" fmla="*/ 437548 w 1664664"/>
              <a:gd name="connsiteY10" fmla="*/ 1706499 h 1721698"/>
              <a:gd name="connsiteX11" fmla="*/ 610 w 1664664"/>
              <a:gd name="connsiteY11" fmla="*/ 1186876 h 1721698"/>
              <a:gd name="connsiteX0" fmla="*/ 610 w 1664664"/>
              <a:gd name="connsiteY0" fmla="*/ 1186876 h 1721698"/>
              <a:gd name="connsiteX1" fmla="*/ 0 w 1664664"/>
              <a:gd name="connsiteY1" fmla="*/ 288333 h 1721698"/>
              <a:gd name="connsiteX2" fmla="*/ 312911 w 1664664"/>
              <a:gd name="connsiteY2" fmla="*/ 239656 h 1721698"/>
              <a:gd name="connsiteX3" fmla="*/ 653639 w 1664664"/>
              <a:gd name="connsiteY3" fmla="*/ 159691 h 1721698"/>
              <a:gd name="connsiteX4" fmla="*/ 936555 w 1664664"/>
              <a:gd name="connsiteY4" fmla="*/ 133413 h 1721698"/>
              <a:gd name="connsiteX5" fmla="*/ 1234635 w 1664664"/>
              <a:gd name="connsiteY5" fmla="*/ 132041 h 1721698"/>
              <a:gd name="connsiteX6" fmla="*/ 1231158 w 1664664"/>
              <a:gd name="connsiteY6" fmla="*/ 670504 h 1721698"/>
              <a:gd name="connsiteX7" fmla="*/ 1285467 w 1664664"/>
              <a:gd name="connsiteY7" fmla="*/ 719143 h 1721698"/>
              <a:gd name="connsiteX8" fmla="*/ 1634857 w 1664664"/>
              <a:gd name="connsiteY8" fmla="*/ 698880 h 1721698"/>
              <a:gd name="connsiteX9" fmla="*/ 1120098 w 1664664"/>
              <a:gd name="connsiteY9" fmla="*/ 1453581 h 1721698"/>
              <a:gd name="connsiteX10" fmla="*/ 437548 w 1664664"/>
              <a:gd name="connsiteY10" fmla="*/ 1706499 h 1721698"/>
              <a:gd name="connsiteX11" fmla="*/ 610 w 1664664"/>
              <a:gd name="connsiteY11" fmla="*/ 1186876 h 1721698"/>
              <a:gd name="connsiteX0" fmla="*/ 1010 w 1665064"/>
              <a:gd name="connsiteY0" fmla="*/ 1186876 h 1721698"/>
              <a:gd name="connsiteX1" fmla="*/ 400 w 1665064"/>
              <a:gd name="connsiteY1" fmla="*/ 288333 h 1721698"/>
              <a:gd name="connsiteX2" fmla="*/ 313311 w 1665064"/>
              <a:gd name="connsiteY2" fmla="*/ 239656 h 1721698"/>
              <a:gd name="connsiteX3" fmla="*/ 654039 w 1665064"/>
              <a:gd name="connsiteY3" fmla="*/ 159691 h 1721698"/>
              <a:gd name="connsiteX4" fmla="*/ 936955 w 1665064"/>
              <a:gd name="connsiteY4" fmla="*/ 133413 h 1721698"/>
              <a:gd name="connsiteX5" fmla="*/ 1235035 w 1665064"/>
              <a:gd name="connsiteY5" fmla="*/ 132041 h 1721698"/>
              <a:gd name="connsiteX6" fmla="*/ 1231558 w 1665064"/>
              <a:gd name="connsiteY6" fmla="*/ 670504 h 1721698"/>
              <a:gd name="connsiteX7" fmla="*/ 1285867 w 1665064"/>
              <a:gd name="connsiteY7" fmla="*/ 719143 h 1721698"/>
              <a:gd name="connsiteX8" fmla="*/ 1635257 w 1665064"/>
              <a:gd name="connsiteY8" fmla="*/ 698880 h 1721698"/>
              <a:gd name="connsiteX9" fmla="*/ 1120498 w 1665064"/>
              <a:gd name="connsiteY9" fmla="*/ 1453581 h 1721698"/>
              <a:gd name="connsiteX10" fmla="*/ 437948 w 1665064"/>
              <a:gd name="connsiteY10" fmla="*/ 1706499 h 1721698"/>
              <a:gd name="connsiteX11" fmla="*/ 1010 w 1665064"/>
              <a:gd name="connsiteY11" fmla="*/ 1186876 h 1721698"/>
              <a:gd name="connsiteX0" fmla="*/ 1010 w 1665064"/>
              <a:gd name="connsiteY0" fmla="*/ 1186876 h 1721698"/>
              <a:gd name="connsiteX1" fmla="*/ 400 w 1665064"/>
              <a:gd name="connsiteY1" fmla="*/ 288333 h 1721698"/>
              <a:gd name="connsiteX2" fmla="*/ 313311 w 1665064"/>
              <a:gd name="connsiteY2" fmla="*/ 239656 h 1721698"/>
              <a:gd name="connsiteX3" fmla="*/ 647085 w 1665064"/>
              <a:gd name="connsiteY3" fmla="*/ 197936 h 1721698"/>
              <a:gd name="connsiteX4" fmla="*/ 936955 w 1665064"/>
              <a:gd name="connsiteY4" fmla="*/ 133413 h 1721698"/>
              <a:gd name="connsiteX5" fmla="*/ 1235035 w 1665064"/>
              <a:gd name="connsiteY5" fmla="*/ 132041 h 1721698"/>
              <a:gd name="connsiteX6" fmla="*/ 1231558 w 1665064"/>
              <a:gd name="connsiteY6" fmla="*/ 670504 h 1721698"/>
              <a:gd name="connsiteX7" fmla="*/ 1285867 w 1665064"/>
              <a:gd name="connsiteY7" fmla="*/ 719143 h 1721698"/>
              <a:gd name="connsiteX8" fmla="*/ 1635257 w 1665064"/>
              <a:gd name="connsiteY8" fmla="*/ 698880 h 1721698"/>
              <a:gd name="connsiteX9" fmla="*/ 1120498 w 1665064"/>
              <a:gd name="connsiteY9" fmla="*/ 1453581 h 1721698"/>
              <a:gd name="connsiteX10" fmla="*/ 437948 w 1665064"/>
              <a:gd name="connsiteY10" fmla="*/ 1706499 h 1721698"/>
              <a:gd name="connsiteX11" fmla="*/ 1010 w 1665064"/>
              <a:gd name="connsiteY11" fmla="*/ 1186876 h 1721698"/>
              <a:gd name="connsiteX0" fmla="*/ 1010 w 1665064"/>
              <a:gd name="connsiteY0" fmla="*/ 1186876 h 1721698"/>
              <a:gd name="connsiteX1" fmla="*/ 400 w 1665064"/>
              <a:gd name="connsiteY1" fmla="*/ 288333 h 1721698"/>
              <a:gd name="connsiteX2" fmla="*/ 313311 w 1665064"/>
              <a:gd name="connsiteY2" fmla="*/ 239656 h 1721698"/>
              <a:gd name="connsiteX3" fmla="*/ 647085 w 1665064"/>
              <a:gd name="connsiteY3" fmla="*/ 197936 h 1721698"/>
              <a:gd name="connsiteX4" fmla="*/ 936955 w 1665064"/>
              <a:gd name="connsiteY4" fmla="*/ 133413 h 1721698"/>
              <a:gd name="connsiteX5" fmla="*/ 1235035 w 1665064"/>
              <a:gd name="connsiteY5" fmla="*/ 132041 h 1721698"/>
              <a:gd name="connsiteX6" fmla="*/ 1231558 w 1665064"/>
              <a:gd name="connsiteY6" fmla="*/ 670504 h 1721698"/>
              <a:gd name="connsiteX7" fmla="*/ 1285867 w 1665064"/>
              <a:gd name="connsiteY7" fmla="*/ 719143 h 1721698"/>
              <a:gd name="connsiteX8" fmla="*/ 1635257 w 1665064"/>
              <a:gd name="connsiteY8" fmla="*/ 698880 h 1721698"/>
              <a:gd name="connsiteX9" fmla="*/ 1120498 w 1665064"/>
              <a:gd name="connsiteY9" fmla="*/ 1453581 h 1721698"/>
              <a:gd name="connsiteX10" fmla="*/ 437948 w 1665064"/>
              <a:gd name="connsiteY10" fmla="*/ 1706499 h 1721698"/>
              <a:gd name="connsiteX11" fmla="*/ 1010 w 1665064"/>
              <a:gd name="connsiteY11" fmla="*/ 1186876 h 1721698"/>
              <a:gd name="connsiteX0" fmla="*/ 1010 w 1665064"/>
              <a:gd name="connsiteY0" fmla="*/ 1186876 h 1721698"/>
              <a:gd name="connsiteX1" fmla="*/ 400 w 1665064"/>
              <a:gd name="connsiteY1" fmla="*/ 288333 h 1721698"/>
              <a:gd name="connsiteX2" fmla="*/ 313311 w 1665064"/>
              <a:gd name="connsiteY2" fmla="*/ 239656 h 1721698"/>
              <a:gd name="connsiteX3" fmla="*/ 647085 w 1665064"/>
              <a:gd name="connsiteY3" fmla="*/ 197936 h 1721698"/>
              <a:gd name="connsiteX4" fmla="*/ 936955 w 1665064"/>
              <a:gd name="connsiteY4" fmla="*/ 133413 h 1721698"/>
              <a:gd name="connsiteX5" fmla="*/ 1235035 w 1665064"/>
              <a:gd name="connsiteY5" fmla="*/ 132041 h 1721698"/>
              <a:gd name="connsiteX6" fmla="*/ 1231558 w 1665064"/>
              <a:gd name="connsiteY6" fmla="*/ 670504 h 1721698"/>
              <a:gd name="connsiteX7" fmla="*/ 1285867 w 1665064"/>
              <a:gd name="connsiteY7" fmla="*/ 719143 h 1721698"/>
              <a:gd name="connsiteX8" fmla="*/ 1635257 w 1665064"/>
              <a:gd name="connsiteY8" fmla="*/ 698880 h 1721698"/>
              <a:gd name="connsiteX9" fmla="*/ 1120498 w 1665064"/>
              <a:gd name="connsiteY9" fmla="*/ 1453581 h 1721698"/>
              <a:gd name="connsiteX10" fmla="*/ 437948 w 1665064"/>
              <a:gd name="connsiteY10" fmla="*/ 1706499 h 1721698"/>
              <a:gd name="connsiteX11" fmla="*/ 1010 w 1665064"/>
              <a:gd name="connsiteY11" fmla="*/ 1186876 h 1721698"/>
              <a:gd name="connsiteX0" fmla="*/ 1010 w 1665064"/>
              <a:gd name="connsiteY0" fmla="*/ 1169011 h 1703833"/>
              <a:gd name="connsiteX1" fmla="*/ 400 w 1665064"/>
              <a:gd name="connsiteY1" fmla="*/ 270468 h 1703833"/>
              <a:gd name="connsiteX2" fmla="*/ 313311 w 1665064"/>
              <a:gd name="connsiteY2" fmla="*/ 221791 h 1703833"/>
              <a:gd name="connsiteX3" fmla="*/ 647085 w 1665064"/>
              <a:gd name="connsiteY3" fmla="*/ 180071 h 1703833"/>
              <a:gd name="connsiteX4" fmla="*/ 936955 w 1665064"/>
              <a:gd name="connsiteY4" fmla="*/ 150316 h 1703833"/>
              <a:gd name="connsiteX5" fmla="*/ 1235035 w 1665064"/>
              <a:gd name="connsiteY5" fmla="*/ 114176 h 1703833"/>
              <a:gd name="connsiteX6" fmla="*/ 1231558 w 1665064"/>
              <a:gd name="connsiteY6" fmla="*/ 652639 h 1703833"/>
              <a:gd name="connsiteX7" fmla="*/ 1285867 w 1665064"/>
              <a:gd name="connsiteY7" fmla="*/ 701278 h 1703833"/>
              <a:gd name="connsiteX8" fmla="*/ 1635257 w 1665064"/>
              <a:gd name="connsiteY8" fmla="*/ 681015 h 1703833"/>
              <a:gd name="connsiteX9" fmla="*/ 1120498 w 1665064"/>
              <a:gd name="connsiteY9" fmla="*/ 1435716 h 1703833"/>
              <a:gd name="connsiteX10" fmla="*/ 437948 w 1665064"/>
              <a:gd name="connsiteY10" fmla="*/ 1688634 h 1703833"/>
              <a:gd name="connsiteX11" fmla="*/ 1010 w 1665064"/>
              <a:gd name="connsiteY11" fmla="*/ 1169011 h 1703833"/>
              <a:gd name="connsiteX0" fmla="*/ 1010 w 1665064"/>
              <a:gd name="connsiteY0" fmla="*/ 1170276 h 1705098"/>
              <a:gd name="connsiteX1" fmla="*/ 400 w 1665064"/>
              <a:gd name="connsiteY1" fmla="*/ 271733 h 1705098"/>
              <a:gd name="connsiteX2" fmla="*/ 313311 w 1665064"/>
              <a:gd name="connsiteY2" fmla="*/ 223056 h 1705098"/>
              <a:gd name="connsiteX3" fmla="*/ 647085 w 1665064"/>
              <a:gd name="connsiteY3" fmla="*/ 181336 h 1705098"/>
              <a:gd name="connsiteX4" fmla="*/ 936955 w 1665064"/>
              <a:gd name="connsiteY4" fmla="*/ 151581 h 1705098"/>
              <a:gd name="connsiteX5" fmla="*/ 1235035 w 1665064"/>
              <a:gd name="connsiteY5" fmla="*/ 115441 h 1705098"/>
              <a:gd name="connsiteX6" fmla="*/ 1231558 w 1665064"/>
              <a:gd name="connsiteY6" fmla="*/ 653904 h 1705098"/>
              <a:gd name="connsiteX7" fmla="*/ 1285867 w 1665064"/>
              <a:gd name="connsiteY7" fmla="*/ 702543 h 1705098"/>
              <a:gd name="connsiteX8" fmla="*/ 1635257 w 1665064"/>
              <a:gd name="connsiteY8" fmla="*/ 682280 h 1705098"/>
              <a:gd name="connsiteX9" fmla="*/ 1120498 w 1665064"/>
              <a:gd name="connsiteY9" fmla="*/ 1436981 h 1705098"/>
              <a:gd name="connsiteX10" fmla="*/ 437948 w 1665064"/>
              <a:gd name="connsiteY10" fmla="*/ 1689899 h 1705098"/>
              <a:gd name="connsiteX11" fmla="*/ 1010 w 1665064"/>
              <a:gd name="connsiteY11" fmla="*/ 1170276 h 1705098"/>
              <a:gd name="connsiteX0" fmla="*/ 1010 w 1665064"/>
              <a:gd name="connsiteY0" fmla="*/ 1170276 h 1705098"/>
              <a:gd name="connsiteX1" fmla="*/ 400 w 1665064"/>
              <a:gd name="connsiteY1" fmla="*/ 271733 h 1705098"/>
              <a:gd name="connsiteX2" fmla="*/ 313311 w 1665064"/>
              <a:gd name="connsiteY2" fmla="*/ 223056 h 1705098"/>
              <a:gd name="connsiteX3" fmla="*/ 647085 w 1665064"/>
              <a:gd name="connsiteY3" fmla="*/ 181336 h 1705098"/>
              <a:gd name="connsiteX4" fmla="*/ 936955 w 1665064"/>
              <a:gd name="connsiteY4" fmla="*/ 151581 h 1705098"/>
              <a:gd name="connsiteX5" fmla="*/ 1235035 w 1665064"/>
              <a:gd name="connsiteY5" fmla="*/ 115441 h 1705098"/>
              <a:gd name="connsiteX6" fmla="*/ 1231558 w 1665064"/>
              <a:gd name="connsiteY6" fmla="*/ 653904 h 1705098"/>
              <a:gd name="connsiteX7" fmla="*/ 1285867 w 1665064"/>
              <a:gd name="connsiteY7" fmla="*/ 702543 h 1705098"/>
              <a:gd name="connsiteX8" fmla="*/ 1635257 w 1665064"/>
              <a:gd name="connsiteY8" fmla="*/ 682280 h 1705098"/>
              <a:gd name="connsiteX9" fmla="*/ 1120498 w 1665064"/>
              <a:gd name="connsiteY9" fmla="*/ 1436981 h 1705098"/>
              <a:gd name="connsiteX10" fmla="*/ 437948 w 1665064"/>
              <a:gd name="connsiteY10" fmla="*/ 1689899 h 1705098"/>
              <a:gd name="connsiteX11" fmla="*/ 1010 w 1665064"/>
              <a:gd name="connsiteY11" fmla="*/ 1170276 h 1705098"/>
              <a:gd name="connsiteX0" fmla="*/ 1010 w 1665064"/>
              <a:gd name="connsiteY0" fmla="*/ 1170276 h 1705098"/>
              <a:gd name="connsiteX1" fmla="*/ 400 w 1665064"/>
              <a:gd name="connsiteY1" fmla="*/ 271733 h 1705098"/>
              <a:gd name="connsiteX2" fmla="*/ 313311 w 1665064"/>
              <a:gd name="connsiteY2" fmla="*/ 223056 h 1705098"/>
              <a:gd name="connsiteX3" fmla="*/ 647085 w 1665064"/>
              <a:gd name="connsiteY3" fmla="*/ 181336 h 1705098"/>
              <a:gd name="connsiteX4" fmla="*/ 936955 w 1665064"/>
              <a:gd name="connsiteY4" fmla="*/ 151581 h 1705098"/>
              <a:gd name="connsiteX5" fmla="*/ 1228081 w 1665064"/>
              <a:gd name="connsiteY5" fmla="*/ 115441 h 1705098"/>
              <a:gd name="connsiteX6" fmla="*/ 1231558 w 1665064"/>
              <a:gd name="connsiteY6" fmla="*/ 653904 h 1705098"/>
              <a:gd name="connsiteX7" fmla="*/ 1285867 w 1665064"/>
              <a:gd name="connsiteY7" fmla="*/ 702543 h 1705098"/>
              <a:gd name="connsiteX8" fmla="*/ 1635257 w 1665064"/>
              <a:gd name="connsiteY8" fmla="*/ 682280 h 1705098"/>
              <a:gd name="connsiteX9" fmla="*/ 1120498 w 1665064"/>
              <a:gd name="connsiteY9" fmla="*/ 1436981 h 1705098"/>
              <a:gd name="connsiteX10" fmla="*/ 437948 w 1665064"/>
              <a:gd name="connsiteY10" fmla="*/ 1689899 h 1705098"/>
              <a:gd name="connsiteX11" fmla="*/ 1010 w 1665064"/>
              <a:gd name="connsiteY11" fmla="*/ 1170276 h 1705098"/>
              <a:gd name="connsiteX0" fmla="*/ 1010 w 1665064"/>
              <a:gd name="connsiteY0" fmla="*/ 1170276 h 1705098"/>
              <a:gd name="connsiteX1" fmla="*/ 400 w 1665064"/>
              <a:gd name="connsiteY1" fmla="*/ 271733 h 1705098"/>
              <a:gd name="connsiteX2" fmla="*/ 313311 w 1665064"/>
              <a:gd name="connsiteY2" fmla="*/ 223056 h 1705098"/>
              <a:gd name="connsiteX3" fmla="*/ 647085 w 1665064"/>
              <a:gd name="connsiteY3" fmla="*/ 181336 h 1705098"/>
              <a:gd name="connsiteX4" fmla="*/ 936955 w 1665064"/>
              <a:gd name="connsiteY4" fmla="*/ 151581 h 1705098"/>
              <a:gd name="connsiteX5" fmla="*/ 1228081 w 1665064"/>
              <a:gd name="connsiteY5" fmla="*/ 115441 h 1705098"/>
              <a:gd name="connsiteX6" fmla="*/ 1231558 w 1665064"/>
              <a:gd name="connsiteY6" fmla="*/ 653904 h 1705098"/>
              <a:gd name="connsiteX7" fmla="*/ 1285867 w 1665064"/>
              <a:gd name="connsiteY7" fmla="*/ 702543 h 1705098"/>
              <a:gd name="connsiteX8" fmla="*/ 1635257 w 1665064"/>
              <a:gd name="connsiteY8" fmla="*/ 682280 h 1705098"/>
              <a:gd name="connsiteX9" fmla="*/ 1120498 w 1665064"/>
              <a:gd name="connsiteY9" fmla="*/ 1436981 h 1705098"/>
              <a:gd name="connsiteX10" fmla="*/ 437948 w 1665064"/>
              <a:gd name="connsiteY10" fmla="*/ 1689899 h 1705098"/>
              <a:gd name="connsiteX11" fmla="*/ 1010 w 1665064"/>
              <a:gd name="connsiteY11" fmla="*/ 1170276 h 1705098"/>
              <a:gd name="connsiteX0" fmla="*/ 1010 w 1665064"/>
              <a:gd name="connsiteY0" fmla="*/ 1170276 h 1705098"/>
              <a:gd name="connsiteX1" fmla="*/ 400 w 1665064"/>
              <a:gd name="connsiteY1" fmla="*/ 271733 h 1705098"/>
              <a:gd name="connsiteX2" fmla="*/ 313311 w 1665064"/>
              <a:gd name="connsiteY2" fmla="*/ 223056 h 1705098"/>
              <a:gd name="connsiteX3" fmla="*/ 629701 w 1665064"/>
              <a:gd name="connsiteY3" fmla="*/ 195244 h 1705098"/>
              <a:gd name="connsiteX4" fmla="*/ 936955 w 1665064"/>
              <a:gd name="connsiteY4" fmla="*/ 151581 h 1705098"/>
              <a:gd name="connsiteX5" fmla="*/ 1228081 w 1665064"/>
              <a:gd name="connsiteY5" fmla="*/ 115441 h 1705098"/>
              <a:gd name="connsiteX6" fmla="*/ 1231558 w 1665064"/>
              <a:gd name="connsiteY6" fmla="*/ 653904 h 1705098"/>
              <a:gd name="connsiteX7" fmla="*/ 1285867 w 1665064"/>
              <a:gd name="connsiteY7" fmla="*/ 702543 h 1705098"/>
              <a:gd name="connsiteX8" fmla="*/ 1635257 w 1665064"/>
              <a:gd name="connsiteY8" fmla="*/ 682280 h 1705098"/>
              <a:gd name="connsiteX9" fmla="*/ 1120498 w 1665064"/>
              <a:gd name="connsiteY9" fmla="*/ 1436981 h 1705098"/>
              <a:gd name="connsiteX10" fmla="*/ 437948 w 1665064"/>
              <a:gd name="connsiteY10" fmla="*/ 1689899 h 1705098"/>
              <a:gd name="connsiteX11" fmla="*/ 1010 w 1665064"/>
              <a:gd name="connsiteY11" fmla="*/ 1170276 h 1705098"/>
              <a:gd name="connsiteX0" fmla="*/ 1010 w 1665064"/>
              <a:gd name="connsiteY0" fmla="*/ 1170276 h 1705098"/>
              <a:gd name="connsiteX1" fmla="*/ 400 w 1665064"/>
              <a:gd name="connsiteY1" fmla="*/ 271733 h 1705098"/>
              <a:gd name="connsiteX2" fmla="*/ 313311 w 1665064"/>
              <a:gd name="connsiteY2" fmla="*/ 223056 h 1705098"/>
              <a:gd name="connsiteX3" fmla="*/ 629701 w 1665064"/>
              <a:gd name="connsiteY3" fmla="*/ 195244 h 1705098"/>
              <a:gd name="connsiteX4" fmla="*/ 936955 w 1665064"/>
              <a:gd name="connsiteY4" fmla="*/ 151581 h 1705098"/>
              <a:gd name="connsiteX5" fmla="*/ 1228081 w 1665064"/>
              <a:gd name="connsiteY5" fmla="*/ 115441 h 1705098"/>
              <a:gd name="connsiteX6" fmla="*/ 1231558 w 1665064"/>
              <a:gd name="connsiteY6" fmla="*/ 653904 h 1705098"/>
              <a:gd name="connsiteX7" fmla="*/ 1285867 w 1665064"/>
              <a:gd name="connsiteY7" fmla="*/ 702543 h 1705098"/>
              <a:gd name="connsiteX8" fmla="*/ 1635257 w 1665064"/>
              <a:gd name="connsiteY8" fmla="*/ 682280 h 1705098"/>
              <a:gd name="connsiteX9" fmla="*/ 1120498 w 1665064"/>
              <a:gd name="connsiteY9" fmla="*/ 1436981 h 1705098"/>
              <a:gd name="connsiteX10" fmla="*/ 437948 w 1665064"/>
              <a:gd name="connsiteY10" fmla="*/ 1689899 h 1705098"/>
              <a:gd name="connsiteX11" fmla="*/ 1010 w 1665064"/>
              <a:gd name="connsiteY11" fmla="*/ 1170276 h 1705098"/>
              <a:gd name="connsiteX0" fmla="*/ 978 w 1665032"/>
              <a:gd name="connsiteY0" fmla="*/ 1170276 h 1705098"/>
              <a:gd name="connsiteX1" fmla="*/ 368 w 1665032"/>
              <a:gd name="connsiteY1" fmla="*/ 271733 h 1705098"/>
              <a:gd name="connsiteX2" fmla="*/ 313279 w 1665032"/>
              <a:gd name="connsiteY2" fmla="*/ 223056 h 1705098"/>
              <a:gd name="connsiteX3" fmla="*/ 629669 w 1665032"/>
              <a:gd name="connsiteY3" fmla="*/ 195244 h 1705098"/>
              <a:gd name="connsiteX4" fmla="*/ 936923 w 1665032"/>
              <a:gd name="connsiteY4" fmla="*/ 151581 h 1705098"/>
              <a:gd name="connsiteX5" fmla="*/ 1228049 w 1665032"/>
              <a:gd name="connsiteY5" fmla="*/ 115441 h 1705098"/>
              <a:gd name="connsiteX6" fmla="*/ 1231526 w 1665032"/>
              <a:gd name="connsiteY6" fmla="*/ 653904 h 1705098"/>
              <a:gd name="connsiteX7" fmla="*/ 1285835 w 1665032"/>
              <a:gd name="connsiteY7" fmla="*/ 702543 h 1705098"/>
              <a:gd name="connsiteX8" fmla="*/ 1635225 w 1665032"/>
              <a:gd name="connsiteY8" fmla="*/ 682280 h 1705098"/>
              <a:gd name="connsiteX9" fmla="*/ 1120466 w 1665032"/>
              <a:gd name="connsiteY9" fmla="*/ 1436981 h 1705098"/>
              <a:gd name="connsiteX10" fmla="*/ 437916 w 1665032"/>
              <a:gd name="connsiteY10" fmla="*/ 1689899 h 1705098"/>
              <a:gd name="connsiteX11" fmla="*/ 978 w 1665032"/>
              <a:gd name="connsiteY11" fmla="*/ 1170276 h 1705098"/>
              <a:gd name="connsiteX0" fmla="*/ 1537 w 1665591"/>
              <a:gd name="connsiteY0" fmla="*/ 1170276 h 1705098"/>
              <a:gd name="connsiteX1" fmla="*/ 927 w 1665591"/>
              <a:gd name="connsiteY1" fmla="*/ 271733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32085 w 1665591"/>
              <a:gd name="connsiteY6" fmla="*/ 653904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1537 w 1665591"/>
              <a:gd name="connsiteY11" fmla="*/ 1170276 h 1705098"/>
              <a:gd name="connsiteX0" fmla="*/ 1537 w 1665591"/>
              <a:gd name="connsiteY0" fmla="*/ 1170276 h 1705098"/>
              <a:gd name="connsiteX1" fmla="*/ 927 w 1665591"/>
              <a:gd name="connsiteY1" fmla="*/ 306501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32085 w 1665591"/>
              <a:gd name="connsiteY6" fmla="*/ 653904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1537 w 1665591"/>
              <a:gd name="connsiteY11" fmla="*/ 1170276 h 1705098"/>
              <a:gd name="connsiteX0" fmla="*/ 1537 w 1665591"/>
              <a:gd name="connsiteY0" fmla="*/ 1170276 h 1705098"/>
              <a:gd name="connsiteX1" fmla="*/ 927 w 1665591"/>
              <a:gd name="connsiteY1" fmla="*/ 306501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17798 w 1665591"/>
              <a:gd name="connsiteY6" fmla="*/ 668191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1537 w 1665591"/>
              <a:gd name="connsiteY11" fmla="*/ 1170276 h 1705098"/>
              <a:gd name="connsiteX0" fmla="*/ 1537 w 1665591"/>
              <a:gd name="connsiteY0" fmla="*/ 1170276 h 1705098"/>
              <a:gd name="connsiteX1" fmla="*/ 927 w 1665591"/>
              <a:gd name="connsiteY1" fmla="*/ 306501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29228 w 1665591"/>
              <a:gd name="connsiteY6" fmla="*/ 671048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1537 w 1665591"/>
              <a:gd name="connsiteY11" fmla="*/ 1170276 h 1705098"/>
              <a:gd name="connsiteX0" fmla="*/ 1537 w 1665591"/>
              <a:gd name="connsiteY0" fmla="*/ 1170276 h 1705098"/>
              <a:gd name="connsiteX1" fmla="*/ 927 w 1665591"/>
              <a:gd name="connsiteY1" fmla="*/ 306501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29228 w 1665591"/>
              <a:gd name="connsiteY6" fmla="*/ 671048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1537 w 1665591"/>
              <a:gd name="connsiteY11" fmla="*/ 1170276 h 1705098"/>
              <a:gd name="connsiteX0" fmla="*/ 1537 w 1665591"/>
              <a:gd name="connsiteY0" fmla="*/ 1170276 h 1705098"/>
              <a:gd name="connsiteX1" fmla="*/ 927 w 1665591"/>
              <a:gd name="connsiteY1" fmla="*/ 306501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29228 w 1665591"/>
              <a:gd name="connsiteY6" fmla="*/ 671048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1537 w 1665591"/>
              <a:gd name="connsiteY11" fmla="*/ 1170276 h 1705098"/>
              <a:gd name="connsiteX0" fmla="*/ 10110 w 1665591"/>
              <a:gd name="connsiteY0" fmla="*/ 1170276 h 1705098"/>
              <a:gd name="connsiteX1" fmla="*/ 927 w 1665591"/>
              <a:gd name="connsiteY1" fmla="*/ 306501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29228 w 1665591"/>
              <a:gd name="connsiteY6" fmla="*/ 671048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10110 w 1665591"/>
              <a:gd name="connsiteY11" fmla="*/ 1170276 h 1705098"/>
              <a:gd name="connsiteX0" fmla="*/ 4395 w 1665591"/>
              <a:gd name="connsiteY0" fmla="*/ 1167418 h 1705098"/>
              <a:gd name="connsiteX1" fmla="*/ 927 w 1665591"/>
              <a:gd name="connsiteY1" fmla="*/ 306501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29228 w 1665591"/>
              <a:gd name="connsiteY6" fmla="*/ 671048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4395 w 1665591"/>
              <a:gd name="connsiteY11" fmla="*/ 1167418 h 1705098"/>
              <a:gd name="connsiteX0" fmla="*/ 4395 w 1665591"/>
              <a:gd name="connsiteY0" fmla="*/ 1167418 h 1705098"/>
              <a:gd name="connsiteX1" fmla="*/ 927 w 1665591"/>
              <a:gd name="connsiteY1" fmla="*/ 306501 h 1705098"/>
              <a:gd name="connsiteX2" fmla="*/ 313838 w 1665591"/>
              <a:gd name="connsiteY2" fmla="*/ 223056 h 1705098"/>
              <a:gd name="connsiteX3" fmla="*/ 630228 w 1665591"/>
              <a:gd name="connsiteY3" fmla="*/ 195244 h 1705098"/>
              <a:gd name="connsiteX4" fmla="*/ 937482 w 1665591"/>
              <a:gd name="connsiteY4" fmla="*/ 151581 h 1705098"/>
              <a:gd name="connsiteX5" fmla="*/ 1228608 w 1665591"/>
              <a:gd name="connsiteY5" fmla="*/ 115441 h 1705098"/>
              <a:gd name="connsiteX6" fmla="*/ 1229228 w 1665591"/>
              <a:gd name="connsiteY6" fmla="*/ 671048 h 1705098"/>
              <a:gd name="connsiteX7" fmla="*/ 1286394 w 1665591"/>
              <a:gd name="connsiteY7" fmla="*/ 702543 h 1705098"/>
              <a:gd name="connsiteX8" fmla="*/ 1635784 w 1665591"/>
              <a:gd name="connsiteY8" fmla="*/ 682280 h 1705098"/>
              <a:gd name="connsiteX9" fmla="*/ 1121025 w 1665591"/>
              <a:gd name="connsiteY9" fmla="*/ 1436981 h 1705098"/>
              <a:gd name="connsiteX10" fmla="*/ 438475 w 1665591"/>
              <a:gd name="connsiteY10" fmla="*/ 1689899 h 1705098"/>
              <a:gd name="connsiteX11" fmla="*/ 4395 w 1665591"/>
              <a:gd name="connsiteY11" fmla="*/ 1167418 h 1705098"/>
              <a:gd name="connsiteX0" fmla="*/ 4395 w 1665591"/>
              <a:gd name="connsiteY0" fmla="*/ 1167418 h 1458300"/>
              <a:gd name="connsiteX1" fmla="*/ 927 w 1665591"/>
              <a:gd name="connsiteY1" fmla="*/ 306501 h 1458300"/>
              <a:gd name="connsiteX2" fmla="*/ 313838 w 1665591"/>
              <a:gd name="connsiteY2" fmla="*/ 223056 h 1458300"/>
              <a:gd name="connsiteX3" fmla="*/ 630228 w 1665591"/>
              <a:gd name="connsiteY3" fmla="*/ 195244 h 1458300"/>
              <a:gd name="connsiteX4" fmla="*/ 937482 w 1665591"/>
              <a:gd name="connsiteY4" fmla="*/ 151581 h 1458300"/>
              <a:gd name="connsiteX5" fmla="*/ 1228608 w 1665591"/>
              <a:gd name="connsiteY5" fmla="*/ 115441 h 1458300"/>
              <a:gd name="connsiteX6" fmla="*/ 1229228 w 1665591"/>
              <a:gd name="connsiteY6" fmla="*/ 671048 h 1458300"/>
              <a:gd name="connsiteX7" fmla="*/ 1286394 w 1665591"/>
              <a:gd name="connsiteY7" fmla="*/ 702543 h 1458300"/>
              <a:gd name="connsiteX8" fmla="*/ 1635784 w 1665591"/>
              <a:gd name="connsiteY8" fmla="*/ 682280 h 1458300"/>
              <a:gd name="connsiteX9" fmla="*/ 1121025 w 1665591"/>
              <a:gd name="connsiteY9" fmla="*/ 1436981 h 1458300"/>
              <a:gd name="connsiteX10" fmla="*/ 4395 w 1665591"/>
              <a:gd name="connsiteY10" fmla="*/ 1167418 h 1458300"/>
              <a:gd name="connsiteX0" fmla="*/ 1538 w 1665591"/>
              <a:gd name="connsiteY0" fmla="*/ 1178848 h 1459332"/>
              <a:gd name="connsiteX1" fmla="*/ 927 w 1665591"/>
              <a:gd name="connsiteY1" fmla="*/ 306501 h 1459332"/>
              <a:gd name="connsiteX2" fmla="*/ 313838 w 1665591"/>
              <a:gd name="connsiteY2" fmla="*/ 223056 h 1459332"/>
              <a:gd name="connsiteX3" fmla="*/ 630228 w 1665591"/>
              <a:gd name="connsiteY3" fmla="*/ 195244 h 1459332"/>
              <a:gd name="connsiteX4" fmla="*/ 937482 w 1665591"/>
              <a:gd name="connsiteY4" fmla="*/ 151581 h 1459332"/>
              <a:gd name="connsiteX5" fmla="*/ 1228608 w 1665591"/>
              <a:gd name="connsiteY5" fmla="*/ 115441 h 1459332"/>
              <a:gd name="connsiteX6" fmla="*/ 1229228 w 1665591"/>
              <a:gd name="connsiteY6" fmla="*/ 671048 h 1459332"/>
              <a:gd name="connsiteX7" fmla="*/ 1286394 w 1665591"/>
              <a:gd name="connsiteY7" fmla="*/ 702543 h 1459332"/>
              <a:gd name="connsiteX8" fmla="*/ 1635784 w 1665591"/>
              <a:gd name="connsiteY8" fmla="*/ 682280 h 1459332"/>
              <a:gd name="connsiteX9" fmla="*/ 1121025 w 1665591"/>
              <a:gd name="connsiteY9" fmla="*/ 1436981 h 1459332"/>
              <a:gd name="connsiteX10" fmla="*/ 1538 w 1665591"/>
              <a:gd name="connsiteY10" fmla="*/ 1178848 h 1459332"/>
              <a:gd name="connsiteX0" fmla="*/ 1538 w 1665591"/>
              <a:gd name="connsiteY0" fmla="*/ 1178848 h 1562123"/>
              <a:gd name="connsiteX1" fmla="*/ 927 w 1665591"/>
              <a:gd name="connsiteY1" fmla="*/ 306501 h 1562123"/>
              <a:gd name="connsiteX2" fmla="*/ 313838 w 1665591"/>
              <a:gd name="connsiteY2" fmla="*/ 223056 h 1562123"/>
              <a:gd name="connsiteX3" fmla="*/ 630228 w 1665591"/>
              <a:gd name="connsiteY3" fmla="*/ 195244 h 1562123"/>
              <a:gd name="connsiteX4" fmla="*/ 937482 w 1665591"/>
              <a:gd name="connsiteY4" fmla="*/ 151581 h 1562123"/>
              <a:gd name="connsiteX5" fmla="*/ 1228608 w 1665591"/>
              <a:gd name="connsiteY5" fmla="*/ 115441 h 1562123"/>
              <a:gd name="connsiteX6" fmla="*/ 1229228 w 1665591"/>
              <a:gd name="connsiteY6" fmla="*/ 671048 h 1562123"/>
              <a:gd name="connsiteX7" fmla="*/ 1286394 w 1665591"/>
              <a:gd name="connsiteY7" fmla="*/ 702543 h 1562123"/>
              <a:gd name="connsiteX8" fmla="*/ 1635784 w 1665591"/>
              <a:gd name="connsiteY8" fmla="*/ 682280 h 1562123"/>
              <a:gd name="connsiteX9" fmla="*/ 1121025 w 1665591"/>
              <a:gd name="connsiteY9" fmla="*/ 1436981 h 1562123"/>
              <a:gd name="connsiteX10" fmla="*/ 1538 w 1665591"/>
              <a:gd name="connsiteY10" fmla="*/ 1178848 h 1562123"/>
              <a:gd name="connsiteX0" fmla="*/ 1538 w 1665591"/>
              <a:gd name="connsiteY0" fmla="*/ 1178848 h 1642674"/>
              <a:gd name="connsiteX1" fmla="*/ 927 w 1665591"/>
              <a:gd name="connsiteY1" fmla="*/ 306501 h 1642674"/>
              <a:gd name="connsiteX2" fmla="*/ 313838 w 1665591"/>
              <a:gd name="connsiteY2" fmla="*/ 223056 h 1642674"/>
              <a:gd name="connsiteX3" fmla="*/ 630228 w 1665591"/>
              <a:gd name="connsiteY3" fmla="*/ 195244 h 1642674"/>
              <a:gd name="connsiteX4" fmla="*/ 937482 w 1665591"/>
              <a:gd name="connsiteY4" fmla="*/ 151581 h 1642674"/>
              <a:gd name="connsiteX5" fmla="*/ 1228608 w 1665591"/>
              <a:gd name="connsiteY5" fmla="*/ 115441 h 1642674"/>
              <a:gd name="connsiteX6" fmla="*/ 1229228 w 1665591"/>
              <a:gd name="connsiteY6" fmla="*/ 671048 h 1642674"/>
              <a:gd name="connsiteX7" fmla="*/ 1286394 w 1665591"/>
              <a:gd name="connsiteY7" fmla="*/ 702543 h 1642674"/>
              <a:gd name="connsiteX8" fmla="*/ 1635784 w 1665591"/>
              <a:gd name="connsiteY8" fmla="*/ 682280 h 1642674"/>
              <a:gd name="connsiteX9" fmla="*/ 1121025 w 1665591"/>
              <a:gd name="connsiteY9" fmla="*/ 1436981 h 1642674"/>
              <a:gd name="connsiteX10" fmla="*/ 1538 w 1665591"/>
              <a:gd name="connsiteY10" fmla="*/ 1178848 h 1642674"/>
              <a:gd name="connsiteX0" fmla="*/ 120 w 1672746"/>
              <a:gd name="connsiteY0" fmla="*/ 1181705 h 1643853"/>
              <a:gd name="connsiteX1" fmla="*/ 8082 w 1672746"/>
              <a:gd name="connsiteY1" fmla="*/ 306501 h 1643853"/>
              <a:gd name="connsiteX2" fmla="*/ 320993 w 1672746"/>
              <a:gd name="connsiteY2" fmla="*/ 223056 h 1643853"/>
              <a:gd name="connsiteX3" fmla="*/ 637383 w 1672746"/>
              <a:gd name="connsiteY3" fmla="*/ 195244 h 1643853"/>
              <a:gd name="connsiteX4" fmla="*/ 944637 w 1672746"/>
              <a:gd name="connsiteY4" fmla="*/ 151581 h 1643853"/>
              <a:gd name="connsiteX5" fmla="*/ 1235763 w 1672746"/>
              <a:gd name="connsiteY5" fmla="*/ 115441 h 1643853"/>
              <a:gd name="connsiteX6" fmla="*/ 1236383 w 1672746"/>
              <a:gd name="connsiteY6" fmla="*/ 671048 h 1643853"/>
              <a:gd name="connsiteX7" fmla="*/ 1293549 w 1672746"/>
              <a:gd name="connsiteY7" fmla="*/ 702543 h 1643853"/>
              <a:gd name="connsiteX8" fmla="*/ 1642939 w 1672746"/>
              <a:gd name="connsiteY8" fmla="*/ 682280 h 1643853"/>
              <a:gd name="connsiteX9" fmla="*/ 1128180 w 1672746"/>
              <a:gd name="connsiteY9" fmla="*/ 1436981 h 1643853"/>
              <a:gd name="connsiteX10" fmla="*/ 120 w 1672746"/>
              <a:gd name="connsiteY10" fmla="*/ 1181705 h 1643853"/>
              <a:gd name="connsiteX0" fmla="*/ 1538 w 1665592"/>
              <a:gd name="connsiteY0" fmla="*/ 1175990 h 1641501"/>
              <a:gd name="connsiteX1" fmla="*/ 928 w 1665592"/>
              <a:gd name="connsiteY1" fmla="*/ 306501 h 1641501"/>
              <a:gd name="connsiteX2" fmla="*/ 313839 w 1665592"/>
              <a:gd name="connsiteY2" fmla="*/ 223056 h 1641501"/>
              <a:gd name="connsiteX3" fmla="*/ 630229 w 1665592"/>
              <a:gd name="connsiteY3" fmla="*/ 195244 h 1641501"/>
              <a:gd name="connsiteX4" fmla="*/ 937483 w 1665592"/>
              <a:gd name="connsiteY4" fmla="*/ 151581 h 1641501"/>
              <a:gd name="connsiteX5" fmla="*/ 1228609 w 1665592"/>
              <a:gd name="connsiteY5" fmla="*/ 115441 h 1641501"/>
              <a:gd name="connsiteX6" fmla="*/ 1229229 w 1665592"/>
              <a:gd name="connsiteY6" fmla="*/ 671048 h 1641501"/>
              <a:gd name="connsiteX7" fmla="*/ 1286395 w 1665592"/>
              <a:gd name="connsiteY7" fmla="*/ 702543 h 1641501"/>
              <a:gd name="connsiteX8" fmla="*/ 1635785 w 1665592"/>
              <a:gd name="connsiteY8" fmla="*/ 682280 h 1641501"/>
              <a:gd name="connsiteX9" fmla="*/ 1121026 w 1665592"/>
              <a:gd name="connsiteY9" fmla="*/ 1436981 h 1641501"/>
              <a:gd name="connsiteX10" fmla="*/ 1538 w 1665592"/>
              <a:gd name="connsiteY10" fmla="*/ 1175990 h 1641501"/>
              <a:gd name="connsiteX0" fmla="*/ 1830 w 1665884"/>
              <a:gd name="connsiteY0" fmla="*/ 1175990 h 1641501"/>
              <a:gd name="connsiteX1" fmla="*/ 1220 w 1665884"/>
              <a:gd name="connsiteY1" fmla="*/ 306501 h 1641501"/>
              <a:gd name="connsiteX2" fmla="*/ 314131 w 1665884"/>
              <a:gd name="connsiteY2" fmla="*/ 223056 h 1641501"/>
              <a:gd name="connsiteX3" fmla="*/ 630521 w 1665884"/>
              <a:gd name="connsiteY3" fmla="*/ 195244 h 1641501"/>
              <a:gd name="connsiteX4" fmla="*/ 937775 w 1665884"/>
              <a:gd name="connsiteY4" fmla="*/ 151581 h 1641501"/>
              <a:gd name="connsiteX5" fmla="*/ 1228901 w 1665884"/>
              <a:gd name="connsiteY5" fmla="*/ 115441 h 1641501"/>
              <a:gd name="connsiteX6" fmla="*/ 1229521 w 1665884"/>
              <a:gd name="connsiteY6" fmla="*/ 671048 h 1641501"/>
              <a:gd name="connsiteX7" fmla="*/ 1286687 w 1665884"/>
              <a:gd name="connsiteY7" fmla="*/ 702543 h 1641501"/>
              <a:gd name="connsiteX8" fmla="*/ 1636077 w 1665884"/>
              <a:gd name="connsiteY8" fmla="*/ 682280 h 1641501"/>
              <a:gd name="connsiteX9" fmla="*/ 1121318 w 1665884"/>
              <a:gd name="connsiteY9" fmla="*/ 1436981 h 1641501"/>
              <a:gd name="connsiteX10" fmla="*/ 1830 w 1665884"/>
              <a:gd name="connsiteY10" fmla="*/ 1175990 h 1641501"/>
              <a:gd name="connsiteX0" fmla="*/ 655 w 1664709"/>
              <a:gd name="connsiteY0" fmla="*/ 1175990 h 1641501"/>
              <a:gd name="connsiteX1" fmla="*/ 45 w 1664709"/>
              <a:gd name="connsiteY1" fmla="*/ 306501 h 1641501"/>
              <a:gd name="connsiteX2" fmla="*/ 312956 w 1664709"/>
              <a:gd name="connsiteY2" fmla="*/ 223056 h 1641501"/>
              <a:gd name="connsiteX3" fmla="*/ 629346 w 1664709"/>
              <a:gd name="connsiteY3" fmla="*/ 195244 h 1641501"/>
              <a:gd name="connsiteX4" fmla="*/ 936600 w 1664709"/>
              <a:gd name="connsiteY4" fmla="*/ 151581 h 1641501"/>
              <a:gd name="connsiteX5" fmla="*/ 1227726 w 1664709"/>
              <a:gd name="connsiteY5" fmla="*/ 115441 h 1641501"/>
              <a:gd name="connsiteX6" fmla="*/ 1228346 w 1664709"/>
              <a:gd name="connsiteY6" fmla="*/ 671048 h 1641501"/>
              <a:gd name="connsiteX7" fmla="*/ 1285512 w 1664709"/>
              <a:gd name="connsiteY7" fmla="*/ 702543 h 1641501"/>
              <a:gd name="connsiteX8" fmla="*/ 1634902 w 1664709"/>
              <a:gd name="connsiteY8" fmla="*/ 682280 h 1641501"/>
              <a:gd name="connsiteX9" fmla="*/ 1120143 w 1664709"/>
              <a:gd name="connsiteY9" fmla="*/ 1436981 h 1641501"/>
              <a:gd name="connsiteX10" fmla="*/ 655 w 1664709"/>
              <a:gd name="connsiteY10" fmla="*/ 1175990 h 1641501"/>
              <a:gd name="connsiteX0" fmla="*/ 655 w 1664709"/>
              <a:gd name="connsiteY0" fmla="*/ 1175990 h 1641501"/>
              <a:gd name="connsiteX1" fmla="*/ 45 w 1664709"/>
              <a:gd name="connsiteY1" fmla="*/ 306501 h 1641501"/>
              <a:gd name="connsiteX2" fmla="*/ 312956 w 1664709"/>
              <a:gd name="connsiteY2" fmla="*/ 223056 h 1641501"/>
              <a:gd name="connsiteX3" fmla="*/ 629346 w 1664709"/>
              <a:gd name="connsiteY3" fmla="*/ 195244 h 1641501"/>
              <a:gd name="connsiteX4" fmla="*/ 936600 w 1664709"/>
              <a:gd name="connsiteY4" fmla="*/ 151581 h 1641501"/>
              <a:gd name="connsiteX5" fmla="*/ 1227726 w 1664709"/>
              <a:gd name="connsiteY5" fmla="*/ 115441 h 1641501"/>
              <a:gd name="connsiteX6" fmla="*/ 1228346 w 1664709"/>
              <a:gd name="connsiteY6" fmla="*/ 671048 h 1641501"/>
              <a:gd name="connsiteX7" fmla="*/ 1285512 w 1664709"/>
              <a:gd name="connsiteY7" fmla="*/ 702543 h 1641501"/>
              <a:gd name="connsiteX8" fmla="*/ 1634902 w 1664709"/>
              <a:gd name="connsiteY8" fmla="*/ 682280 h 1641501"/>
              <a:gd name="connsiteX9" fmla="*/ 1120143 w 1664709"/>
              <a:gd name="connsiteY9" fmla="*/ 1436981 h 1641501"/>
              <a:gd name="connsiteX10" fmla="*/ 655 w 1664709"/>
              <a:gd name="connsiteY10" fmla="*/ 1175990 h 1641501"/>
              <a:gd name="connsiteX0" fmla="*/ 655 w 1664709"/>
              <a:gd name="connsiteY0" fmla="*/ 1175990 h 1641501"/>
              <a:gd name="connsiteX1" fmla="*/ 45 w 1664709"/>
              <a:gd name="connsiteY1" fmla="*/ 306501 h 1641501"/>
              <a:gd name="connsiteX2" fmla="*/ 312956 w 1664709"/>
              <a:gd name="connsiteY2" fmla="*/ 223056 h 1641501"/>
              <a:gd name="connsiteX3" fmla="*/ 629346 w 1664709"/>
              <a:gd name="connsiteY3" fmla="*/ 195244 h 1641501"/>
              <a:gd name="connsiteX4" fmla="*/ 936600 w 1664709"/>
              <a:gd name="connsiteY4" fmla="*/ 151581 h 1641501"/>
              <a:gd name="connsiteX5" fmla="*/ 1227726 w 1664709"/>
              <a:gd name="connsiteY5" fmla="*/ 115441 h 1641501"/>
              <a:gd name="connsiteX6" fmla="*/ 1228346 w 1664709"/>
              <a:gd name="connsiteY6" fmla="*/ 671048 h 1641501"/>
              <a:gd name="connsiteX7" fmla="*/ 1285512 w 1664709"/>
              <a:gd name="connsiteY7" fmla="*/ 702543 h 1641501"/>
              <a:gd name="connsiteX8" fmla="*/ 1634902 w 1664709"/>
              <a:gd name="connsiteY8" fmla="*/ 682280 h 1641501"/>
              <a:gd name="connsiteX9" fmla="*/ 1120143 w 1664709"/>
              <a:gd name="connsiteY9" fmla="*/ 1436981 h 1641501"/>
              <a:gd name="connsiteX10" fmla="*/ 655 w 1664709"/>
              <a:gd name="connsiteY10" fmla="*/ 1175990 h 1641501"/>
              <a:gd name="connsiteX0" fmla="*/ 655 w 1664709"/>
              <a:gd name="connsiteY0" fmla="*/ 1141222 h 1627811"/>
              <a:gd name="connsiteX1" fmla="*/ 45 w 1664709"/>
              <a:gd name="connsiteY1" fmla="*/ 306501 h 1627811"/>
              <a:gd name="connsiteX2" fmla="*/ 312956 w 1664709"/>
              <a:gd name="connsiteY2" fmla="*/ 223056 h 1627811"/>
              <a:gd name="connsiteX3" fmla="*/ 629346 w 1664709"/>
              <a:gd name="connsiteY3" fmla="*/ 195244 h 1627811"/>
              <a:gd name="connsiteX4" fmla="*/ 936600 w 1664709"/>
              <a:gd name="connsiteY4" fmla="*/ 151581 h 1627811"/>
              <a:gd name="connsiteX5" fmla="*/ 1227726 w 1664709"/>
              <a:gd name="connsiteY5" fmla="*/ 115441 h 1627811"/>
              <a:gd name="connsiteX6" fmla="*/ 1228346 w 1664709"/>
              <a:gd name="connsiteY6" fmla="*/ 671048 h 1627811"/>
              <a:gd name="connsiteX7" fmla="*/ 1285512 w 1664709"/>
              <a:gd name="connsiteY7" fmla="*/ 702543 h 1627811"/>
              <a:gd name="connsiteX8" fmla="*/ 1634902 w 1664709"/>
              <a:gd name="connsiteY8" fmla="*/ 682280 h 1627811"/>
              <a:gd name="connsiteX9" fmla="*/ 1120143 w 1664709"/>
              <a:gd name="connsiteY9" fmla="*/ 1436981 h 1627811"/>
              <a:gd name="connsiteX10" fmla="*/ 655 w 1664709"/>
              <a:gd name="connsiteY10" fmla="*/ 1141222 h 1627811"/>
              <a:gd name="connsiteX0" fmla="*/ 655 w 1664709"/>
              <a:gd name="connsiteY0" fmla="*/ 1141222 h 1622555"/>
              <a:gd name="connsiteX1" fmla="*/ 45 w 1664709"/>
              <a:gd name="connsiteY1" fmla="*/ 306501 h 1622555"/>
              <a:gd name="connsiteX2" fmla="*/ 312956 w 1664709"/>
              <a:gd name="connsiteY2" fmla="*/ 223056 h 1622555"/>
              <a:gd name="connsiteX3" fmla="*/ 629346 w 1664709"/>
              <a:gd name="connsiteY3" fmla="*/ 195244 h 1622555"/>
              <a:gd name="connsiteX4" fmla="*/ 936600 w 1664709"/>
              <a:gd name="connsiteY4" fmla="*/ 151581 h 1622555"/>
              <a:gd name="connsiteX5" fmla="*/ 1227726 w 1664709"/>
              <a:gd name="connsiteY5" fmla="*/ 115441 h 1622555"/>
              <a:gd name="connsiteX6" fmla="*/ 1228346 w 1664709"/>
              <a:gd name="connsiteY6" fmla="*/ 671048 h 1622555"/>
              <a:gd name="connsiteX7" fmla="*/ 1285512 w 1664709"/>
              <a:gd name="connsiteY7" fmla="*/ 702543 h 1622555"/>
              <a:gd name="connsiteX8" fmla="*/ 1634902 w 1664709"/>
              <a:gd name="connsiteY8" fmla="*/ 682280 h 1622555"/>
              <a:gd name="connsiteX9" fmla="*/ 1120143 w 1664709"/>
              <a:gd name="connsiteY9" fmla="*/ 1436981 h 1622555"/>
              <a:gd name="connsiteX10" fmla="*/ 655 w 1664709"/>
              <a:gd name="connsiteY10" fmla="*/ 1141222 h 1622555"/>
              <a:gd name="connsiteX0" fmla="*/ 655 w 1664709"/>
              <a:gd name="connsiteY0" fmla="*/ 1141222 h 1627811"/>
              <a:gd name="connsiteX1" fmla="*/ 45 w 1664709"/>
              <a:gd name="connsiteY1" fmla="*/ 306501 h 1627811"/>
              <a:gd name="connsiteX2" fmla="*/ 312956 w 1664709"/>
              <a:gd name="connsiteY2" fmla="*/ 223056 h 1627811"/>
              <a:gd name="connsiteX3" fmla="*/ 629346 w 1664709"/>
              <a:gd name="connsiteY3" fmla="*/ 195244 h 1627811"/>
              <a:gd name="connsiteX4" fmla="*/ 936600 w 1664709"/>
              <a:gd name="connsiteY4" fmla="*/ 151581 h 1627811"/>
              <a:gd name="connsiteX5" fmla="*/ 1227726 w 1664709"/>
              <a:gd name="connsiteY5" fmla="*/ 115441 h 1627811"/>
              <a:gd name="connsiteX6" fmla="*/ 1228346 w 1664709"/>
              <a:gd name="connsiteY6" fmla="*/ 671048 h 1627811"/>
              <a:gd name="connsiteX7" fmla="*/ 1285512 w 1664709"/>
              <a:gd name="connsiteY7" fmla="*/ 702543 h 1627811"/>
              <a:gd name="connsiteX8" fmla="*/ 1634902 w 1664709"/>
              <a:gd name="connsiteY8" fmla="*/ 682280 h 1627811"/>
              <a:gd name="connsiteX9" fmla="*/ 1120143 w 1664709"/>
              <a:gd name="connsiteY9" fmla="*/ 1436981 h 1627811"/>
              <a:gd name="connsiteX10" fmla="*/ 655 w 1664709"/>
              <a:gd name="connsiteY10" fmla="*/ 1141222 h 1627811"/>
              <a:gd name="connsiteX0" fmla="*/ 655 w 1664709"/>
              <a:gd name="connsiteY0" fmla="*/ 1131889 h 1618478"/>
              <a:gd name="connsiteX1" fmla="*/ 45 w 1664709"/>
              <a:gd name="connsiteY1" fmla="*/ 297168 h 1618478"/>
              <a:gd name="connsiteX2" fmla="*/ 312956 w 1664709"/>
              <a:gd name="connsiteY2" fmla="*/ 213723 h 1618478"/>
              <a:gd name="connsiteX3" fmla="*/ 629346 w 1664709"/>
              <a:gd name="connsiteY3" fmla="*/ 185911 h 1618478"/>
              <a:gd name="connsiteX4" fmla="*/ 936600 w 1664709"/>
              <a:gd name="connsiteY4" fmla="*/ 142248 h 1618478"/>
              <a:gd name="connsiteX5" fmla="*/ 1163508 w 1664709"/>
              <a:gd name="connsiteY5" fmla="*/ 2056 h 1618478"/>
              <a:gd name="connsiteX6" fmla="*/ 1227726 w 1664709"/>
              <a:gd name="connsiteY6" fmla="*/ 106108 h 1618478"/>
              <a:gd name="connsiteX7" fmla="*/ 1228346 w 1664709"/>
              <a:gd name="connsiteY7" fmla="*/ 661715 h 1618478"/>
              <a:gd name="connsiteX8" fmla="*/ 1285512 w 1664709"/>
              <a:gd name="connsiteY8" fmla="*/ 693210 h 1618478"/>
              <a:gd name="connsiteX9" fmla="*/ 1634902 w 1664709"/>
              <a:gd name="connsiteY9" fmla="*/ 672947 h 1618478"/>
              <a:gd name="connsiteX10" fmla="*/ 1120143 w 1664709"/>
              <a:gd name="connsiteY10" fmla="*/ 1427648 h 1618478"/>
              <a:gd name="connsiteX11" fmla="*/ 655 w 1664709"/>
              <a:gd name="connsiteY11" fmla="*/ 1131889 h 1618478"/>
              <a:gd name="connsiteX0" fmla="*/ 655 w 1664709"/>
              <a:gd name="connsiteY0" fmla="*/ 1533210 h 2019799"/>
              <a:gd name="connsiteX1" fmla="*/ 45 w 1664709"/>
              <a:gd name="connsiteY1" fmla="*/ 698489 h 2019799"/>
              <a:gd name="connsiteX2" fmla="*/ 312956 w 1664709"/>
              <a:gd name="connsiteY2" fmla="*/ 615044 h 2019799"/>
              <a:gd name="connsiteX3" fmla="*/ 629346 w 1664709"/>
              <a:gd name="connsiteY3" fmla="*/ 587232 h 2019799"/>
              <a:gd name="connsiteX4" fmla="*/ 936600 w 1664709"/>
              <a:gd name="connsiteY4" fmla="*/ 543569 h 2019799"/>
              <a:gd name="connsiteX5" fmla="*/ 1222614 w 1664709"/>
              <a:gd name="connsiteY5" fmla="*/ 66 h 2019799"/>
              <a:gd name="connsiteX6" fmla="*/ 1227726 w 1664709"/>
              <a:gd name="connsiteY6" fmla="*/ 507429 h 2019799"/>
              <a:gd name="connsiteX7" fmla="*/ 1228346 w 1664709"/>
              <a:gd name="connsiteY7" fmla="*/ 1063036 h 2019799"/>
              <a:gd name="connsiteX8" fmla="*/ 1285512 w 1664709"/>
              <a:gd name="connsiteY8" fmla="*/ 1094531 h 2019799"/>
              <a:gd name="connsiteX9" fmla="*/ 1634902 w 1664709"/>
              <a:gd name="connsiteY9" fmla="*/ 1074268 h 2019799"/>
              <a:gd name="connsiteX10" fmla="*/ 1120143 w 1664709"/>
              <a:gd name="connsiteY10" fmla="*/ 1828969 h 2019799"/>
              <a:gd name="connsiteX11" fmla="*/ 655 w 1664709"/>
              <a:gd name="connsiteY11" fmla="*/ 1533210 h 2019799"/>
              <a:gd name="connsiteX0" fmla="*/ 655 w 1664709"/>
              <a:gd name="connsiteY0" fmla="*/ 1536687 h 2023276"/>
              <a:gd name="connsiteX1" fmla="*/ 45 w 1664709"/>
              <a:gd name="connsiteY1" fmla="*/ 701966 h 2023276"/>
              <a:gd name="connsiteX2" fmla="*/ 312956 w 1664709"/>
              <a:gd name="connsiteY2" fmla="*/ 618521 h 2023276"/>
              <a:gd name="connsiteX3" fmla="*/ 629346 w 1664709"/>
              <a:gd name="connsiteY3" fmla="*/ 590709 h 2023276"/>
              <a:gd name="connsiteX4" fmla="*/ 936600 w 1664709"/>
              <a:gd name="connsiteY4" fmla="*/ 547046 h 2023276"/>
              <a:gd name="connsiteX5" fmla="*/ 1212183 w 1664709"/>
              <a:gd name="connsiteY5" fmla="*/ 66 h 2023276"/>
              <a:gd name="connsiteX6" fmla="*/ 1227726 w 1664709"/>
              <a:gd name="connsiteY6" fmla="*/ 510906 h 2023276"/>
              <a:gd name="connsiteX7" fmla="*/ 1228346 w 1664709"/>
              <a:gd name="connsiteY7" fmla="*/ 1066513 h 2023276"/>
              <a:gd name="connsiteX8" fmla="*/ 1285512 w 1664709"/>
              <a:gd name="connsiteY8" fmla="*/ 1098008 h 2023276"/>
              <a:gd name="connsiteX9" fmla="*/ 1634902 w 1664709"/>
              <a:gd name="connsiteY9" fmla="*/ 1077745 h 2023276"/>
              <a:gd name="connsiteX10" fmla="*/ 1120143 w 1664709"/>
              <a:gd name="connsiteY10" fmla="*/ 1832446 h 2023276"/>
              <a:gd name="connsiteX11" fmla="*/ 655 w 1664709"/>
              <a:gd name="connsiteY11" fmla="*/ 1536687 h 2023276"/>
              <a:gd name="connsiteX0" fmla="*/ 655 w 1664709"/>
              <a:gd name="connsiteY0" fmla="*/ 1536621 h 2023210"/>
              <a:gd name="connsiteX1" fmla="*/ 45 w 1664709"/>
              <a:gd name="connsiteY1" fmla="*/ 701900 h 2023210"/>
              <a:gd name="connsiteX2" fmla="*/ 312956 w 1664709"/>
              <a:gd name="connsiteY2" fmla="*/ 618455 h 2023210"/>
              <a:gd name="connsiteX3" fmla="*/ 629346 w 1664709"/>
              <a:gd name="connsiteY3" fmla="*/ 590643 h 2023210"/>
              <a:gd name="connsiteX4" fmla="*/ 936600 w 1664709"/>
              <a:gd name="connsiteY4" fmla="*/ 546980 h 2023210"/>
              <a:gd name="connsiteX5" fmla="*/ 1212183 w 1664709"/>
              <a:gd name="connsiteY5" fmla="*/ 0 h 2023210"/>
              <a:gd name="connsiteX6" fmla="*/ 1227726 w 1664709"/>
              <a:gd name="connsiteY6" fmla="*/ 510840 h 2023210"/>
              <a:gd name="connsiteX7" fmla="*/ 1228346 w 1664709"/>
              <a:gd name="connsiteY7" fmla="*/ 1066447 h 2023210"/>
              <a:gd name="connsiteX8" fmla="*/ 1285512 w 1664709"/>
              <a:gd name="connsiteY8" fmla="*/ 1097942 h 2023210"/>
              <a:gd name="connsiteX9" fmla="*/ 1634902 w 1664709"/>
              <a:gd name="connsiteY9" fmla="*/ 1077679 h 2023210"/>
              <a:gd name="connsiteX10" fmla="*/ 1120143 w 1664709"/>
              <a:gd name="connsiteY10" fmla="*/ 1832380 h 2023210"/>
              <a:gd name="connsiteX11" fmla="*/ 655 w 1664709"/>
              <a:gd name="connsiteY11" fmla="*/ 1536621 h 2023210"/>
              <a:gd name="connsiteX0" fmla="*/ 655 w 1664709"/>
              <a:gd name="connsiteY0" fmla="*/ 1540099 h 2026688"/>
              <a:gd name="connsiteX1" fmla="*/ 45 w 1664709"/>
              <a:gd name="connsiteY1" fmla="*/ 705378 h 2026688"/>
              <a:gd name="connsiteX2" fmla="*/ 312956 w 1664709"/>
              <a:gd name="connsiteY2" fmla="*/ 621933 h 2026688"/>
              <a:gd name="connsiteX3" fmla="*/ 629346 w 1664709"/>
              <a:gd name="connsiteY3" fmla="*/ 594121 h 2026688"/>
              <a:gd name="connsiteX4" fmla="*/ 936600 w 1664709"/>
              <a:gd name="connsiteY4" fmla="*/ 550458 h 2026688"/>
              <a:gd name="connsiteX5" fmla="*/ 1222614 w 1664709"/>
              <a:gd name="connsiteY5" fmla="*/ 0 h 2026688"/>
              <a:gd name="connsiteX6" fmla="*/ 1227726 w 1664709"/>
              <a:gd name="connsiteY6" fmla="*/ 514318 h 2026688"/>
              <a:gd name="connsiteX7" fmla="*/ 1228346 w 1664709"/>
              <a:gd name="connsiteY7" fmla="*/ 1069925 h 2026688"/>
              <a:gd name="connsiteX8" fmla="*/ 1285512 w 1664709"/>
              <a:gd name="connsiteY8" fmla="*/ 1101420 h 2026688"/>
              <a:gd name="connsiteX9" fmla="*/ 1634902 w 1664709"/>
              <a:gd name="connsiteY9" fmla="*/ 1081157 h 2026688"/>
              <a:gd name="connsiteX10" fmla="*/ 1120143 w 1664709"/>
              <a:gd name="connsiteY10" fmla="*/ 1835858 h 2026688"/>
              <a:gd name="connsiteX11" fmla="*/ 655 w 1664709"/>
              <a:gd name="connsiteY11" fmla="*/ 1540099 h 2026688"/>
              <a:gd name="connsiteX0" fmla="*/ 655 w 1664709"/>
              <a:gd name="connsiteY0" fmla="*/ 1541073 h 2027662"/>
              <a:gd name="connsiteX1" fmla="*/ 45 w 1664709"/>
              <a:gd name="connsiteY1" fmla="*/ 706352 h 2027662"/>
              <a:gd name="connsiteX2" fmla="*/ 312956 w 1664709"/>
              <a:gd name="connsiteY2" fmla="*/ 622907 h 2027662"/>
              <a:gd name="connsiteX3" fmla="*/ 629346 w 1664709"/>
              <a:gd name="connsiteY3" fmla="*/ 595095 h 2027662"/>
              <a:gd name="connsiteX4" fmla="*/ 936600 w 1664709"/>
              <a:gd name="connsiteY4" fmla="*/ 551432 h 2027662"/>
              <a:gd name="connsiteX5" fmla="*/ 1045297 w 1664709"/>
              <a:gd name="connsiteY5" fmla="*/ 390381 h 2027662"/>
              <a:gd name="connsiteX6" fmla="*/ 1222614 w 1664709"/>
              <a:gd name="connsiteY6" fmla="*/ 974 h 2027662"/>
              <a:gd name="connsiteX7" fmla="*/ 1227726 w 1664709"/>
              <a:gd name="connsiteY7" fmla="*/ 515292 h 2027662"/>
              <a:gd name="connsiteX8" fmla="*/ 1228346 w 1664709"/>
              <a:gd name="connsiteY8" fmla="*/ 1070899 h 2027662"/>
              <a:gd name="connsiteX9" fmla="*/ 1285512 w 1664709"/>
              <a:gd name="connsiteY9" fmla="*/ 1102394 h 2027662"/>
              <a:gd name="connsiteX10" fmla="*/ 1634902 w 1664709"/>
              <a:gd name="connsiteY10" fmla="*/ 1082131 h 2027662"/>
              <a:gd name="connsiteX11" fmla="*/ 1120143 w 1664709"/>
              <a:gd name="connsiteY11" fmla="*/ 1836832 h 2027662"/>
              <a:gd name="connsiteX12" fmla="*/ 655 w 1664709"/>
              <a:gd name="connsiteY12" fmla="*/ 1541073 h 2027662"/>
              <a:gd name="connsiteX0" fmla="*/ 655 w 1664709"/>
              <a:gd name="connsiteY0" fmla="*/ 1581228 h 2067817"/>
              <a:gd name="connsiteX1" fmla="*/ 45 w 1664709"/>
              <a:gd name="connsiteY1" fmla="*/ 746507 h 2067817"/>
              <a:gd name="connsiteX2" fmla="*/ 312956 w 1664709"/>
              <a:gd name="connsiteY2" fmla="*/ 663062 h 2067817"/>
              <a:gd name="connsiteX3" fmla="*/ 629346 w 1664709"/>
              <a:gd name="connsiteY3" fmla="*/ 635250 h 2067817"/>
              <a:gd name="connsiteX4" fmla="*/ 936600 w 1664709"/>
              <a:gd name="connsiteY4" fmla="*/ 591587 h 2067817"/>
              <a:gd name="connsiteX5" fmla="*/ 972284 w 1664709"/>
              <a:gd name="connsiteY5" fmla="*/ 48087 h 2067817"/>
              <a:gd name="connsiteX6" fmla="*/ 1222614 w 1664709"/>
              <a:gd name="connsiteY6" fmla="*/ 41129 h 2067817"/>
              <a:gd name="connsiteX7" fmla="*/ 1227726 w 1664709"/>
              <a:gd name="connsiteY7" fmla="*/ 555447 h 2067817"/>
              <a:gd name="connsiteX8" fmla="*/ 1228346 w 1664709"/>
              <a:gd name="connsiteY8" fmla="*/ 1111054 h 2067817"/>
              <a:gd name="connsiteX9" fmla="*/ 1285512 w 1664709"/>
              <a:gd name="connsiteY9" fmla="*/ 1142549 h 2067817"/>
              <a:gd name="connsiteX10" fmla="*/ 1634902 w 1664709"/>
              <a:gd name="connsiteY10" fmla="*/ 1122286 h 2067817"/>
              <a:gd name="connsiteX11" fmla="*/ 1120143 w 1664709"/>
              <a:gd name="connsiteY11" fmla="*/ 1876987 h 2067817"/>
              <a:gd name="connsiteX12" fmla="*/ 655 w 1664709"/>
              <a:gd name="connsiteY12" fmla="*/ 1581228 h 2067817"/>
              <a:gd name="connsiteX0" fmla="*/ 655 w 1664709"/>
              <a:gd name="connsiteY0" fmla="*/ 1583260 h 2069849"/>
              <a:gd name="connsiteX1" fmla="*/ 45 w 1664709"/>
              <a:gd name="connsiteY1" fmla="*/ 748539 h 2069849"/>
              <a:gd name="connsiteX2" fmla="*/ 312956 w 1664709"/>
              <a:gd name="connsiteY2" fmla="*/ 665094 h 2069849"/>
              <a:gd name="connsiteX3" fmla="*/ 629346 w 1664709"/>
              <a:gd name="connsiteY3" fmla="*/ 637282 h 2069849"/>
              <a:gd name="connsiteX4" fmla="*/ 936600 w 1664709"/>
              <a:gd name="connsiteY4" fmla="*/ 593619 h 2069849"/>
              <a:gd name="connsiteX5" fmla="*/ 972284 w 1664709"/>
              <a:gd name="connsiteY5" fmla="*/ 50119 h 2069849"/>
              <a:gd name="connsiteX6" fmla="*/ 1216899 w 1664709"/>
              <a:gd name="connsiteY6" fmla="*/ 37446 h 2069849"/>
              <a:gd name="connsiteX7" fmla="*/ 1227726 w 1664709"/>
              <a:gd name="connsiteY7" fmla="*/ 557479 h 2069849"/>
              <a:gd name="connsiteX8" fmla="*/ 1228346 w 1664709"/>
              <a:gd name="connsiteY8" fmla="*/ 1113086 h 2069849"/>
              <a:gd name="connsiteX9" fmla="*/ 1285512 w 1664709"/>
              <a:gd name="connsiteY9" fmla="*/ 1144581 h 2069849"/>
              <a:gd name="connsiteX10" fmla="*/ 1634902 w 1664709"/>
              <a:gd name="connsiteY10" fmla="*/ 1124318 h 2069849"/>
              <a:gd name="connsiteX11" fmla="*/ 1120143 w 1664709"/>
              <a:gd name="connsiteY11" fmla="*/ 1879019 h 2069849"/>
              <a:gd name="connsiteX12" fmla="*/ 655 w 1664709"/>
              <a:gd name="connsiteY12" fmla="*/ 1583260 h 2069849"/>
              <a:gd name="connsiteX0" fmla="*/ 655 w 1664709"/>
              <a:gd name="connsiteY0" fmla="*/ 1582226 h 2068815"/>
              <a:gd name="connsiteX1" fmla="*/ 45 w 1664709"/>
              <a:gd name="connsiteY1" fmla="*/ 747505 h 2068815"/>
              <a:gd name="connsiteX2" fmla="*/ 312956 w 1664709"/>
              <a:gd name="connsiteY2" fmla="*/ 664060 h 2068815"/>
              <a:gd name="connsiteX3" fmla="*/ 629346 w 1664709"/>
              <a:gd name="connsiteY3" fmla="*/ 636248 h 2068815"/>
              <a:gd name="connsiteX4" fmla="*/ 936600 w 1664709"/>
              <a:gd name="connsiteY4" fmla="*/ 592585 h 2068815"/>
              <a:gd name="connsiteX5" fmla="*/ 972284 w 1664709"/>
              <a:gd name="connsiteY5" fmla="*/ 49085 h 2068815"/>
              <a:gd name="connsiteX6" fmla="*/ 1219757 w 1664709"/>
              <a:gd name="connsiteY6" fmla="*/ 39270 h 2068815"/>
              <a:gd name="connsiteX7" fmla="*/ 1227726 w 1664709"/>
              <a:gd name="connsiteY7" fmla="*/ 556445 h 2068815"/>
              <a:gd name="connsiteX8" fmla="*/ 1228346 w 1664709"/>
              <a:gd name="connsiteY8" fmla="*/ 1112052 h 2068815"/>
              <a:gd name="connsiteX9" fmla="*/ 1285512 w 1664709"/>
              <a:gd name="connsiteY9" fmla="*/ 1143547 h 2068815"/>
              <a:gd name="connsiteX10" fmla="*/ 1634902 w 1664709"/>
              <a:gd name="connsiteY10" fmla="*/ 1123284 h 2068815"/>
              <a:gd name="connsiteX11" fmla="*/ 1120143 w 1664709"/>
              <a:gd name="connsiteY11" fmla="*/ 1877985 h 2068815"/>
              <a:gd name="connsiteX12" fmla="*/ 655 w 1664709"/>
              <a:gd name="connsiteY12" fmla="*/ 1582226 h 2068815"/>
              <a:gd name="connsiteX0" fmla="*/ 655 w 1664709"/>
              <a:gd name="connsiteY0" fmla="*/ 1582226 h 2068815"/>
              <a:gd name="connsiteX1" fmla="*/ 45 w 1664709"/>
              <a:gd name="connsiteY1" fmla="*/ 747505 h 2068815"/>
              <a:gd name="connsiteX2" fmla="*/ 312956 w 1664709"/>
              <a:gd name="connsiteY2" fmla="*/ 664060 h 2068815"/>
              <a:gd name="connsiteX3" fmla="*/ 629346 w 1664709"/>
              <a:gd name="connsiteY3" fmla="*/ 636248 h 2068815"/>
              <a:gd name="connsiteX4" fmla="*/ 936600 w 1664709"/>
              <a:gd name="connsiteY4" fmla="*/ 592585 h 2068815"/>
              <a:gd name="connsiteX5" fmla="*/ 972284 w 1664709"/>
              <a:gd name="connsiteY5" fmla="*/ 49085 h 2068815"/>
              <a:gd name="connsiteX6" fmla="*/ 1219757 w 1664709"/>
              <a:gd name="connsiteY6" fmla="*/ 39270 h 2068815"/>
              <a:gd name="connsiteX7" fmla="*/ 1227726 w 1664709"/>
              <a:gd name="connsiteY7" fmla="*/ 556445 h 2068815"/>
              <a:gd name="connsiteX8" fmla="*/ 1228346 w 1664709"/>
              <a:gd name="connsiteY8" fmla="*/ 1112052 h 2068815"/>
              <a:gd name="connsiteX9" fmla="*/ 1285512 w 1664709"/>
              <a:gd name="connsiteY9" fmla="*/ 1143547 h 2068815"/>
              <a:gd name="connsiteX10" fmla="*/ 1634902 w 1664709"/>
              <a:gd name="connsiteY10" fmla="*/ 1123284 h 2068815"/>
              <a:gd name="connsiteX11" fmla="*/ 1120143 w 1664709"/>
              <a:gd name="connsiteY11" fmla="*/ 1877985 h 2068815"/>
              <a:gd name="connsiteX12" fmla="*/ 655 w 1664709"/>
              <a:gd name="connsiteY12" fmla="*/ 1582226 h 2068815"/>
              <a:gd name="connsiteX0" fmla="*/ 655 w 1664709"/>
              <a:gd name="connsiteY0" fmla="*/ 1578447 h 2065036"/>
              <a:gd name="connsiteX1" fmla="*/ 45 w 1664709"/>
              <a:gd name="connsiteY1" fmla="*/ 743726 h 2065036"/>
              <a:gd name="connsiteX2" fmla="*/ 312956 w 1664709"/>
              <a:gd name="connsiteY2" fmla="*/ 660281 h 2065036"/>
              <a:gd name="connsiteX3" fmla="*/ 629346 w 1664709"/>
              <a:gd name="connsiteY3" fmla="*/ 632469 h 2065036"/>
              <a:gd name="connsiteX4" fmla="*/ 936600 w 1664709"/>
              <a:gd name="connsiteY4" fmla="*/ 588806 h 2065036"/>
              <a:gd name="connsiteX5" fmla="*/ 972284 w 1664709"/>
              <a:gd name="connsiteY5" fmla="*/ 45306 h 2065036"/>
              <a:gd name="connsiteX6" fmla="*/ 1222615 w 1664709"/>
              <a:gd name="connsiteY6" fmla="*/ 46921 h 2065036"/>
              <a:gd name="connsiteX7" fmla="*/ 1227726 w 1664709"/>
              <a:gd name="connsiteY7" fmla="*/ 552666 h 2065036"/>
              <a:gd name="connsiteX8" fmla="*/ 1228346 w 1664709"/>
              <a:gd name="connsiteY8" fmla="*/ 1108273 h 2065036"/>
              <a:gd name="connsiteX9" fmla="*/ 1285512 w 1664709"/>
              <a:gd name="connsiteY9" fmla="*/ 1139768 h 2065036"/>
              <a:gd name="connsiteX10" fmla="*/ 1634902 w 1664709"/>
              <a:gd name="connsiteY10" fmla="*/ 1119505 h 2065036"/>
              <a:gd name="connsiteX11" fmla="*/ 1120143 w 1664709"/>
              <a:gd name="connsiteY11" fmla="*/ 1874206 h 2065036"/>
              <a:gd name="connsiteX12" fmla="*/ 655 w 1664709"/>
              <a:gd name="connsiteY12" fmla="*/ 1578447 h 2065036"/>
              <a:gd name="connsiteX0" fmla="*/ 655 w 1664709"/>
              <a:gd name="connsiteY0" fmla="*/ 1578447 h 2065036"/>
              <a:gd name="connsiteX1" fmla="*/ 45 w 1664709"/>
              <a:gd name="connsiteY1" fmla="*/ 743726 h 2065036"/>
              <a:gd name="connsiteX2" fmla="*/ 312956 w 1664709"/>
              <a:gd name="connsiteY2" fmla="*/ 660281 h 2065036"/>
              <a:gd name="connsiteX3" fmla="*/ 629346 w 1664709"/>
              <a:gd name="connsiteY3" fmla="*/ 632469 h 2065036"/>
              <a:gd name="connsiteX4" fmla="*/ 936600 w 1664709"/>
              <a:gd name="connsiteY4" fmla="*/ 588806 h 2065036"/>
              <a:gd name="connsiteX5" fmla="*/ 972284 w 1664709"/>
              <a:gd name="connsiteY5" fmla="*/ 45306 h 2065036"/>
              <a:gd name="connsiteX6" fmla="*/ 1222615 w 1664709"/>
              <a:gd name="connsiteY6" fmla="*/ 46921 h 2065036"/>
              <a:gd name="connsiteX7" fmla="*/ 1227726 w 1664709"/>
              <a:gd name="connsiteY7" fmla="*/ 552666 h 2065036"/>
              <a:gd name="connsiteX8" fmla="*/ 1228346 w 1664709"/>
              <a:gd name="connsiteY8" fmla="*/ 1108273 h 2065036"/>
              <a:gd name="connsiteX9" fmla="*/ 1285512 w 1664709"/>
              <a:gd name="connsiteY9" fmla="*/ 1139768 h 2065036"/>
              <a:gd name="connsiteX10" fmla="*/ 1634902 w 1664709"/>
              <a:gd name="connsiteY10" fmla="*/ 1119505 h 2065036"/>
              <a:gd name="connsiteX11" fmla="*/ 1120143 w 1664709"/>
              <a:gd name="connsiteY11" fmla="*/ 1874206 h 2065036"/>
              <a:gd name="connsiteX12" fmla="*/ 655 w 1664709"/>
              <a:gd name="connsiteY12" fmla="*/ 1578447 h 2065036"/>
              <a:gd name="connsiteX0" fmla="*/ 655 w 1664709"/>
              <a:gd name="connsiteY0" fmla="*/ 1596089 h 2082678"/>
              <a:gd name="connsiteX1" fmla="*/ 45 w 1664709"/>
              <a:gd name="connsiteY1" fmla="*/ 761368 h 2082678"/>
              <a:gd name="connsiteX2" fmla="*/ 312956 w 1664709"/>
              <a:gd name="connsiteY2" fmla="*/ 677923 h 2082678"/>
              <a:gd name="connsiteX3" fmla="*/ 629346 w 1664709"/>
              <a:gd name="connsiteY3" fmla="*/ 650111 h 2082678"/>
              <a:gd name="connsiteX4" fmla="*/ 936600 w 1664709"/>
              <a:gd name="connsiteY4" fmla="*/ 606448 h 2082678"/>
              <a:gd name="connsiteX5" fmla="*/ 972284 w 1664709"/>
              <a:gd name="connsiteY5" fmla="*/ 62948 h 2082678"/>
              <a:gd name="connsiteX6" fmla="*/ 1214043 w 1664709"/>
              <a:gd name="connsiteY6" fmla="*/ 21700 h 2082678"/>
              <a:gd name="connsiteX7" fmla="*/ 1227726 w 1664709"/>
              <a:gd name="connsiteY7" fmla="*/ 570308 h 2082678"/>
              <a:gd name="connsiteX8" fmla="*/ 1228346 w 1664709"/>
              <a:gd name="connsiteY8" fmla="*/ 1125915 h 2082678"/>
              <a:gd name="connsiteX9" fmla="*/ 1285512 w 1664709"/>
              <a:gd name="connsiteY9" fmla="*/ 1157410 h 2082678"/>
              <a:gd name="connsiteX10" fmla="*/ 1634902 w 1664709"/>
              <a:gd name="connsiteY10" fmla="*/ 1137147 h 2082678"/>
              <a:gd name="connsiteX11" fmla="*/ 1120143 w 1664709"/>
              <a:gd name="connsiteY11" fmla="*/ 1891848 h 2082678"/>
              <a:gd name="connsiteX12" fmla="*/ 655 w 1664709"/>
              <a:gd name="connsiteY12" fmla="*/ 1596089 h 2082678"/>
              <a:gd name="connsiteX0" fmla="*/ 655 w 1664709"/>
              <a:gd name="connsiteY0" fmla="*/ 1711825 h 2198414"/>
              <a:gd name="connsiteX1" fmla="*/ 45 w 1664709"/>
              <a:gd name="connsiteY1" fmla="*/ 877104 h 2198414"/>
              <a:gd name="connsiteX2" fmla="*/ 312956 w 1664709"/>
              <a:gd name="connsiteY2" fmla="*/ 793659 h 2198414"/>
              <a:gd name="connsiteX3" fmla="*/ 629346 w 1664709"/>
              <a:gd name="connsiteY3" fmla="*/ 765847 h 2198414"/>
              <a:gd name="connsiteX4" fmla="*/ 936600 w 1664709"/>
              <a:gd name="connsiteY4" fmla="*/ 722184 h 2198414"/>
              <a:gd name="connsiteX5" fmla="*/ 972284 w 1664709"/>
              <a:gd name="connsiteY5" fmla="*/ 178684 h 2198414"/>
              <a:gd name="connsiteX6" fmla="*/ 1214043 w 1664709"/>
              <a:gd name="connsiteY6" fmla="*/ 137436 h 2198414"/>
              <a:gd name="connsiteX7" fmla="*/ 1227726 w 1664709"/>
              <a:gd name="connsiteY7" fmla="*/ 686044 h 2198414"/>
              <a:gd name="connsiteX8" fmla="*/ 1228346 w 1664709"/>
              <a:gd name="connsiteY8" fmla="*/ 1241651 h 2198414"/>
              <a:gd name="connsiteX9" fmla="*/ 1285512 w 1664709"/>
              <a:gd name="connsiteY9" fmla="*/ 1273146 h 2198414"/>
              <a:gd name="connsiteX10" fmla="*/ 1634902 w 1664709"/>
              <a:gd name="connsiteY10" fmla="*/ 1252883 h 2198414"/>
              <a:gd name="connsiteX11" fmla="*/ 1120143 w 1664709"/>
              <a:gd name="connsiteY11" fmla="*/ 2007584 h 2198414"/>
              <a:gd name="connsiteX12" fmla="*/ 655 w 1664709"/>
              <a:gd name="connsiteY12" fmla="*/ 1711825 h 2198414"/>
              <a:gd name="connsiteX0" fmla="*/ 655 w 1664709"/>
              <a:gd name="connsiteY0" fmla="*/ 1722366 h 2208955"/>
              <a:gd name="connsiteX1" fmla="*/ 45 w 1664709"/>
              <a:gd name="connsiteY1" fmla="*/ 887645 h 2208955"/>
              <a:gd name="connsiteX2" fmla="*/ 312956 w 1664709"/>
              <a:gd name="connsiteY2" fmla="*/ 804200 h 2208955"/>
              <a:gd name="connsiteX3" fmla="*/ 629346 w 1664709"/>
              <a:gd name="connsiteY3" fmla="*/ 776388 h 2208955"/>
              <a:gd name="connsiteX4" fmla="*/ 936600 w 1664709"/>
              <a:gd name="connsiteY4" fmla="*/ 732725 h 2208955"/>
              <a:gd name="connsiteX5" fmla="*/ 972284 w 1664709"/>
              <a:gd name="connsiteY5" fmla="*/ 154935 h 2208955"/>
              <a:gd name="connsiteX6" fmla="*/ 1214043 w 1664709"/>
              <a:gd name="connsiteY6" fmla="*/ 147977 h 2208955"/>
              <a:gd name="connsiteX7" fmla="*/ 1227726 w 1664709"/>
              <a:gd name="connsiteY7" fmla="*/ 696585 h 2208955"/>
              <a:gd name="connsiteX8" fmla="*/ 1228346 w 1664709"/>
              <a:gd name="connsiteY8" fmla="*/ 1252192 h 2208955"/>
              <a:gd name="connsiteX9" fmla="*/ 1285512 w 1664709"/>
              <a:gd name="connsiteY9" fmla="*/ 1283687 h 2208955"/>
              <a:gd name="connsiteX10" fmla="*/ 1634902 w 1664709"/>
              <a:gd name="connsiteY10" fmla="*/ 1263424 h 2208955"/>
              <a:gd name="connsiteX11" fmla="*/ 1120143 w 1664709"/>
              <a:gd name="connsiteY11" fmla="*/ 2018125 h 2208955"/>
              <a:gd name="connsiteX12" fmla="*/ 655 w 1664709"/>
              <a:gd name="connsiteY12" fmla="*/ 1722366 h 2208955"/>
              <a:gd name="connsiteX0" fmla="*/ 655 w 1664709"/>
              <a:gd name="connsiteY0" fmla="*/ 1743338 h 2229927"/>
              <a:gd name="connsiteX1" fmla="*/ 45 w 1664709"/>
              <a:gd name="connsiteY1" fmla="*/ 908617 h 2229927"/>
              <a:gd name="connsiteX2" fmla="*/ 312956 w 1664709"/>
              <a:gd name="connsiteY2" fmla="*/ 825172 h 2229927"/>
              <a:gd name="connsiteX3" fmla="*/ 629346 w 1664709"/>
              <a:gd name="connsiteY3" fmla="*/ 797360 h 2229927"/>
              <a:gd name="connsiteX4" fmla="*/ 936600 w 1664709"/>
              <a:gd name="connsiteY4" fmla="*/ 753697 h 2229927"/>
              <a:gd name="connsiteX5" fmla="*/ 972284 w 1664709"/>
              <a:gd name="connsiteY5" fmla="*/ 175907 h 2229927"/>
              <a:gd name="connsiteX6" fmla="*/ 1214043 w 1664709"/>
              <a:gd name="connsiteY6" fmla="*/ 168949 h 2229927"/>
              <a:gd name="connsiteX7" fmla="*/ 1227726 w 1664709"/>
              <a:gd name="connsiteY7" fmla="*/ 717557 h 2229927"/>
              <a:gd name="connsiteX8" fmla="*/ 1228346 w 1664709"/>
              <a:gd name="connsiteY8" fmla="*/ 1273164 h 2229927"/>
              <a:gd name="connsiteX9" fmla="*/ 1285512 w 1664709"/>
              <a:gd name="connsiteY9" fmla="*/ 1304659 h 2229927"/>
              <a:gd name="connsiteX10" fmla="*/ 1634902 w 1664709"/>
              <a:gd name="connsiteY10" fmla="*/ 1284396 h 2229927"/>
              <a:gd name="connsiteX11" fmla="*/ 1120143 w 1664709"/>
              <a:gd name="connsiteY11" fmla="*/ 2039097 h 2229927"/>
              <a:gd name="connsiteX12" fmla="*/ 655 w 1664709"/>
              <a:gd name="connsiteY12" fmla="*/ 1743338 h 2229927"/>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36600 w 1664709"/>
              <a:gd name="connsiteY4" fmla="*/ 754598 h 2230828"/>
              <a:gd name="connsiteX5" fmla="*/ 972284 w 1664709"/>
              <a:gd name="connsiteY5" fmla="*/ 176808 h 2230828"/>
              <a:gd name="connsiteX6" fmla="*/ 1214043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36600 w 1664709"/>
              <a:gd name="connsiteY4" fmla="*/ 754598 h 2230828"/>
              <a:gd name="connsiteX5" fmla="*/ 972284 w 1664709"/>
              <a:gd name="connsiteY5" fmla="*/ 176808 h 2230828"/>
              <a:gd name="connsiteX6" fmla="*/ 1219758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36600 w 1664709"/>
              <a:gd name="connsiteY4" fmla="*/ 754598 h 2230828"/>
              <a:gd name="connsiteX5" fmla="*/ 972284 w 1664709"/>
              <a:gd name="connsiteY5" fmla="*/ 176808 h 2230828"/>
              <a:gd name="connsiteX6" fmla="*/ 1219758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36600 w 1664709"/>
              <a:gd name="connsiteY4" fmla="*/ 754598 h 2230828"/>
              <a:gd name="connsiteX5" fmla="*/ 972284 w 1664709"/>
              <a:gd name="connsiteY5" fmla="*/ 176808 h 2230828"/>
              <a:gd name="connsiteX6" fmla="*/ 1225473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36600 w 1664709"/>
              <a:gd name="connsiteY4" fmla="*/ 754598 h 2230828"/>
              <a:gd name="connsiteX5" fmla="*/ 972284 w 1664709"/>
              <a:gd name="connsiteY5" fmla="*/ 176808 h 2230828"/>
              <a:gd name="connsiteX6" fmla="*/ 1225473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36600 w 1664709"/>
              <a:gd name="connsiteY4" fmla="*/ 754598 h 2230828"/>
              <a:gd name="connsiteX5" fmla="*/ 972284 w 1664709"/>
              <a:gd name="connsiteY5" fmla="*/ 176808 h 2230828"/>
              <a:gd name="connsiteX6" fmla="*/ 1225473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36600 w 1664709"/>
              <a:gd name="connsiteY4" fmla="*/ 754598 h 2230828"/>
              <a:gd name="connsiteX5" fmla="*/ 972284 w 1664709"/>
              <a:gd name="connsiteY5" fmla="*/ 176808 h 2230828"/>
              <a:gd name="connsiteX6" fmla="*/ 1225473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36600 w 1664709"/>
              <a:gd name="connsiteY4" fmla="*/ 754598 h 2230828"/>
              <a:gd name="connsiteX5" fmla="*/ 972284 w 1664709"/>
              <a:gd name="connsiteY5" fmla="*/ 176808 h 2230828"/>
              <a:gd name="connsiteX6" fmla="*/ 1225473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896595 w 1664709"/>
              <a:gd name="connsiteY4" fmla="*/ 780315 h 2230828"/>
              <a:gd name="connsiteX5" fmla="*/ 972284 w 1664709"/>
              <a:gd name="connsiteY5" fmla="*/ 176808 h 2230828"/>
              <a:gd name="connsiteX6" fmla="*/ 1225473 w 1664709"/>
              <a:gd name="connsiteY6" fmla="*/ 169850 h 2230828"/>
              <a:gd name="connsiteX7" fmla="*/ 1227726 w 1664709"/>
              <a:gd name="connsiteY7" fmla="*/ 718458 h 2230828"/>
              <a:gd name="connsiteX8" fmla="*/ 1228346 w 1664709"/>
              <a:gd name="connsiteY8" fmla="*/ 1274065 h 2230828"/>
              <a:gd name="connsiteX9" fmla="*/ 1285512 w 1664709"/>
              <a:gd name="connsiteY9" fmla="*/ 1305560 h 2230828"/>
              <a:gd name="connsiteX10" fmla="*/ 1634902 w 1664709"/>
              <a:gd name="connsiteY10" fmla="*/ 1285297 h 2230828"/>
              <a:gd name="connsiteX11" fmla="*/ 1120143 w 1664709"/>
              <a:gd name="connsiteY11" fmla="*/ 2039998 h 2230828"/>
              <a:gd name="connsiteX12" fmla="*/ 655 w 1664709"/>
              <a:gd name="connsiteY12"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896595 w 1664709"/>
              <a:gd name="connsiteY4" fmla="*/ 780315 h 2230828"/>
              <a:gd name="connsiteX5" fmla="*/ 918394 w 1664709"/>
              <a:gd name="connsiteY5" fmla="*/ 703099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896595 w 1664709"/>
              <a:gd name="connsiteY4" fmla="*/ 780315 h 2230828"/>
              <a:gd name="connsiteX5" fmla="*/ 941254 w 1664709"/>
              <a:gd name="connsiteY5" fmla="*/ 771679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896595 w 1664709"/>
              <a:gd name="connsiteY4" fmla="*/ 780315 h 2230828"/>
              <a:gd name="connsiteX5" fmla="*/ 941254 w 1664709"/>
              <a:gd name="connsiteY5" fmla="*/ 771679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896595 w 1664709"/>
              <a:gd name="connsiteY4" fmla="*/ 780315 h 2230828"/>
              <a:gd name="connsiteX5" fmla="*/ 955541 w 1664709"/>
              <a:gd name="connsiteY5" fmla="*/ 797397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896595 w 1664709"/>
              <a:gd name="connsiteY4" fmla="*/ 780315 h 2230828"/>
              <a:gd name="connsiteX5" fmla="*/ 964114 w 1664709"/>
              <a:gd name="connsiteY5" fmla="*/ 800255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896595 w 1664709"/>
              <a:gd name="connsiteY4" fmla="*/ 780315 h 2230828"/>
              <a:gd name="connsiteX5" fmla="*/ 964114 w 1664709"/>
              <a:gd name="connsiteY5" fmla="*/ 800255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896595 w 1664709"/>
              <a:gd name="connsiteY4" fmla="*/ 780315 h 2230828"/>
              <a:gd name="connsiteX5" fmla="*/ 964114 w 1664709"/>
              <a:gd name="connsiteY5" fmla="*/ 800255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10883 w 1664709"/>
              <a:gd name="connsiteY4" fmla="*/ 803175 h 2230828"/>
              <a:gd name="connsiteX5" fmla="*/ 964114 w 1664709"/>
              <a:gd name="connsiteY5" fmla="*/ 800255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22313 w 1664709"/>
              <a:gd name="connsiteY4" fmla="*/ 800317 h 2230828"/>
              <a:gd name="connsiteX5" fmla="*/ 964114 w 1664709"/>
              <a:gd name="connsiteY5" fmla="*/ 800255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22313 w 1664709"/>
              <a:gd name="connsiteY4" fmla="*/ 800317 h 2230828"/>
              <a:gd name="connsiteX5" fmla="*/ 964114 w 1664709"/>
              <a:gd name="connsiteY5" fmla="*/ 800255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22313 w 1664709"/>
              <a:gd name="connsiteY4" fmla="*/ 800317 h 2230828"/>
              <a:gd name="connsiteX5" fmla="*/ 964114 w 1664709"/>
              <a:gd name="connsiteY5" fmla="*/ 800255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22313 w 1664709"/>
              <a:gd name="connsiteY4" fmla="*/ 800317 h 2230828"/>
              <a:gd name="connsiteX5" fmla="*/ 966971 w 1664709"/>
              <a:gd name="connsiteY5" fmla="*/ 805970 h 2230828"/>
              <a:gd name="connsiteX6" fmla="*/ 972284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44239 h 2230828"/>
              <a:gd name="connsiteX1" fmla="*/ 45 w 1664709"/>
              <a:gd name="connsiteY1" fmla="*/ 909518 h 2230828"/>
              <a:gd name="connsiteX2" fmla="*/ 312956 w 1664709"/>
              <a:gd name="connsiteY2" fmla="*/ 826073 h 2230828"/>
              <a:gd name="connsiteX3" fmla="*/ 629346 w 1664709"/>
              <a:gd name="connsiteY3" fmla="*/ 798261 h 2230828"/>
              <a:gd name="connsiteX4" fmla="*/ 922313 w 1664709"/>
              <a:gd name="connsiteY4" fmla="*/ 800317 h 2230828"/>
              <a:gd name="connsiteX5" fmla="*/ 966971 w 1664709"/>
              <a:gd name="connsiteY5" fmla="*/ 805970 h 2230828"/>
              <a:gd name="connsiteX6" fmla="*/ 977999 w 1664709"/>
              <a:gd name="connsiteY6" fmla="*/ 176808 h 2230828"/>
              <a:gd name="connsiteX7" fmla="*/ 1225473 w 1664709"/>
              <a:gd name="connsiteY7" fmla="*/ 169850 h 2230828"/>
              <a:gd name="connsiteX8" fmla="*/ 1227726 w 1664709"/>
              <a:gd name="connsiteY8" fmla="*/ 718458 h 2230828"/>
              <a:gd name="connsiteX9" fmla="*/ 1228346 w 1664709"/>
              <a:gd name="connsiteY9" fmla="*/ 1274065 h 2230828"/>
              <a:gd name="connsiteX10" fmla="*/ 1285512 w 1664709"/>
              <a:gd name="connsiteY10" fmla="*/ 1305560 h 2230828"/>
              <a:gd name="connsiteX11" fmla="*/ 1634902 w 1664709"/>
              <a:gd name="connsiteY11" fmla="*/ 1285297 h 2230828"/>
              <a:gd name="connsiteX12" fmla="*/ 1120143 w 1664709"/>
              <a:gd name="connsiteY12" fmla="*/ 2039998 h 2230828"/>
              <a:gd name="connsiteX13" fmla="*/ 655 w 1664709"/>
              <a:gd name="connsiteY13" fmla="*/ 1744239 h 2230828"/>
              <a:gd name="connsiteX0" fmla="*/ 655 w 1664709"/>
              <a:gd name="connsiteY0" fmla="*/ 1739812 h 2226401"/>
              <a:gd name="connsiteX1" fmla="*/ 45 w 1664709"/>
              <a:gd name="connsiteY1" fmla="*/ 905091 h 2226401"/>
              <a:gd name="connsiteX2" fmla="*/ 312956 w 1664709"/>
              <a:gd name="connsiteY2" fmla="*/ 821646 h 2226401"/>
              <a:gd name="connsiteX3" fmla="*/ 629346 w 1664709"/>
              <a:gd name="connsiteY3" fmla="*/ 793834 h 2226401"/>
              <a:gd name="connsiteX4" fmla="*/ 922313 w 1664709"/>
              <a:gd name="connsiteY4" fmla="*/ 795890 h 2226401"/>
              <a:gd name="connsiteX5" fmla="*/ 966971 w 1664709"/>
              <a:gd name="connsiteY5" fmla="*/ 801543 h 2226401"/>
              <a:gd name="connsiteX6" fmla="*/ 969427 w 1664709"/>
              <a:gd name="connsiteY6" fmla="*/ 183811 h 2226401"/>
              <a:gd name="connsiteX7" fmla="*/ 1225473 w 1664709"/>
              <a:gd name="connsiteY7" fmla="*/ 165423 h 2226401"/>
              <a:gd name="connsiteX8" fmla="*/ 1227726 w 1664709"/>
              <a:gd name="connsiteY8" fmla="*/ 714031 h 2226401"/>
              <a:gd name="connsiteX9" fmla="*/ 1228346 w 1664709"/>
              <a:gd name="connsiteY9" fmla="*/ 1269638 h 2226401"/>
              <a:gd name="connsiteX10" fmla="*/ 1285512 w 1664709"/>
              <a:gd name="connsiteY10" fmla="*/ 1301133 h 2226401"/>
              <a:gd name="connsiteX11" fmla="*/ 1634902 w 1664709"/>
              <a:gd name="connsiteY11" fmla="*/ 1280870 h 2226401"/>
              <a:gd name="connsiteX12" fmla="*/ 1120143 w 1664709"/>
              <a:gd name="connsiteY12" fmla="*/ 2035571 h 2226401"/>
              <a:gd name="connsiteX13" fmla="*/ 655 w 1664709"/>
              <a:gd name="connsiteY13" fmla="*/ 1739812 h 2226401"/>
              <a:gd name="connsiteX0" fmla="*/ 655 w 1664709"/>
              <a:gd name="connsiteY0" fmla="*/ 1739812 h 2226401"/>
              <a:gd name="connsiteX1" fmla="*/ 45 w 1664709"/>
              <a:gd name="connsiteY1" fmla="*/ 905091 h 2226401"/>
              <a:gd name="connsiteX2" fmla="*/ 312956 w 1664709"/>
              <a:gd name="connsiteY2" fmla="*/ 821646 h 2226401"/>
              <a:gd name="connsiteX3" fmla="*/ 629346 w 1664709"/>
              <a:gd name="connsiteY3" fmla="*/ 793834 h 2226401"/>
              <a:gd name="connsiteX4" fmla="*/ 922313 w 1664709"/>
              <a:gd name="connsiteY4" fmla="*/ 795890 h 2226401"/>
              <a:gd name="connsiteX5" fmla="*/ 966971 w 1664709"/>
              <a:gd name="connsiteY5" fmla="*/ 801543 h 2226401"/>
              <a:gd name="connsiteX6" fmla="*/ 977999 w 1664709"/>
              <a:gd name="connsiteY6" fmla="*/ 183811 h 2226401"/>
              <a:gd name="connsiteX7" fmla="*/ 1225473 w 1664709"/>
              <a:gd name="connsiteY7" fmla="*/ 165423 h 2226401"/>
              <a:gd name="connsiteX8" fmla="*/ 1227726 w 1664709"/>
              <a:gd name="connsiteY8" fmla="*/ 714031 h 2226401"/>
              <a:gd name="connsiteX9" fmla="*/ 1228346 w 1664709"/>
              <a:gd name="connsiteY9" fmla="*/ 1269638 h 2226401"/>
              <a:gd name="connsiteX10" fmla="*/ 1285512 w 1664709"/>
              <a:gd name="connsiteY10" fmla="*/ 1301133 h 2226401"/>
              <a:gd name="connsiteX11" fmla="*/ 1634902 w 1664709"/>
              <a:gd name="connsiteY11" fmla="*/ 1280870 h 2226401"/>
              <a:gd name="connsiteX12" fmla="*/ 1120143 w 1664709"/>
              <a:gd name="connsiteY12" fmla="*/ 2035571 h 2226401"/>
              <a:gd name="connsiteX13" fmla="*/ 655 w 1664709"/>
              <a:gd name="connsiteY13" fmla="*/ 1739812 h 2226401"/>
              <a:gd name="connsiteX0" fmla="*/ 655 w 1664709"/>
              <a:gd name="connsiteY0" fmla="*/ 1737666 h 2224255"/>
              <a:gd name="connsiteX1" fmla="*/ 45 w 1664709"/>
              <a:gd name="connsiteY1" fmla="*/ 902945 h 2224255"/>
              <a:gd name="connsiteX2" fmla="*/ 312956 w 1664709"/>
              <a:gd name="connsiteY2" fmla="*/ 819500 h 2224255"/>
              <a:gd name="connsiteX3" fmla="*/ 629346 w 1664709"/>
              <a:gd name="connsiteY3" fmla="*/ 791688 h 2224255"/>
              <a:gd name="connsiteX4" fmla="*/ 922313 w 1664709"/>
              <a:gd name="connsiteY4" fmla="*/ 793744 h 2224255"/>
              <a:gd name="connsiteX5" fmla="*/ 966971 w 1664709"/>
              <a:gd name="connsiteY5" fmla="*/ 799397 h 2224255"/>
              <a:gd name="connsiteX6" fmla="*/ 966569 w 1664709"/>
              <a:gd name="connsiteY6" fmla="*/ 187380 h 2224255"/>
              <a:gd name="connsiteX7" fmla="*/ 1225473 w 1664709"/>
              <a:gd name="connsiteY7" fmla="*/ 163277 h 2224255"/>
              <a:gd name="connsiteX8" fmla="*/ 1227726 w 1664709"/>
              <a:gd name="connsiteY8" fmla="*/ 711885 h 2224255"/>
              <a:gd name="connsiteX9" fmla="*/ 1228346 w 1664709"/>
              <a:gd name="connsiteY9" fmla="*/ 1267492 h 2224255"/>
              <a:gd name="connsiteX10" fmla="*/ 1285512 w 1664709"/>
              <a:gd name="connsiteY10" fmla="*/ 1298987 h 2224255"/>
              <a:gd name="connsiteX11" fmla="*/ 1634902 w 1664709"/>
              <a:gd name="connsiteY11" fmla="*/ 1278724 h 2224255"/>
              <a:gd name="connsiteX12" fmla="*/ 1120143 w 1664709"/>
              <a:gd name="connsiteY12" fmla="*/ 2033425 h 2224255"/>
              <a:gd name="connsiteX13" fmla="*/ 655 w 1664709"/>
              <a:gd name="connsiteY13" fmla="*/ 1737666 h 2224255"/>
              <a:gd name="connsiteX0" fmla="*/ 655 w 1664709"/>
              <a:gd name="connsiteY0" fmla="*/ 1737666 h 2224255"/>
              <a:gd name="connsiteX1" fmla="*/ 45 w 1664709"/>
              <a:gd name="connsiteY1" fmla="*/ 902945 h 2224255"/>
              <a:gd name="connsiteX2" fmla="*/ 312956 w 1664709"/>
              <a:gd name="connsiteY2" fmla="*/ 819500 h 2224255"/>
              <a:gd name="connsiteX3" fmla="*/ 629346 w 1664709"/>
              <a:gd name="connsiteY3" fmla="*/ 791688 h 2224255"/>
              <a:gd name="connsiteX4" fmla="*/ 922313 w 1664709"/>
              <a:gd name="connsiteY4" fmla="*/ 793744 h 2224255"/>
              <a:gd name="connsiteX5" fmla="*/ 966971 w 1664709"/>
              <a:gd name="connsiteY5" fmla="*/ 799397 h 2224255"/>
              <a:gd name="connsiteX6" fmla="*/ 966569 w 1664709"/>
              <a:gd name="connsiteY6" fmla="*/ 187380 h 2224255"/>
              <a:gd name="connsiteX7" fmla="*/ 1225473 w 1664709"/>
              <a:gd name="connsiteY7" fmla="*/ 163277 h 2224255"/>
              <a:gd name="connsiteX8" fmla="*/ 1227726 w 1664709"/>
              <a:gd name="connsiteY8" fmla="*/ 711885 h 2224255"/>
              <a:gd name="connsiteX9" fmla="*/ 1228346 w 1664709"/>
              <a:gd name="connsiteY9" fmla="*/ 1267492 h 2224255"/>
              <a:gd name="connsiteX10" fmla="*/ 1285512 w 1664709"/>
              <a:gd name="connsiteY10" fmla="*/ 1298987 h 2224255"/>
              <a:gd name="connsiteX11" fmla="*/ 1634902 w 1664709"/>
              <a:gd name="connsiteY11" fmla="*/ 1278724 h 2224255"/>
              <a:gd name="connsiteX12" fmla="*/ 1120143 w 1664709"/>
              <a:gd name="connsiteY12" fmla="*/ 2033425 h 2224255"/>
              <a:gd name="connsiteX13" fmla="*/ 655 w 1664709"/>
              <a:gd name="connsiteY13" fmla="*/ 1737666 h 2224255"/>
              <a:gd name="connsiteX0" fmla="*/ 655 w 1664709"/>
              <a:gd name="connsiteY0" fmla="*/ 1737666 h 2224255"/>
              <a:gd name="connsiteX1" fmla="*/ 45 w 1664709"/>
              <a:gd name="connsiteY1" fmla="*/ 902945 h 2224255"/>
              <a:gd name="connsiteX2" fmla="*/ 312956 w 1664709"/>
              <a:gd name="connsiteY2" fmla="*/ 819500 h 2224255"/>
              <a:gd name="connsiteX3" fmla="*/ 629346 w 1664709"/>
              <a:gd name="connsiteY3" fmla="*/ 791688 h 2224255"/>
              <a:gd name="connsiteX4" fmla="*/ 922313 w 1664709"/>
              <a:gd name="connsiteY4" fmla="*/ 793744 h 2224255"/>
              <a:gd name="connsiteX5" fmla="*/ 966971 w 1664709"/>
              <a:gd name="connsiteY5" fmla="*/ 799397 h 2224255"/>
              <a:gd name="connsiteX6" fmla="*/ 966569 w 1664709"/>
              <a:gd name="connsiteY6" fmla="*/ 187380 h 2224255"/>
              <a:gd name="connsiteX7" fmla="*/ 1225473 w 1664709"/>
              <a:gd name="connsiteY7" fmla="*/ 163277 h 2224255"/>
              <a:gd name="connsiteX8" fmla="*/ 1227726 w 1664709"/>
              <a:gd name="connsiteY8" fmla="*/ 711885 h 2224255"/>
              <a:gd name="connsiteX9" fmla="*/ 1228346 w 1664709"/>
              <a:gd name="connsiteY9" fmla="*/ 1267492 h 2224255"/>
              <a:gd name="connsiteX10" fmla="*/ 1285512 w 1664709"/>
              <a:gd name="connsiteY10" fmla="*/ 1298987 h 2224255"/>
              <a:gd name="connsiteX11" fmla="*/ 1634902 w 1664709"/>
              <a:gd name="connsiteY11" fmla="*/ 1278724 h 2224255"/>
              <a:gd name="connsiteX12" fmla="*/ 1120143 w 1664709"/>
              <a:gd name="connsiteY12" fmla="*/ 2033425 h 2224255"/>
              <a:gd name="connsiteX13" fmla="*/ 655 w 1664709"/>
              <a:gd name="connsiteY13" fmla="*/ 1737666 h 2224255"/>
              <a:gd name="connsiteX0" fmla="*/ 655 w 1664709"/>
              <a:gd name="connsiteY0" fmla="*/ 1707555 h 2194144"/>
              <a:gd name="connsiteX1" fmla="*/ 45 w 1664709"/>
              <a:gd name="connsiteY1" fmla="*/ 872834 h 2194144"/>
              <a:gd name="connsiteX2" fmla="*/ 312956 w 1664709"/>
              <a:gd name="connsiteY2" fmla="*/ 789389 h 2194144"/>
              <a:gd name="connsiteX3" fmla="*/ 629346 w 1664709"/>
              <a:gd name="connsiteY3" fmla="*/ 761577 h 2194144"/>
              <a:gd name="connsiteX4" fmla="*/ 922313 w 1664709"/>
              <a:gd name="connsiteY4" fmla="*/ 763633 h 2194144"/>
              <a:gd name="connsiteX5" fmla="*/ 966971 w 1664709"/>
              <a:gd name="connsiteY5" fmla="*/ 769286 h 2194144"/>
              <a:gd name="connsiteX6" fmla="*/ 966569 w 1664709"/>
              <a:gd name="connsiteY6" fmla="*/ 157269 h 2194144"/>
              <a:gd name="connsiteX7" fmla="*/ 1225473 w 1664709"/>
              <a:gd name="connsiteY7" fmla="*/ 133166 h 2194144"/>
              <a:gd name="connsiteX8" fmla="*/ 1227726 w 1664709"/>
              <a:gd name="connsiteY8" fmla="*/ 681774 h 2194144"/>
              <a:gd name="connsiteX9" fmla="*/ 1228346 w 1664709"/>
              <a:gd name="connsiteY9" fmla="*/ 1237381 h 2194144"/>
              <a:gd name="connsiteX10" fmla="*/ 1285512 w 1664709"/>
              <a:gd name="connsiteY10" fmla="*/ 1268876 h 2194144"/>
              <a:gd name="connsiteX11" fmla="*/ 1634902 w 1664709"/>
              <a:gd name="connsiteY11" fmla="*/ 1248613 h 2194144"/>
              <a:gd name="connsiteX12" fmla="*/ 1120143 w 1664709"/>
              <a:gd name="connsiteY12" fmla="*/ 2003314 h 2194144"/>
              <a:gd name="connsiteX13" fmla="*/ 655 w 1664709"/>
              <a:gd name="connsiteY13" fmla="*/ 1707555 h 2194144"/>
              <a:gd name="connsiteX0" fmla="*/ 655 w 1664709"/>
              <a:gd name="connsiteY0" fmla="*/ 1715121 h 2201710"/>
              <a:gd name="connsiteX1" fmla="*/ 45 w 1664709"/>
              <a:gd name="connsiteY1" fmla="*/ 880400 h 2201710"/>
              <a:gd name="connsiteX2" fmla="*/ 312956 w 1664709"/>
              <a:gd name="connsiteY2" fmla="*/ 796955 h 2201710"/>
              <a:gd name="connsiteX3" fmla="*/ 629346 w 1664709"/>
              <a:gd name="connsiteY3" fmla="*/ 769143 h 2201710"/>
              <a:gd name="connsiteX4" fmla="*/ 922313 w 1664709"/>
              <a:gd name="connsiteY4" fmla="*/ 771199 h 2201710"/>
              <a:gd name="connsiteX5" fmla="*/ 966971 w 1664709"/>
              <a:gd name="connsiteY5" fmla="*/ 776852 h 2201710"/>
              <a:gd name="connsiteX6" fmla="*/ 966569 w 1664709"/>
              <a:gd name="connsiteY6" fmla="*/ 164835 h 2201710"/>
              <a:gd name="connsiteX7" fmla="*/ 1225473 w 1664709"/>
              <a:gd name="connsiteY7" fmla="*/ 140732 h 2201710"/>
              <a:gd name="connsiteX8" fmla="*/ 1227726 w 1664709"/>
              <a:gd name="connsiteY8" fmla="*/ 689340 h 2201710"/>
              <a:gd name="connsiteX9" fmla="*/ 1228346 w 1664709"/>
              <a:gd name="connsiteY9" fmla="*/ 1244947 h 2201710"/>
              <a:gd name="connsiteX10" fmla="*/ 1285512 w 1664709"/>
              <a:gd name="connsiteY10" fmla="*/ 1276442 h 2201710"/>
              <a:gd name="connsiteX11" fmla="*/ 1634902 w 1664709"/>
              <a:gd name="connsiteY11" fmla="*/ 1256179 h 2201710"/>
              <a:gd name="connsiteX12" fmla="*/ 1120143 w 1664709"/>
              <a:gd name="connsiteY12" fmla="*/ 2010880 h 2201710"/>
              <a:gd name="connsiteX13" fmla="*/ 655 w 1664709"/>
              <a:gd name="connsiteY13" fmla="*/ 1715121 h 2201710"/>
              <a:gd name="connsiteX0" fmla="*/ 655 w 1664709"/>
              <a:gd name="connsiteY0" fmla="*/ 1715121 h 2201710"/>
              <a:gd name="connsiteX1" fmla="*/ 45 w 1664709"/>
              <a:gd name="connsiteY1" fmla="*/ 880400 h 2201710"/>
              <a:gd name="connsiteX2" fmla="*/ 312956 w 1664709"/>
              <a:gd name="connsiteY2" fmla="*/ 796955 h 2201710"/>
              <a:gd name="connsiteX3" fmla="*/ 629346 w 1664709"/>
              <a:gd name="connsiteY3" fmla="*/ 769143 h 2201710"/>
              <a:gd name="connsiteX4" fmla="*/ 933743 w 1664709"/>
              <a:gd name="connsiteY4" fmla="*/ 779772 h 2201710"/>
              <a:gd name="connsiteX5" fmla="*/ 966971 w 1664709"/>
              <a:gd name="connsiteY5" fmla="*/ 776852 h 2201710"/>
              <a:gd name="connsiteX6" fmla="*/ 966569 w 1664709"/>
              <a:gd name="connsiteY6" fmla="*/ 164835 h 2201710"/>
              <a:gd name="connsiteX7" fmla="*/ 1225473 w 1664709"/>
              <a:gd name="connsiteY7" fmla="*/ 140732 h 2201710"/>
              <a:gd name="connsiteX8" fmla="*/ 1227726 w 1664709"/>
              <a:gd name="connsiteY8" fmla="*/ 689340 h 2201710"/>
              <a:gd name="connsiteX9" fmla="*/ 1228346 w 1664709"/>
              <a:gd name="connsiteY9" fmla="*/ 1244947 h 2201710"/>
              <a:gd name="connsiteX10" fmla="*/ 1285512 w 1664709"/>
              <a:gd name="connsiteY10" fmla="*/ 1276442 h 2201710"/>
              <a:gd name="connsiteX11" fmla="*/ 1634902 w 1664709"/>
              <a:gd name="connsiteY11" fmla="*/ 1256179 h 2201710"/>
              <a:gd name="connsiteX12" fmla="*/ 1120143 w 1664709"/>
              <a:gd name="connsiteY12" fmla="*/ 2010880 h 2201710"/>
              <a:gd name="connsiteX13" fmla="*/ 655 w 1664709"/>
              <a:gd name="connsiteY13" fmla="*/ 1715121 h 2201710"/>
              <a:gd name="connsiteX0" fmla="*/ 655 w 1664709"/>
              <a:gd name="connsiteY0" fmla="*/ 1715121 h 2201710"/>
              <a:gd name="connsiteX1" fmla="*/ 45 w 1664709"/>
              <a:gd name="connsiteY1" fmla="*/ 880400 h 2201710"/>
              <a:gd name="connsiteX2" fmla="*/ 312956 w 1664709"/>
              <a:gd name="connsiteY2" fmla="*/ 796955 h 2201710"/>
              <a:gd name="connsiteX3" fmla="*/ 655064 w 1664709"/>
              <a:gd name="connsiteY3" fmla="*/ 772000 h 2201710"/>
              <a:gd name="connsiteX4" fmla="*/ 933743 w 1664709"/>
              <a:gd name="connsiteY4" fmla="*/ 779772 h 2201710"/>
              <a:gd name="connsiteX5" fmla="*/ 966971 w 1664709"/>
              <a:gd name="connsiteY5" fmla="*/ 776852 h 2201710"/>
              <a:gd name="connsiteX6" fmla="*/ 966569 w 1664709"/>
              <a:gd name="connsiteY6" fmla="*/ 164835 h 2201710"/>
              <a:gd name="connsiteX7" fmla="*/ 1225473 w 1664709"/>
              <a:gd name="connsiteY7" fmla="*/ 140732 h 2201710"/>
              <a:gd name="connsiteX8" fmla="*/ 1227726 w 1664709"/>
              <a:gd name="connsiteY8" fmla="*/ 689340 h 2201710"/>
              <a:gd name="connsiteX9" fmla="*/ 1228346 w 1664709"/>
              <a:gd name="connsiteY9" fmla="*/ 1244947 h 2201710"/>
              <a:gd name="connsiteX10" fmla="*/ 1285512 w 1664709"/>
              <a:gd name="connsiteY10" fmla="*/ 1276442 h 2201710"/>
              <a:gd name="connsiteX11" fmla="*/ 1634902 w 1664709"/>
              <a:gd name="connsiteY11" fmla="*/ 1256179 h 2201710"/>
              <a:gd name="connsiteX12" fmla="*/ 1120143 w 1664709"/>
              <a:gd name="connsiteY12" fmla="*/ 2010880 h 2201710"/>
              <a:gd name="connsiteX13" fmla="*/ 655 w 1664709"/>
              <a:gd name="connsiteY13" fmla="*/ 1715121 h 2201710"/>
              <a:gd name="connsiteX0" fmla="*/ 655 w 1664709"/>
              <a:gd name="connsiteY0" fmla="*/ 1715121 h 2201710"/>
              <a:gd name="connsiteX1" fmla="*/ 45 w 1664709"/>
              <a:gd name="connsiteY1" fmla="*/ 880400 h 2201710"/>
              <a:gd name="connsiteX2" fmla="*/ 312956 w 1664709"/>
              <a:gd name="connsiteY2" fmla="*/ 796955 h 2201710"/>
              <a:gd name="connsiteX3" fmla="*/ 655064 w 1664709"/>
              <a:gd name="connsiteY3" fmla="*/ 772000 h 2201710"/>
              <a:gd name="connsiteX4" fmla="*/ 933743 w 1664709"/>
              <a:gd name="connsiteY4" fmla="*/ 779772 h 2201710"/>
              <a:gd name="connsiteX5" fmla="*/ 966971 w 1664709"/>
              <a:gd name="connsiteY5" fmla="*/ 776852 h 2201710"/>
              <a:gd name="connsiteX6" fmla="*/ 966569 w 1664709"/>
              <a:gd name="connsiteY6" fmla="*/ 164835 h 2201710"/>
              <a:gd name="connsiteX7" fmla="*/ 1225473 w 1664709"/>
              <a:gd name="connsiteY7" fmla="*/ 140732 h 2201710"/>
              <a:gd name="connsiteX8" fmla="*/ 1227726 w 1664709"/>
              <a:gd name="connsiteY8" fmla="*/ 689340 h 2201710"/>
              <a:gd name="connsiteX9" fmla="*/ 1228346 w 1664709"/>
              <a:gd name="connsiteY9" fmla="*/ 1244947 h 2201710"/>
              <a:gd name="connsiteX10" fmla="*/ 1285512 w 1664709"/>
              <a:gd name="connsiteY10" fmla="*/ 1276442 h 2201710"/>
              <a:gd name="connsiteX11" fmla="*/ 1634902 w 1664709"/>
              <a:gd name="connsiteY11" fmla="*/ 1256179 h 2201710"/>
              <a:gd name="connsiteX12" fmla="*/ 1120143 w 1664709"/>
              <a:gd name="connsiteY12" fmla="*/ 2010880 h 2201710"/>
              <a:gd name="connsiteX13" fmla="*/ 655 w 1664709"/>
              <a:gd name="connsiteY13" fmla="*/ 1715121 h 2201710"/>
              <a:gd name="connsiteX0" fmla="*/ 655 w 1664709"/>
              <a:gd name="connsiteY0" fmla="*/ 1715121 h 2201710"/>
              <a:gd name="connsiteX1" fmla="*/ 45 w 1664709"/>
              <a:gd name="connsiteY1" fmla="*/ 880400 h 2201710"/>
              <a:gd name="connsiteX2" fmla="*/ 312956 w 1664709"/>
              <a:gd name="connsiteY2" fmla="*/ 796955 h 2201710"/>
              <a:gd name="connsiteX3" fmla="*/ 640776 w 1664709"/>
              <a:gd name="connsiteY3" fmla="*/ 777715 h 2201710"/>
              <a:gd name="connsiteX4" fmla="*/ 933743 w 1664709"/>
              <a:gd name="connsiteY4" fmla="*/ 779772 h 2201710"/>
              <a:gd name="connsiteX5" fmla="*/ 966971 w 1664709"/>
              <a:gd name="connsiteY5" fmla="*/ 776852 h 2201710"/>
              <a:gd name="connsiteX6" fmla="*/ 966569 w 1664709"/>
              <a:gd name="connsiteY6" fmla="*/ 164835 h 2201710"/>
              <a:gd name="connsiteX7" fmla="*/ 1225473 w 1664709"/>
              <a:gd name="connsiteY7" fmla="*/ 140732 h 2201710"/>
              <a:gd name="connsiteX8" fmla="*/ 1227726 w 1664709"/>
              <a:gd name="connsiteY8" fmla="*/ 689340 h 2201710"/>
              <a:gd name="connsiteX9" fmla="*/ 1228346 w 1664709"/>
              <a:gd name="connsiteY9" fmla="*/ 1244947 h 2201710"/>
              <a:gd name="connsiteX10" fmla="*/ 1285512 w 1664709"/>
              <a:gd name="connsiteY10" fmla="*/ 1276442 h 2201710"/>
              <a:gd name="connsiteX11" fmla="*/ 1634902 w 1664709"/>
              <a:gd name="connsiteY11" fmla="*/ 1256179 h 2201710"/>
              <a:gd name="connsiteX12" fmla="*/ 1120143 w 1664709"/>
              <a:gd name="connsiteY12" fmla="*/ 2010880 h 2201710"/>
              <a:gd name="connsiteX13" fmla="*/ 655 w 1664709"/>
              <a:gd name="connsiteY13" fmla="*/ 1715121 h 2201710"/>
              <a:gd name="connsiteX0" fmla="*/ 655 w 1664709"/>
              <a:gd name="connsiteY0" fmla="*/ 1715121 h 2201710"/>
              <a:gd name="connsiteX1" fmla="*/ 45 w 1664709"/>
              <a:gd name="connsiteY1" fmla="*/ 880400 h 2201710"/>
              <a:gd name="connsiteX2" fmla="*/ 312956 w 1664709"/>
              <a:gd name="connsiteY2" fmla="*/ 796955 h 2201710"/>
              <a:gd name="connsiteX3" fmla="*/ 623631 w 1664709"/>
              <a:gd name="connsiteY3" fmla="*/ 783430 h 2201710"/>
              <a:gd name="connsiteX4" fmla="*/ 933743 w 1664709"/>
              <a:gd name="connsiteY4" fmla="*/ 779772 h 2201710"/>
              <a:gd name="connsiteX5" fmla="*/ 966971 w 1664709"/>
              <a:gd name="connsiteY5" fmla="*/ 776852 h 2201710"/>
              <a:gd name="connsiteX6" fmla="*/ 966569 w 1664709"/>
              <a:gd name="connsiteY6" fmla="*/ 164835 h 2201710"/>
              <a:gd name="connsiteX7" fmla="*/ 1225473 w 1664709"/>
              <a:gd name="connsiteY7" fmla="*/ 140732 h 2201710"/>
              <a:gd name="connsiteX8" fmla="*/ 1227726 w 1664709"/>
              <a:gd name="connsiteY8" fmla="*/ 689340 h 2201710"/>
              <a:gd name="connsiteX9" fmla="*/ 1228346 w 1664709"/>
              <a:gd name="connsiteY9" fmla="*/ 1244947 h 2201710"/>
              <a:gd name="connsiteX10" fmla="*/ 1285512 w 1664709"/>
              <a:gd name="connsiteY10" fmla="*/ 1276442 h 2201710"/>
              <a:gd name="connsiteX11" fmla="*/ 1634902 w 1664709"/>
              <a:gd name="connsiteY11" fmla="*/ 1256179 h 2201710"/>
              <a:gd name="connsiteX12" fmla="*/ 1120143 w 1664709"/>
              <a:gd name="connsiteY12" fmla="*/ 2010880 h 2201710"/>
              <a:gd name="connsiteX13" fmla="*/ 655 w 1664709"/>
              <a:gd name="connsiteY13" fmla="*/ 1715121 h 2201710"/>
              <a:gd name="connsiteX0" fmla="*/ 655 w 1664709"/>
              <a:gd name="connsiteY0" fmla="*/ 1715121 h 2201710"/>
              <a:gd name="connsiteX1" fmla="*/ 45 w 1664709"/>
              <a:gd name="connsiteY1" fmla="*/ 880400 h 2201710"/>
              <a:gd name="connsiteX2" fmla="*/ 312956 w 1664709"/>
              <a:gd name="connsiteY2" fmla="*/ 796955 h 2201710"/>
              <a:gd name="connsiteX3" fmla="*/ 623631 w 1664709"/>
              <a:gd name="connsiteY3" fmla="*/ 783430 h 2201710"/>
              <a:gd name="connsiteX4" fmla="*/ 933743 w 1664709"/>
              <a:gd name="connsiteY4" fmla="*/ 779772 h 2201710"/>
              <a:gd name="connsiteX5" fmla="*/ 955065 w 1664709"/>
              <a:gd name="connsiteY5" fmla="*/ 779234 h 2201710"/>
              <a:gd name="connsiteX6" fmla="*/ 966569 w 1664709"/>
              <a:gd name="connsiteY6" fmla="*/ 164835 h 2201710"/>
              <a:gd name="connsiteX7" fmla="*/ 1225473 w 1664709"/>
              <a:gd name="connsiteY7" fmla="*/ 140732 h 2201710"/>
              <a:gd name="connsiteX8" fmla="*/ 1227726 w 1664709"/>
              <a:gd name="connsiteY8" fmla="*/ 689340 h 2201710"/>
              <a:gd name="connsiteX9" fmla="*/ 1228346 w 1664709"/>
              <a:gd name="connsiteY9" fmla="*/ 1244947 h 2201710"/>
              <a:gd name="connsiteX10" fmla="*/ 1285512 w 1664709"/>
              <a:gd name="connsiteY10" fmla="*/ 1276442 h 2201710"/>
              <a:gd name="connsiteX11" fmla="*/ 1634902 w 1664709"/>
              <a:gd name="connsiteY11" fmla="*/ 1256179 h 2201710"/>
              <a:gd name="connsiteX12" fmla="*/ 1120143 w 1664709"/>
              <a:gd name="connsiteY12" fmla="*/ 2010880 h 2201710"/>
              <a:gd name="connsiteX13" fmla="*/ 655 w 1664709"/>
              <a:gd name="connsiteY13" fmla="*/ 1715121 h 2201710"/>
              <a:gd name="connsiteX0" fmla="*/ 655 w 1664709"/>
              <a:gd name="connsiteY0" fmla="*/ 1714098 h 2200687"/>
              <a:gd name="connsiteX1" fmla="*/ 45 w 1664709"/>
              <a:gd name="connsiteY1" fmla="*/ 879377 h 2200687"/>
              <a:gd name="connsiteX2" fmla="*/ 312956 w 1664709"/>
              <a:gd name="connsiteY2" fmla="*/ 795932 h 2200687"/>
              <a:gd name="connsiteX3" fmla="*/ 623631 w 1664709"/>
              <a:gd name="connsiteY3" fmla="*/ 782407 h 2200687"/>
              <a:gd name="connsiteX4" fmla="*/ 933743 w 1664709"/>
              <a:gd name="connsiteY4" fmla="*/ 778749 h 2200687"/>
              <a:gd name="connsiteX5" fmla="*/ 955065 w 1664709"/>
              <a:gd name="connsiteY5" fmla="*/ 778211 h 2200687"/>
              <a:gd name="connsiteX6" fmla="*/ 952281 w 1664709"/>
              <a:gd name="connsiteY6" fmla="*/ 166194 h 2200687"/>
              <a:gd name="connsiteX7" fmla="*/ 1225473 w 1664709"/>
              <a:gd name="connsiteY7" fmla="*/ 139709 h 2200687"/>
              <a:gd name="connsiteX8" fmla="*/ 1227726 w 1664709"/>
              <a:gd name="connsiteY8" fmla="*/ 688317 h 2200687"/>
              <a:gd name="connsiteX9" fmla="*/ 1228346 w 1664709"/>
              <a:gd name="connsiteY9" fmla="*/ 1243924 h 2200687"/>
              <a:gd name="connsiteX10" fmla="*/ 1285512 w 1664709"/>
              <a:gd name="connsiteY10" fmla="*/ 1275419 h 2200687"/>
              <a:gd name="connsiteX11" fmla="*/ 1634902 w 1664709"/>
              <a:gd name="connsiteY11" fmla="*/ 1255156 h 2200687"/>
              <a:gd name="connsiteX12" fmla="*/ 1120143 w 1664709"/>
              <a:gd name="connsiteY12" fmla="*/ 2009857 h 2200687"/>
              <a:gd name="connsiteX13" fmla="*/ 655 w 1664709"/>
              <a:gd name="connsiteY13" fmla="*/ 1714098 h 2200687"/>
              <a:gd name="connsiteX0" fmla="*/ 655 w 1664709"/>
              <a:gd name="connsiteY0" fmla="*/ 1713084 h 2199673"/>
              <a:gd name="connsiteX1" fmla="*/ 45 w 1664709"/>
              <a:gd name="connsiteY1" fmla="*/ 878363 h 2199673"/>
              <a:gd name="connsiteX2" fmla="*/ 312956 w 1664709"/>
              <a:gd name="connsiteY2" fmla="*/ 794918 h 2199673"/>
              <a:gd name="connsiteX3" fmla="*/ 623631 w 1664709"/>
              <a:gd name="connsiteY3" fmla="*/ 781393 h 2199673"/>
              <a:gd name="connsiteX4" fmla="*/ 933743 w 1664709"/>
              <a:gd name="connsiteY4" fmla="*/ 777735 h 2199673"/>
              <a:gd name="connsiteX5" fmla="*/ 955065 w 1664709"/>
              <a:gd name="connsiteY5" fmla="*/ 777197 h 2199673"/>
              <a:gd name="connsiteX6" fmla="*/ 954662 w 1664709"/>
              <a:gd name="connsiteY6" fmla="*/ 167561 h 2199673"/>
              <a:gd name="connsiteX7" fmla="*/ 1225473 w 1664709"/>
              <a:gd name="connsiteY7" fmla="*/ 138695 h 2199673"/>
              <a:gd name="connsiteX8" fmla="*/ 1227726 w 1664709"/>
              <a:gd name="connsiteY8" fmla="*/ 687303 h 2199673"/>
              <a:gd name="connsiteX9" fmla="*/ 1228346 w 1664709"/>
              <a:gd name="connsiteY9" fmla="*/ 1242910 h 2199673"/>
              <a:gd name="connsiteX10" fmla="*/ 1285512 w 1664709"/>
              <a:gd name="connsiteY10" fmla="*/ 1274405 h 2199673"/>
              <a:gd name="connsiteX11" fmla="*/ 1634902 w 1664709"/>
              <a:gd name="connsiteY11" fmla="*/ 1254142 h 2199673"/>
              <a:gd name="connsiteX12" fmla="*/ 1120143 w 1664709"/>
              <a:gd name="connsiteY12" fmla="*/ 2008843 h 2199673"/>
              <a:gd name="connsiteX13" fmla="*/ 655 w 1664709"/>
              <a:gd name="connsiteY13" fmla="*/ 1713084 h 2199673"/>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7726 w 1664709"/>
              <a:gd name="connsiteY8" fmla="*/ 692124 h 2204494"/>
              <a:gd name="connsiteX9" fmla="*/ 1228346 w 1664709"/>
              <a:gd name="connsiteY9" fmla="*/ 1247731 h 2204494"/>
              <a:gd name="connsiteX10" fmla="*/ 1285512 w 1664709"/>
              <a:gd name="connsiteY10" fmla="*/ 1279226 h 2204494"/>
              <a:gd name="connsiteX11" fmla="*/ 1634902 w 1664709"/>
              <a:gd name="connsiteY11" fmla="*/ 1258963 h 2204494"/>
              <a:gd name="connsiteX12" fmla="*/ 1120143 w 1664709"/>
              <a:gd name="connsiteY12" fmla="*/ 2013664 h 2204494"/>
              <a:gd name="connsiteX13" fmla="*/ 655 w 1664709"/>
              <a:gd name="connsiteY13" fmla="*/ 1717905 h 2204494"/>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7726 w 1664709"/>
              <a:gd name="connsiteY8" fmla="*/ 692124 h 2204494"/>
              <a:gd name="connsiteX9" fmla="*/ 1228346 w 1664709"/>
              <a:gd name="connsiteY9" fmla="*/ 1247731 h 2204494"/>
              <a:gd name="connsiteX10" fmla="*/ 1285512 w 1664709"/>
              <a:gd name="connsiteY10" fmla="*/ 1279226 h 2204494"/>
              <a:gd name="connsiteX11" fmla="*/ 1634902 w 1664709"/>
              <a:gd name="connsiteY11" fmla="*/ 1258963 h 2204494"/>
              <a:gd name="connsiteX12" fmla="*/ 1120143 w 1664709"/>
              <a:gd name="connsiteY12" fmla="*/ 2013664 h 2204494"/>
              <a:gd name="connsiteX13" fmla="*/ 655 w 1664709"/>
              <a:gd name="connsiteY13" fmla="*/ 1717905 h 2204494"/>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655 w 1664709"/>
              <a:gd name="connsiteY0" fmla="*/ 1717905 h 2204494"/>
              <a:gd name="connsiteX1" fmla="*/ 45 w 1664709"/>
              <a:gd name="connsiteY1" fmla="*/ 883184 h 2204494"/>
              <a:gd name="connsiteX2" fmla="*/ 312956 w 1664709"/>
              <a:gd name="connsiteY2" fmla="*/ 799739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655 w 1664709"/>
              <a:gd name="connsiteY0" fmla="*/ 1717905 h 2204494"/>
              <a:gd name="connsiteX1" fmla="*/ 45 w 1664709"/>
              <a:gd name="connsiteY1" fmla="*/ 883184 h 2204494"/>
              <a:gd name="connsiteX2" fmla="*/ 312956 w 1664709"/>
              <a:gd name="connsiteY2" fmla="*/ 782266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655 w 1664709"/>
              <a:gd name="connsiteY0" fmla="*/ 1717905 h 2204494"/>
              <a:gd name="connsiteX1" fmla="*/ 45 w 1664709"/>
              <a:gd name="connsiteY1" fmla="*/ 883184 h 2204494"/>
              <a:gd name="connsiteX2" fmla="*/ 312956 w 1664709"/>
              <a:gd name="connsiteY2" fmla="*/ 782266 h 2204494"/>
              <a:gd name="connsiteX3" fmla="*/ 623631 w 1664709"/>
              <a:gd name="connsiteY3" fmla="*/ 786214 h 2204494"/>
              <a:gd name="connsiteX4" fmla="*/ 933743 w 1664709"/>
              <a:gd name="connsiteY4" fmla="*/ 782556 h 2204494"/>
              <a:gd name="connsiteX5" fmla="*/ 955065 w 1664709"/>
              <a:gd name="connsiteY5" fmla="*/ 782018 h 2204494"/>
              <a:gd name="connsiteX6" fmla="*/ 954662 w 1664709"/>
              <a:gd name="connsiteY6" fmla="*/ 172382 h 2204494"/>
              <a:gd name="connsiteX7" fmla="*/ 1225473 w 1664709"/>
              <a:gd name="connsiteY7" fmla="*/ 143516 h 2204494"/>
              <a:gd name="connsiteX8" fmla="*/ 1228346 w 1664709"/>
              <a:gd name="connsiteY8" fmla="*/ 1247731 h 2204494"/>
              <a:gd name="connsiteX9" fmla="*/ 1285512 w 1664709"/>
              <a:gd name="connsiteY9" fmla="*/ 1279226 h 2204494"/>
              <a:gd name="connsiteX10" fmla="*/ 1634902 w 1664709"/>
              <a:gd name="connsiteY10" fmla="*/ 1258963 h 2204494"/>
              <a:gd name="connsiteX11" fmla="*/ 1120143 w 1664709"/>
              <a:gd name="connsiteY11" fmla="*/ 2013664 h 2204494"/>
              <a:gd name="connsiteX12" fmla="*/ 655 w 1664709"/>
              <a:gd name="connsiteY12" fmla="*/ 1717905 h 2204494"/>
              <a:gd name="connsiteX0" fmla="*/ 1313 w 1665367"/>
              <a:gd name="connsiteY0" fmla="*/ 1717905 h 2204494"/>
              <a:gd name="connsiteX1" fmla="*/ 703 w 1665367"/>
              <a:gd name="connsiteY1" fmla="*/ 883184 h 2204494"/>
              <a:gd name="connsiteX2" fmla="*/ 313614 w 1665367"/>
              <a:gd name="connsiteY2" fmla="*/ 782266 h 2204494"/>
              <a:gd name="connsiteX3" fmla="*/ 624289 w 1665367"/>
              <a:gd name="connsiteY3" fmla="*/ 786214 h 2204494"/>
              <a:gd name="connsiteX4" fmla="*/ 934401 w 1665367"/>
              <a:gd name="connsiteY4" fmla="*/ 782556 h 2204494"/>
              <a:gd name="connsiteX5" fmla="*/ 955723 w 1665367"/>
              <a:gd name="connsiteY5" fmla="*/ 782018 h 2204494"/>
              <a:gd name="connsiteX6" fmla="*/ 955320 w 1665367"/>
              <a:gd name="connsiteY6" fmla="*/ 172382 h 2204494"/>
              <a:gd name="connsiteX7" fmla="*/ 1226131 w 1665367"/>
              <a:gd name="connsiteY7" fmla="*/ 143516 h 2204494"/>
              <a:gd name="connsiteX8" fmla="*/ 1229004 w 1665367"/>
              <a:gd name="connsiteY8" fmla="*/ 1247731 h 2204494"/>
              <a:gd name="connsiteX9" fmla="*/ 1286170 w 1665367"/>
              <a:gd name="connsiteY9" fmla="*/ 1279226 h 2204494"/>
              <a:gd name="connsiteX10" fmla="*/ 1635560 w 1665367"/>
              <a:gd name="connsiteY10" fmla="*/ 1258963 h 2204494"/>
              <a:gd name="connsiteX11" fmla="*/ 1120801 w 1665367"/>
              <a:gd name="connsiteY11" fmla="*/ 2013664 h 2204494"/>
              <a:gd name="connsiteX12" fmla="*/ 1313 w 1665367"/>
              <a:gd name="connsiteY12" fmla="*/ 1717905 h 2204494"/>
              <a:gd name="connsiteX0" fmla="*/ 1313 w 1665367"/>
              <a:gd name="connsiteY0" fmla="*/ 1717905 h 2204494"/>
              <a:gd name="connsiteX1" fmla="*/ 703 w 1665367"/>
              <a:gd name="connsiteY1" fmla="*/ 883184 h 2204494"/>
              <a:gd name="connsiteX2" fmla="*/ 313614 w 1665367"/>
              <a:gd name="connsiteY2" fmla="*/ 782266 h 2204494"/>
              <a:gd name="connsiteX3" fmla="*/ 624289 w 1665367"/>
              <a:gd name="connsiteY3" fmla="*/ 786214 h 2204494"/>
              <a:gd name="connsiteX4" fmla="*/ 934401 w 1665367"/>
              <a:gd name="connsiteY4" fmla="*/ 782556 h 2204494"/>
              <a:gd name="connsiteX5" fmla="*/ 955723 w 1665367"/>
              <a:gd name="connsiteY5" fmla="*/ 782018 h 2204494"/>
              <a:gd name="connsiteX6" fmla="*/ 955320 w 1665367"/>
              <a:gd name="connsiteY6" fmla="*/ 172382 h 2204494"/>
              <a:gd name="connsiteX7" fmla="*/ 1226131 w 1665367"/>
              <a:gd name="connsiteY7" fmla="*/ 143516 h 2204494"/>
              <a:gd name="connsiteX8" fmla="*/ 1229004 w 1665367"/>
              <a:gd name="connsiteY8" fmla="*/ 1247731 h 2204494"/>
              <a:gd name="connsiteX9" fmla="*/ 1286170 w 1665367"/>
              <a:gd name="connsiteY9" fmla="*/ 1279226 h 2204494"/>
              <a:gd name="connsiteX10" fmla="*/ 1635560 w 1665367"/>
              <a:gd name="connsiteY10" fmla="*/ 1258963 h 2204494"/>
              <a:gd name="connsiteX11" fmla="*/ 1120801 w 1665367"/>
              <a:gd name="connsiteY11" fmla="*/ 2013664 h 2204494"/>
              <a:gd name="connsiteX12" fmla="*/ 1313 w 1665367"/>
              <a:gd name="connsiteY12" fmla="*/ 1717905 h 2204494"/>
              <a:gd name="connsiteX0" fmla="*/ 1313 w 1665367"/>
              <a:gd name="connsiteY0" fmla="*/ 1717905 h 2204494"/>
              <a:gd name="connsiteX1" fmla="*/ 703 w 1665367"/>
              <a:gd name="connsiteY1" fmla="*/ 883184 h 2204494"/>
              <a:gd name="connsiteX2" fmla="*/ 313614 w 1665367"/>
              <a:gd name="connsiteY2" fmla="*/ 782266 h 2204494"/>
              <a:gd name="connsiteX3" fmla="*/ 624289 w 1665367"/>
              <a:gd name="connsiteY3" fmla="*/ 786214 h 2204494"/>
              <a:gd name="connsiteX4" fmla="*/ 934401 w 1665367"/>
              <a:gd name="connsiteY4" fmla="*/ 782556 h 2204494"/>
              <a:gd name="connsiteX5" fmla="*/ 955723 w 1665367"/>
              <a:gd name="connsiteY5" fmla="*/ 782018 h 2204494"/>
              <a:gd name="connsiteX6" fmla="*/ 955320 w 1665367"/>
              <a:gd name="connsiteY6" fmla="*/ 172382 h 2204494"/>
              <a:gd name="connsiteX7" fmla="*/ 1226131 w 1665367"/>
              <a:gd name="connsiteY7" fmla="*/ 143516 h 2204494"/>
              <a:gd name="connsiteX8" fmla="*/ 1229004 w 1665367"/>
              <a:gd name="connsiteY8" fmla="*/ 1247731 h 2204494"/>
              <a:gd name="connsiteX9" fmla="*/ 1286170 w 1665367"/>
              <a:gd name="connsiteY9" fmla="*/ 1279226 h 2204494"/>
              <a:gd name="connsiteX10" fmla="*/ 1635560 w 1665367"/>
              <a:gd name="connsiteY10" fmla="*/ 1258963 h 2204494"/>
              <a:gd name="connsiteX11" fmla="*/ 1120801 w 1665367"/>
              <a:gd name="connsiteY11" fmla="*/ 2013664 h 2204494"/>
              <a:gd name="connsiteX12" fmla="*/ 1313 w 1665367"/>
              <a:gd name="connsiteY12" fmla="*/ 1717905 h 2204494"/>
              <a:gd name="connsiteX0" fmla="*/ 1313 w 1665367"/>
              <a:gd name="connsiteY0" fmla="*/ 1717905 h 2204494"/>
              <a:gd name="connsiteX1" fmla="*/ 703 w 1665367"/>
              <a:gd name="connsiteY1" fmla="*/ 883184 h 2204494"/>
              <a:gd name="connsiteX2" fmla="*/ 313614 w 1665367"/>
              <a:gd name="connsiteY2" fmla="*/ 782266 h 2204494"/>
              <a:gd name="connsiteX3" fmla="*/ 624289 w 1665367"/>
              <a:gd name="connsiteY3" fmla="*/ 786214 h 2204494"/>
              <a:gd name="connsiteX4" fmla="*/ 934401 w 1665367"/>
              <a:gd name="connsiteY4" fmla="*/ 782556 h 2204494"/>
              <a:gd name="connsiteX5" fmla="*/ 955723 w 1665367"/>
              <a:gd name="connsiteY5" fmla="*/ 782018 h 2204494"/>
              <a:gd name="connsiteX6" fmla="*/ 955320 w 1665367"/>
              <a:gd name="connsiteY6" fmla="*/ 172382 h 2204494"/>
              <a:gd name="connsiteX7" fmla="*/ 1226131 w 1665367"/>
              <a:gd name="connsiteY7" fmla="*/ 143516 h 2204494"/>
              <a:gd name="connsiteX8" fmla="*/ 1229004 w 1665367"/>
              <a:gd name="connsiteY8" fmla="*/ 1247731 h 2204494"/>
              <a:gd name="connsiteX9" fmla="*/ 1286170 w 1665367"/>
              <a:gd name="connsiteY9" fmla="*/ 1279226 h 2204494"/>
              <a:gd name="connsiteX10" fmla="*/ 1635560 w 1665367"/>
              <a:gd name="connsiteY10" fmla="*/ 1258963 h 2204494"/>
              <a:gd name="connsiteX11" fmla="*/ 1120801 w 1665367"/>
              <a:gd name="connsiteY11" fmla="*/ 2013664 h 2204494"/>
              <a:gd name="connsiteX12" fmla="*/ 1313 w 1665367"/>
              <a:gd name="connsiteY12" fmla="*/ 1717905 h 2204494"/>
              <a:gd name="connsiteX0" fmla="*/ 1313 w 1665367"/>
              <a:gd name="connsiteY0" fmla="*/ 1717905 h 2204494"/>
              <a:gd name="connsiteX1" fmla="*/ 703 w 1665367"/>
              <a:gd name="connsiteY1" fmla="*/ 883184 h 2204494"/>
              <a:gd name="connsiteX2" fmla="*/ 313614 w 1665367"/>
              <a:gd name="connsiteY2" fmla="*/ 782266 h 2204494"/>
              <a:gd name="connsiteX3" fmla="*/ 624289 w 1665367"/>
              <a:gd name="connsiteY3" fmla="*/ 786214 h 2204494"/>
              <a:gd name="connsiteX4" fmla="*/ 934401 w 1665367"/>
              <a:gd name="connsiteY4" fmla="*/ 782556 h 2204494"/>
              <a:gd name="connsiteX5" fmla="*/ 955723 w 1665367"/>
              <a:gd name="connsiteY5" fmla="*/ 782018 h 2204494"/>
              <a:gd name="connsiteX6" fmla="*/ 955320 w 1665367"/>
              <a:gd name="connsiteY6" fmla="*/ 172382 h 2204494"/>
              <a:gd name="connsiteX7" fmla="*/ 1226131 w 1665367"/>
              <a:gd name="connsiteY7" fmla="*/ 143516 h 2204494"/>
              <a:gd name="connsiteX8" fmla="*/ 1229004 w 1665367"/>
              <a:gd name="connsiteY8" fmla="*/ 1247731 h 2204494"/>
              <a:gd name="connsiteX9" fmla="*/ 1286170 w 1665367"/>
              <a:gd name="connsiteY9" fmla="*/ 1279226 h 2204494"/>
              <a:gd name="connsiteX10" fmla="*/ 1635560 w 1665367"/>
              <a:gd name="connsiteY10" fmla="*/ 1258963 h 2204494"/>
              <a:gd name="connsiteX11" fmla="*/ 1120801 w 1665367"/>
              <a:gd name="connsiteY11" fmla="*/ 2013664 h 2204494"/>
              <a:gd name="connsiteX12" fmla="*/ 1313 w 1665367"/>
              <a:gd name="connsiteY12" fmla="*/ 1717905 h 2204494"/>
              <a:gd name="connsiteX0" fmla="*/ 1893 w 1665947"/>
              <a:gd name="connsiteY0" fmla="*/ 1717905 h 2204494"/>
              <a:gd name="connsiteX1" fmla="*/ 1283 w 1665947"/>
              <a:gd name="connsiteY1" fmla="*/ 883184 h 2204494"/>
              <a:gd name="connsiteX2" fmla="*/ 314194 w 1665947"/>
              <a:gd name="connsiteY2" fmla="*/ 782266 h 2204494"/>
              <a:gd name="connsiteX3" fmla="*/ 624869 w 1665947"/>
              <a:gd name="connsiteY3" fmla="*/ 786214 h 2204494"/>
              <a:gd name="connsiteX4" fmla="*/ 934981 w 1665947"/>
              <a:gd name="connsiteY4" fmla="*/ 782556 h 2204494"/>
              <a:gd name="connsiteX5" fmla="*/ 956303 w 1665947"/>
              <a:gd name="connsiteY5" fmla="*/ 782018 h 2204494"/>
              <a:gd name="connsiteX6" fmla="*/ 955900 w 1665947"/>
              <a:gd name="connsiteY6" fmla="*/ 172382 h 2204494"/>
              <a:gd name="connsiteX7" fmla="*/ 1226711 w 1665947"/>
              <a:gd name="connsiteY7" fmla="*/ 143516 h 2204494"/>
              <a:gd name="connsiteX8" fmla="*/ 1229584 w 1665947"/>
              <a:gd name="connsiteY8" fmla="*/ 1247731 h 2204494"/>
              <a:gd name="connsiteX9" fmla="*/ 1286750 w 1665947"/>
              <a:gd name="connsiteY9" fmla="*/ 1279226 h 2204494"/>
              <a:gd name="connsiteX10" fmla="*/ 1636140 w 1665947"/>
              <a:gd name="connsiteY10" fmla="*/ 1258963 h 2204494"/>
              <a:gd name="connsiteX11" fmla="*/ 1121381 w 1665947"/>
              <a:gd name="connsiteY11" fmla="*/ 2013664 h 2204494"/>
              <a:gd name="connsiteX12" fmla="*/ 1893 w 1665947"/>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29427 w 1665790"/>
              <a:gd name="connsiteY8" fmla="*/ 1247731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20691 w 1665790"/>
              <a:gd name="connsiteY8" fmla="*/ 1244819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23603 w 1665790"/>
              <a:gd name="connsiteY8" fmla="*/ 1244819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11954 w 1665790"/>
              <a:gd name="connsiteY8" fmla="*/ 1244819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11954 w 1665790"/>
              <a:gd name="connsiteY8" fmla="*/ 1244819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11954 w 1665790"/>
              <a:gd name="connsiteY8" fmla="*/ 1244819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17778 w 1665790"/>
              <a:gd name="connsiteY8" fmla="*/ 1238994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11954 w 1665790"/>
              <a:gd name="connsiteY8" fmla="*/ 1238994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11954 w 1665790"/>
              <a:gd name="connsiteY8" fmla="*/ 1238994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29160 w 1665790"/>
              <a:gd name="connsiteY8" fmla="*/ 1236536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29160 w 1665790"/>
              <a:gd name="connsiteY8" fmla="*/ 1236536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29160 w 1665790"/>
              <a:gd name="connsiteY8" fmla="*/ 1236536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29160 w 1665790"/>
              <a:gd name="connsiteY8" fmla="*/ 1236536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1736 w 1665790"/>
              <a:gd name="connsiteY0" fmla="*/ 1717905 h 2204494"/>
              <a:gd name="connsiteX1" fmla="*/ 1126 w 1665790"/>
              <a:gd name="connsiteY1" fmla="*/ 883184 h 2204494"/>
              <a:gd name="connsiteX2" fmla="*/ 314037 w 1665790"/>
              <a:gd name="connsiteY2" fmla="*/ 782266 h 2204494"/>
              <a:gd name="connsiteX3" fmla="*/ 624712 w 1665790"/>
              <a:gd name="connsiteY3" fmla="*/ 786214 h 2204494"/>
              <a:gd name="connsiteX4" fmla="*/ 934824 w 1665790"/>
              <a:gd name="connsiteY4" fmla="*/ 782556 h 2204494"/>
              <a:gd name="connsiteX5" fmla="*/ 956146 w 1665790"/>
              <a:gd name="connsiteY5" fmla="*/ 782018 h 2204494"/>
              <a:gd name="connsiteX6" fmla="*/ 955743 w 1665790"/>
              <a:gd name="connsiteY6" fmla="*/ 172382 h 2204494"/>
              <a:gd name="connsiteX7" fmla="*/ 1226554 w 1665790"/>
              <a:gd name="connsiteY7" fmla="*/ 143516 h 2204494"/>
              <a:gd name="connsiteX8" fmla="*/ 1229160 w 1665790"/>
              <a:gd name="connsiteY8" fmla="*/ 1236536 h 2204494"/>
              <a:gd name="connsiteX9" fmla="*/ 1286593 w 1665790"/>
              <a:gd name="connsiteY9" fmla="*/ 1279226 h 2204494"/>
              <a:gd name="connsiteX10" fmla="*/ 1635983 w 1665790"/>
              <a:gd name="connsiteY10" fmla="*/ 1258963 h 2204494"/>
              <a:gd name="connsiteX11" fmla="*/ 1121224 w 1665790"/>
              <a:gd name="connsiteY11" fmla="*/ 2013664 h 2204494"/>
              <a:gd name="connsiteX12" fmla="*/ 1736 w 1665790"/>
              <a:gd name="connsiteY12" fmla="*/ 1717905 h 2204494"/>
              <a:gd name="connsiteX0" fmla="*/ 2890 w 1666944"/>
              <a:gd name="connsiteY0" fmla="*/ 1717905 h 2204494"/>
              <a:gd name="connsiteX1" fmla="*/ 2280 w 1666944"/>
              <a:gd name="connsiteY1" fmla="*/ 883184 h 2204494"/>
              <a:gd name="connsiteX2" fmla="*/ 315191 w 1666944"/>
              <a:gd name="connsiteY2" fmla="*/ 782266 h 2204494"/>
              <a:gd name="connsiteX3" fmla="*/ 625866 w 1666944"/>
              <a:gd name="connsiteY3" fmla="*/ 786214 h 2204494"/>
              <a:gd name="connsiteX4" fmla="*/ 935978 w 1666944"/>
              <a:gd name="connsiteY4" fmla="*/ 782556 h 2204494"/>
              <a:gd name="connsiteX5" fmla="*/ 957300 w 1666944"/>
              <a:gd name="connsiteY5" fmla="*/ 782018 h 2204494"/>
              <a:gd name="connsiteX6" fmla="*/ 956897 w 1666944"/>
              <a:gd name="connsiteY6" fmla="*/ 172382 h 2204494"/>
              <a:gd name="connsiteX7" fmla="*/ 1227708 w 1666944"/>
              <a:gd name="connsiteY7" fmla="*/ 143516 h 2204494"/>
              <a:gd name="connsiteX8" fmla="*/ 1230314 w 1666944"/>
              <a:gd name="connsiteY8" fmla="*/ 1236536 h 2204494"/>
              <a:gd name="connsiteX9" fmla="*/ 1287747 w 1666944"/>
              <a:gd name="connsiteY9" fmla="*/ 1279226 h 2204494"/>
              <a:gd name="connsiteX10" fmla="*/ 1637137 w 1666944"/>
              <a:gd name="connsiteY10" fmla="*/ 1258963 h 2204494"/>
              <a:gd name="connsiteX11" fmla="*/ 1122378 w 1666944"/>
              <a:gd name="connsiteY11" fmla="*/ 2013664 h 2204494"/>
              <a:gd name="connsiteX12" fmla="*/ 2890 w 1666944"/>
              <a:gd name="connsiteY12" fmla="*/ 1717905 h 2204494"/>
              <a:gd name="connsiteX0" fmla="*/ 1294 w 1665348"/>
              <a:gd name="connsiteY0" fmla="*/ 1717905 h 2204494"/>
              <a:gd name="connsiteX1" fmla="*/ 684 w 1665348"/>
              <a:gd name="connsiteY1" fmla="*/ 883184 h 2204494"/>
              <a:gd name="connsiteX2" fmla="*/ 313595 w 1665348"/>
              <a:gd name="connsiteY2" fmla="*/ 782266 h 2204494"/>
              <a:gd name="connsiteX3" fmla="*/ 624270 w 1665348"/>
              <a:gd name="connsiteY3" fmla="*/ 786214 h 2204494"/>
              <a:gd name="connsiteX4" fmla="*/ 934382 w 1665348"/>
              <a:gd name="connsiteY4" fmla="*/ 782556 h 2204494"/>
              <a:gd name="connsiteX5" fmla="*/ 955704 w 1665348"/>
              <a:gd name="connsiteY5" fmla="*/ 782018 h 2204494"/>
              <a:gd name="connsiteX6" fmla="*/ 955301 w 1665348"/>
              <a:gd name="connsiteY6" fmla="*/ 172382 h 2204494"/>
              <a:gd name="connsiteX7" fmla="*/ 1226112 w 1665348"/>
              <a:gd name="connsiteY7" fmla="*/ 143516 h 2204494"/>
              <a:gd name="connsiteX8" fmla="*/ 1228718 w 1665348"/>
              <a:gd name="connsiteY8" fmla="*/ 1236536 h 2204494"/>
              <a:gd name="connsiteX9" fmla="*/ 1286151 w 1665348"/>
              <a:gd name="connsiteY9" fmla="*/ 1279226 h 2204494"/>
              <a:gd name="connsiteX10" fmla="*/ 1635541 w 1665348"/>
              <a:gd name="connsiteY10" fmla="*/ 1258963 h 2204494"/>
              <a:gd name="connsiteX11" fmla="*/ 1120782 w 1665348"/>
              <a:gd name="connsiteY11" fmla="*/ 2013664 h 2204494"/>
              <a:gd name="connsiteX12" fmla="*/ 1294 w 1665348"/>
              <a:gd name="connsiteY12" fmla="*/ 1717905 h 2204494"/>
              <a:gd name="connsiteX0" fmla="*/ 1294 w 1665348"/>
              <a:gd name="connsiteY0" fmla="*/ 1717905 h 2204494"/>
              <a:gd name="connsiteX1" fmla="*/ 684 w 1665348"/>
              <a:gd name="connsiteY1" fmla="*/ 883184 h 2204494"/>
              <a:gd name="connsiteX2" fmla="*/ 313595 w 1665348"/>
              <a:gd name="connsiteY2" fmla="*/ 782266 h 2204494"/>
              <a:gd name="connsiteX3" fmla="*/ 624270 w 1665348"/>
              <a:gd name="connsiteY3" fmla="*/ 786214 h 2204494"/>
              <a:gd name="connsiteX4" fmla="*/ 934382 w 1665348"/>
              <a:gd name="connsiteY4" fmla="*/ 782556 h 2204494"/>
              <a:gd name="connsiteX5" fmla="*/ 955704 w 1665348"/>
              <a:gd name="connsiteY5" fmla="*/ 782018 h 2204494"/>
              <a:gd name="connsiteX6" fmla="*/ 955301 w 1665348"/>
              <a:gd name="connsiteY6" fmla="*/ 172382 h 2204494"/>
              <a:gd name="connsiteX7" fmla="*/ 1226112 w 1665348"/>
              <a:gd name="connsiteY7" fmla="*/ 143516 h 2204494"/>
              <a:gd name="connsiteX8" fmla="*/ 1228718 w 1665348"/>
              <a:gd name="connsiteY8" fmla="*/ 1236536 h 2204494"/>
              <a:gd name="connsiteX9" fmla="*/ 1286151 w 1665348"/>
              <a:gd name="connsiteY9" fmla="*/ 1279226 h 2204494"/>
              <a:gd name="connsiteX10" fmla="*/ 1635541 w 1665348"/>
              <a:gd name="connsiteY10" fmla="*/ 1258963 h 2204494"/>
              <a:gd name="connsiteX11" fmla="*/ 1120782 w 1665348"/>
              <a:gd name="connsiteY11" fmla="*/ 2013664 h 2204494"/>
              <a:gd name="connsiteX12" fmla="*/ 1294 w 1665348"/>
              <a:gd name="connsiteY12" fmla="*/ 1717905 h 2204494"/>
              <a:gd name="connsiteX0" fmla="*/ 1294 w 1665348"/>
              <a:gd name="connsiteY0" fmla="*/ 1717905 h 2204494"/>
              <a:gd name="connsiteX1" fmla="*/ 684 w 1665348"/>
              <a:gd name="connsiteY1" fmla="*/ 883184 h 2204494"/>
              <a:gd name="connsiteX2" fmla="*/ 313595 w 1665348"/>
              <a:gd name="connsiteY2" fmla="*/ 782266 h 2204494"/>
              <a:gd name="connsiteX3" fmla="*/ 624270 w 1665348"/>
              <a:gd name="connsiteY3" fmla="*/ 786214 h 2204494"/>
              <a:gd name="connsiteX4" fmla="*/ 934382 w 1665348"/>
              <a:gd name="connsiteY4" fmla="*/ 782556 h 2204494"/>
              <a:gd name="connsiteX5" fmla="*/ 955704 w 1665348"/>
              <a:gd name="connsiteY5" fmla="*/ 782018 h 2204494"/>
              <a:gd name="connsiteX6" fmla="*/ 955301 w 1665348"/>
              <a:gd name="connsiteY6" fmla="*/ 172382 h 2204494"/>
              <a:gd name="connsiteX7" fmla="*/ 1226112 w 1665348"/>
              <a:gd name="connsiteY7" fmla="*/ 143516 h 2204494"/>
              <a:gd name="connsiteX8" fmla="*/ 1228718 w 1665348"/>
              <a:gd name="connsiteY8" fmla="*/ 1236536 h 2204494"/>
              <a:gd name="connsiteX9" fmla="*/ 1286151 w 1665348"/>
              <a:gd name="connsiteY9" fmla="*/ 1279226 h 2204494"/>
              <a:gd name="connsiteX10" fmla="*/ 1635541 w 1665348"/>
              <a:gd name="connsiteY10" fmla="*/ 1258963 h 2204494"/>
              <a:gd name="connsiteX11" fmla="*/ 1120782 w 1665348"/>
              <a:gd name="connsiteY11" fmla="*/ 2013664 h 2204494"/>
              <a:gd name="connsiteX12" fmla="*/ 1294 w 1665348"/>
              <a:gd name="connsiteY12" fmla="*/ 1717905 h 2204494"/>
              <a:gd name="connsiteX0" fmla="*/ 256 w 1666768"/>
              <a:gd name="connsiteY0" fmla="*/ 1717905 h 2204494"/>
              <a:gd name="connsiteX1" fmla="*/ 2104 w 1666768"/>
              <a:gd name="connsiteY1" fmla="*/ 883184 h 2204494"/>
              <a:gd name="connsiteX2" fmla="*/ 315015 w 1666768"/>
              <a:gd name="connsiteY2" fmla="*/ 782266 h 2204494"/>
              <a:gd name="connsiteX3" fmla="*/ 625690 w 1666768"/>
              <a:gd name="connsiteY3" fmla="*/ 786214 h 2204494"/>
              <a:gd name="connsiteX4" fmla="*/ 935802 w 1666768"/>
              <a:gd name="connsiteY4" fmla="*/ 782556 h 2204494"/>
              <a:gd name="connsiteX5" fmla="*/ 957124 w 1666768"/>
              <a:gd name="connsiteY5" fmla="*/ 782018 h 2204494"/>
              <a:gd name="connsiteX6" fmla="*/ 956721 w 1666768"/>
              <a:gd name="connsiteY6" fmla="*/ 172382 h 2204494"/>
              <a:gd name="connsiteX7" fmla="*/ 1227532 w 1666768"/>
              <a:gd name="connsiteY7" fmla="*/ 143516 h 2204494"/>
              <a:gd name="connsiteX8" fmla="*/ 1230138 w 1666768"/>
              <a:gd name="connsiteY8" fmla="*/ 1236536 h 2204494"/>
              <a:gd name="connsiteX9" fmla="*/ 1287571 w 1666768"/>
              <a:gd name="connsiteY9" fmla="*/ 1279226 h 2204494"/>
              <a:gd name="connsiteX10" fmla="*/ 1636961 w 1666768"/>
              <a:gd name="connsiteY10" fmla="*/ 1258963 h 2204494"/>
              <a:gd name="connsiteX11" fmla="*/ 1122202 w 1666768"/>
              <a:gd name="connsiteY11" fmla="*/ 2013664 h 2204494"/>
              <a:gd name="connsiteX12" fmla="*/ 256 w 1666768"/>
              <a:gd name="connsiteY12" fmla="*/ 1717905 h 220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66768" h="2204494">
                <a:moveTo>
                  <a:pt x="256" y="1717905"/>
                </a:moveTo>
                <a:cubicBezTo>
                  <a:pt x="-1106" y="1418391"/>
                  <a:pt x="3466" y="1182698"/>
                  <a:pt x="2104" y="883184"/>
                </a:cubicBezTo>
                <a:cubicBezTo>
                  <a:pt x="-14230" y="648373"/>
                  <a:pt x="267082" y="559366"/>
                  <a:pt x="315015" y="782266"/>
                </a:cubicBezTo>
                <a:cubicBezTo>
                  <a:pt x="334686" y="589736"/>
                  <a:pt x="629226" y="607501"/>
                  <a:pt x="625690" y="786214"/>
                </a:cubicBezTo>
                <a:cubicBezTo>
                  <a:pt x="627904" y="571967"/>
                  <a:pt x="957299" y="597296"/>
                  <a:pt x="935802" y="782556"/>
                </a:cubicBezTo>
                <a:cubicBezTo>
                  <a:pt x="935399" y="792413"/>
                  <a:pt x="948796" y="808783"/>
                  <a:pt x="957124" y="782018"/>
                </a:cubicBezTo>
                <a:cubicBezTo>
                  <a:pt x="955452" y="672861"/>
                  <a:pt x="956976" y="344124"/>
                  <a:pt x="956721" y="172382"/>
                </a:cubicBezTo>
                <a:cubicBezTo>
                  <a:pt x="936287" y="-30803"/>
                  <a:pt x="1225702" y="-71613"/>
                  <a:pt x="1227532" y="143516"/>
                </a:cubicBezTo>
                <a:cubicBezTo>
                  <a:pt x="1230359" y="591669"/>
                  <a:pt x="1232158" y="759757"/>
                  <a:pt x="1230138" y="1236536"/>
                </a:cubicBezTo>
                <a:cubicBezTo>
                  <a:pt x="1240620" y="1301326"/>
                  <a:pt x="1268516" y="1291588"/>
                  <a:pt x="1287571" y="1279226"/>
                </a:cubicBezTo>
                <a:cubicBezTo>
                  <a:pt x="1568003" y="860936"/>
                  <a:pt x="1739101" y="1153628"/>
                  <a:pt x="1636961" y="1258963"/>
                </a:cubicBezTo>
                <a:lnTo>
                  <a:pt x="1122202" y="2013664"/>
                </a:lnTo>
                <a:cubicBezTo>
                  <a:pt x="941744" y="2297403"/>
                  <a:pt x="85829" y="2314940"/>
                  <a:pt x="256" y="1717905"/>
                </a:cubicBezTo>
                <a:close/>
              </a:path>
            </a:pathLst>
          </a:cu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xmlns="" id="{4BECB73F-0505-407C-84A9-2E5D06350E92}"/>
              </a:ext>
            </a:extLst>
          </p:cNvPr>
          <p:cNvSpPr txBox="1"/>
          <p:nvPr/>
        </p:nvSpPr>
        <p:spPr>
          <a:xfrm>
            <a:off x="9310009" y="1615765"/>
            <a:ext cx="305101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Group Consolidation </a:t>
            </a:r>
            <a:r>
              <a:rPr kumimoji="0" lang="en-US" sz="15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exploit synergies and improve scale for strategic relevance </a:t>
            </a:r>
            <a:r>
              <a:rPr kumimoji="0" lang="en-US" sz="15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turning around</a:t>
            </a:r>
            <a:r>
              <a:rPr kumimoji="0" lang="en-US" sz="15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truggling entities.</a:t>
            </a:r>
          </a:p>
        </p:txBody>
      </p:sp>
      <p:sp>
        <p:nvSpPr>
          <p:cNvPr id="17" name="TextBox 16">
            <a:extLst>
              <a:ext uri="{FF2B5EF4-FFF2-40B4-BE49-F238E27FC236}">
                <a16:creationId xmlns:a16="http://schemas.microsoft.com/office/drawing/2014/main" xmlns="" id="{54DC9AA0-0058-484B-88FF-D6A7834C1FF9}"/>
              </a:ext>
            </a:extLst>
          </p:cNvPr>
          <p:cNvSpPr txBox="1"/>
          <p:nvPr/>
        </p:nvSpPr>
        <p:spPr>
          <a:xfrm>
            <a:off x="5227671" y="2746562"/>
            <a:ext cx="232788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Key Strategic Themes</a:t>
            </a:r>
          </a:p>
        </p:txBody>
      </p:sp>
      <p:sp>
        <p:nvSpPr>
          <p:cNvPr id="63" name="Title 2"/>
          <p:cNvSpPr>
            <a:spLocks noGrp="1"/>
          </p:cNvSpPr>
          <p:nvPr>
            <p:ph type="title"/>
          </p:nvPr>
        </p:nvSpPr>
        <p:spPr>
          <a:xfrm>
            <a:off x="434442" y="328107"/>
            <a:ext cx="12142714" cy="451616"/>
          </a:xfrm>
          <a:noFill/>
          <a:ln w="9525">
            <a:noFill/>
            <a:miter lim="800000"/>
            <a:headEnd/>
            <a:tailEnd/>
          </a:ln>
        </p:spPr>
        <p:txBody>
          <a:bodyPr vert="horz" wrap="square" lIns="0" tIns="81488" rIns="0" bIns="0" numCol="1" rtlCol="0" anchor="ctr" anchorCtr="0" compatLnSpc="1">
            <a:prstTxWarp prst="textNoShape">
              <a:avLst/>
            </a:prstTxWarp>
            <a:spAutoFit/>
          </a:bodyPr>
          <a:lstStyle/>
          <a:p>
            <a:pPr>
              <a:lnSpc>
                <a:spcPct val="100000"/>
              </a:lnSpc>
            </a:pPr>
            <a:r>
              <a:rPr lang="en-US" spc="-15" dirty="0">
                <a:solidFill>
                  <a:srgbClr val="0060B1"/>
                </a:solidFill>
                <a:latin typeface="Century Gothic"/>
                <a:cs typeface="Century Gothic"/>
              </a:rPr>
              <a:t>CEF Group Strategic Trajectory &amp; Corporate Plan Overview FY20/21-FY24/25</a:t>
            </a:r>
            <a:endParaRPr lang="en-ZA" spc="-15" dirty="0">
              <a:solidFill>
                <a:srgbClr val="0060B1"/>
              </a:solidFill>
              <a:latin typeface="Century Gothic"/>
              <a:cs typeface="Century Gothic"/>
            </a:endParaRPr>
          </a:p>
        </p:txBody>
      </p:sp>
      <p:sp>
        <p:nvSpPr>
          <p:cNvPr id="67" name="Oval 66">
            <a:extLst>
              <a:ext uri="{FF2B5EF4-FFF2-40B4-BE49-F238E27FC236}">
                <a16:creationId xmlns:a16="http://schemas.microsoft.com/office/drawing/2014/main" xmlns="" id="{FC8DA73B-B620-4607-AB7B-E2BA8F8B6356}"/>
              </a:ext>
            </a:extLst>
          </p:cNvPr>
          <p:cNvSpPr/>
          <p:nvPr/>
        </p:nvSpPr>
        <p:spPr>
          <a:xfrm>
            <a:off x="1664048" y="938555"/>
            <a:ext cx="576000" cy="540000"/>
          </a:xfrm>
          <a:prstGeom prst="ellipse">
            <a:avLst/>
          </a:prstGeom>
          <a:solidFill>
            <a:schemeClr val="tx2"/>
          </a:solidFill>
          <a:ln w="19050" cap="flat" cmpd="sng" algn="ctr">
            <a:solidFill>
              <a:srgbClr val="FFFFFF">
                <a:alpha val="3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0" cap="none" spc="0" normalizeH="0" baseline="0" noProof="0" dirty="0">
                <a:ln>
                  <a:noFill/>
                </a:ln>
                <a:solidFill>
                  <a:prstClr val="white"/>
                </a:solidFill>
                <a:effectLst/>
                <a:uLnTx/>
                <a:uFillTx/>
                <a:latin typeface="Calibri" panose="020F0502020204030204"/>
                <a:ea typeface="+mn-ea"/>
                <a:cs typeface="+mn-cs"/>
              </a:rPr>
              <a:t>1</a:t>
            </a:r>
          </a:p>
        </p:txBody>
      </p:sp>
      <p:sp>
        <p:nvSpPr>
          <p:cNvPr id="68" name="Oval 67">
            <a:extLst>
              <a:ext uri="{FF2B5EF4-FFF2-40B4-BE49-F238E27FC236}">
                <a16:creationId xmlns:a16="http://schemas.microsoft.com/office/drawing/2014/main" xmlns="" id="{FC8DA73B-B620-4607-AB7B-E2BA8F8B6356}"/>
              </a:ext>
            </a:extLst>
          </p:cNvPr>
          <p:cNvSpPr/>
          <p:nvPr/>
        </p:nvSpPr>
        <p:spPr>
          <a:xfrm>
            <a:off x="4624716" y="938555"/>
            <a:ext cx="576000" cy="540000"/>
          </a:xfrm>
          <a:prstGeom prst="ellipse">
            <a:avLst/>
          </a:prstGeom>
          <a:solidFill>
            <a:schemeClr val="tx2"/>
          </a:solidFill>
          <a:ln w="19050" cap="flat" cmpd="sng" algn="ctr">
            <a:solidFill>
              <a:srgbClr val="FFFFFF">
                <a:alpha val="3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0" cap="none" spc="0" normalizeH="0" baseline="0" noProof="0" dirty="0">
                <a:ln>
                  <a:noFill/>
                </a:ln>
                <a:solidFill>
                  <a:prstClr val="white"/>
                </a:solidFill>
                <a:effectLst/>
                <a:uLnTx/>
                <a:uFillTx/>
                <a:latin typeface="Calibri" panose="020F0502020204030204"/>
                <a:ea typeface="+mn-ea"/>
                <a:cs typeface="+mn-cs"/>
              </a:rPr>
              <a:t>2</a:t>
            </a:r>
          </a:p>
        </p:txBody>
      </p:sp>
      <p:sp>
        <p:nvSpPr>
          <p:cNvPr id="73" name="Oval 72">
            <a:extLst>
              <a:ext uri="{FF2B5EF4-FFF2-40B4-BE49-F238E27FC236}">
                <a16:creationId xmlns:a16="http://schemas.microsoft.com/office/drawing/2014/main" xmlns="" id="{FC8DA73B-B620-4607-AB7B-E2BA8F8B6356}"/>
              </a:ext>
            </a:extLst>
          </p:cNvPr>
          <p:cNvSpPr/>
          <p:nvPr/>
        </p:nvSpPr>
        <p:spPr>
          <a:xfrm>
            <a:off x="7585384" y="938555"/>
            <a:ext cx="576000" cy="540000"/>
          </a:xfrm>
          <a:prstGeom prst="ellipse">
            <a:avLst/>
          </a:prstGeom>
          <a:solidFill>
            <a:schemeClr val="tx2"/>
          </a:solidFill>
          <a:ln w="19050" cap="flat" cmpd="sng" algn="ctr">
            <a:solidFill>
              <a:srgbClr val="FFFFFF">
                <a:alpha val="3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65" name="TextBox 64">
            <a:extLst>
              <a:ext uri="{FF2B5EF4-FFF2-40B4-BE49-F238E27FC236}">
                <a16:creationId xmlns:a16="http://schemas.microsoft.com/office/drawing/2014/main" xmlns="" id="{2B9EBA14-1E11-471E-ACAC-F2C273283A53}"/>
              </a:ext>
            </a:extLst>
          </p:cNvPr>
          <p:cNvSpPr txBox="1"/>
          <p:nvPr/>
        </p:nvSpPr>
        <p:spPr>
          <a:xfrm>
            <a:off x="9434517" y="2728925"/>
            <a:ext cx="2122697" cy="338554"/>
          </a:xfrm>
          <a:prstGeom prst="rect">
            <a:avLst/>
          </a:prstGeom>
          <a:noFill/>
        </p:spPr>
        <p:txBody>
          <a:bodyPr wrap="none"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kumimoji="0" sz="1800" b="1" i="1" u="none" strike="noStrike" kern="0" cap="none" spc="0" normalizeH="0" baseline="0">
                <a:ln>
                  <a:noFill/>
                </a:ln>
                <a:solidFill>
                  <a:schemeClr val="accent1"/>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Key Results to 2025</a:t>
            </a:r>
          </a:p>
        </p:txBody>
      </p:sp>
      <p:sp>
        <p:nvSpPr>
          <p:cNvPr id="2" name="TextBox 1"/>
          <p:cNvSpPr txBox="1"/>
          <p:nvPr/>
        </p:nvSpPr>
        <p:spPr>
          <a:xfrm>
            <a:off x="8381187" y="3121258"/>
            <a:ext cx="4062966" cy="2977738"/>
          </a:xfrm>
          <a:prstGeom prst="rect">
            <a:avLst/>
          </a:prstGeom>
          <a:noFill/>
          <a:ln>
            <a:solidFill>
              <a:schemeClr val="bg1">
                <a:lumMod val="75000"/>
              </a:schemeClr>
            </a:solidFill>
          </a:ln>
        </p:spPr>
        <p:txBody>
          <a:bodyPr wrap="square" rtlCol="0">
            <a:spAutoFit/>
          </a:bodyPr>
          <a:lstStyle/>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US" sz="1250" b="1" i="0" u="none" strike="noStrike" kern="1200" cap="none" spc="0" normalizeH="0" baseline="0" noProof="0" dirty="0">
                <a:ln>
                  <a:noFill/>
                </a:ln>
                <a:solidFill>
                  <a:srgbClr val="000000"/>
                </a:solidFill>
                <a:effectLst/>
                <a:uLnTx/>
                <a:uFillTx/>
                <a:latin typeface="Arial" charset="0"/>
                <a:ea typeface="+mn-ea"/>
                <a:cs typeface="+mn-cs"/>
              </a:rPr>
              <a:t>5% market share</a:t>
            </a:r>
          </a:p>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US" sz="1250" b="1" i="0" u="none" strike="noStrike" kern="1200" cap="none" spc="0" normalizeH="0" baseline="0" noProof="0" dirty="0">
                <a:ln>
                  <a:noFill/>
                </a:ln>
                <a:solidFill>
                  <a:srgbClr val="000000"/>
                </a:solidFill>
                <a:effectLst/>
                <a:uLnTx/>
                <a:uFillTx/>
                <a:latin typeface="Arial" charset="0"/>
                <a:ea typeface="+mn-ea"/>
                <a:cs typeface="+mn-cs"/>
              </a:rPr>
              <a:t>R4B  return by 2025</a:t>
            </a:r>
          </a:p>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ZA" sz="1250" b="1" i="0" u="none" strike="noStrike" kern="1200" cap="none" spc="0" normalizeH="0" baseline="0" noProof="0" dirty="0">
                <a:ln>
                  <a:noFill/>
                </a:ln>
                <a:solidFill>
                  <a:srgbClr val="000000"/>
                </a:solidFill>
                <a:effectLst/>
                <a:uLnTx/>
                <a:uFillTx/>
                <a:latin typeface="Arial" charset="0"/>
                <a:ea typeface="+mn-ea"/>
                <a:cs typeface="+mn-cs"/>
              </a:rPr>
              <a:t>ROA OF 12% by 2025</a:t>
            </a:r>
            <a:endParaRPr kumimoji="0" lang="en-US" sz="1250" b="1" i="0" u="none" strike="noStrike" kern="1200" cap="none" spc="0" normalizeH="0" baseline="0" noProof="0" dirty="0">
              <a:ln>
                <a:noFill/>
              </a:ln>
              <a:solidFill>
                <a:srgbClr val="000000"/>
              </a:solidFill>
              <a:effectLst/>
              <a:uLnTx/>
              <a:uFillTx/>
              <a:latin typeface="Arial" charset="0"/>
              <a:ea typeface="+mn-ea"/>
              <a:cs typeface="+mn-cs"/>
            </a:endParaRPr>
          </a:p>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US" sz="1250" b="1" i="0" u="none" strike="noStrike" kern="1200" cap="none" spc="0" normalizeH="0" baseline="0" noProof="0" dirty="0">
                <a:ln>
                  <a:noFill/>
                </a:ln>
                <a:solidFill>
                  <a:srgbClr val="000000"/>
                </a:solidFill>
                <a:effectLst/>
                <a:uLnTx/>
                <a:uFillTx/>
                <a:latin typeface="Arial" charset="0"/>
                <a:ea typeface="+mn-ea"/>
                <a:cs typeface="+mn-cs"/>
              </a:rPr>
              <a:t>Brand Reputation Score of 75%</a:t>
            </a:r>
          </a:p>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US" sz="1250" b="1" i="0" u="none" strike="noStrike" kern="1200" cap="none" spc="0" normalizeH="0" baseline="0" noProof="0" dirty="0">
                <a:ln>
                  <a:noFill/>
                </a:ln>
                <a:solidFill>
                  <a:srgbClr val="000000"/>
                </a:solidFill>
                <a:effectLst/>
                <a:uLnTx/>
                <a:uFillTx/>
                <a:latin typeface="Arial" charset="0"/>
                <a:ea typeface="+mn-ea"/>
                <a:cs typeface="+mn-cs"/>
              </a:rPr>
              <a:t>Integrated National Oil Company  (SANPC)</a:t>
            </a:r>
          </a:p>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US" sz="1250" b="1" i="0" u="none" strike="noStrike" kern="1200" cap="none" spc="0" normalizeH="0" baseline="0" noProof="0" dirty="0">
                <a:ln>
                  <a:noFill/>
                </a:ln>
                <a:solidFill>
                  <a:srgbClr val="000000"/>
                </a:solidFill>
                <a:effectLst/>
                <a:uLnTx/>
                <a:uFillTx/>
                <a:latin typeface="Arial" charset="0"/>
                <a:ea typeface="+mn-ea"/>
                <a:cs typeface="+mn-cs"/>
              </a:rPr>
              <a:t>R2.7B income from new business</a:t>
            </a:r>
          </a:p>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US" sz="1250" b="1" i="0" u="none" strike="noStrike" kern="1200" cap="none" spc="0" normalizeH="0" baseline="0" noProof="0" dirty="0">
                <a:ln>
                  <a:noFill/>
                </a:ln>
                <a:solidFill>
                  <a:srgbClr val="000000"/>
                </a:solidFill>
                <a:effectLst/>
                <a:uLnTx/>
                <a:uFillTx/>
                <a:latin typeface="Arial" charset="0"/>
                <a:ea typeface="+mn-ea"/>
                <a:cs typeface="+mn-cs"/>
              </a:rPr>
              <a:t>Creation of a High-Performance Culture</a:t>
            </a:r>
          </a:p>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US" sz="1250" b="1" i="0" u="none" strike="noStrike" kern="1200" cap="none" spc="0" normalizeH="0" baseline="0" noProof="0" dirty="0">
                <a:ln>
                  <a:noFill/>
                </a:ln>
                <a:solidFill>
                  <a:srgbClr val="000000"/>
                </a:solidFill>
                <a:effectLst/>
                <a:uLnTx/>
                <a:uFillTx/>
                <a:latin typeface="Arial" charset="0"/>
                <a:ea typeface="+mn-ea"/>
                <a:cs typeface="+mn-cs"/>
              </a:rPr>
              <a:t>Strategic acquisitions</a:t>
            </a:r>
          </a:p>
          <a:p>
            <a:pPr marL="271463" marR="0" lvl="0" indent="-271463" algn="l" defTabSz="914400" rtl="0" eaLnBrk="1" fontAlgn="base" latinLnBrk="0" hangingPunct="1">
              <a:lnSpc>
                <a:spcPct val="150000"/>
              </a:lnSpc>
              <a:spcBef>
                <a:spcPct val="0"/>
              </a:spcBef>
              <a:spcAft>
                <a:spcPct val="0"/>
              </a:spcAft>
              <a:buClrTx/>
              <a:buSzTx/>
              <a:buFont typeface="+mj-lt"/>
              <a:buAutoNum type="arabicPeriod"/>
              <a:tabLst/>
              <a:defRPr/>
            </a:pPr>
            <a:r>
              <a:rPr kumimoji="0" lang="en-US" sz="1250" b="1" i="0" u="none" strike="noStrike" kern="1200" cap="none" spc="0" normalizeH="0" baseline="0" noProof="0" dirty="0">
                <a:ln>
                  <a:noFill/>
                </a:ln>
                <a:solidFill>
                  <a:srgbClr val="000000"/>
                </a:solidFill>
                <a:effectLst/>
                <a:uLnTx/>
                <a:uFillTx/>
                <a:latin typeface="Arial" charset="0"/>
                <a:ea typeface="+mn-ea"/>
                <a:cs typeface="+mn-cs"/>
              </a:rPr>
              <a:t>Downstream presence</a:t>
            </a:r>
          </a:p>
          <a:p>
            <a:pPr marL="342900" marR="0" lvl="0" indent="-342900" algn="l" defTabSz="914400" rtl="0" eaLnBrk="1" fontAlgn="base" latinLnBrk="0" hangingPunct="1">
              <a:lnSpc>
                <a:spcPct val="150000"/>
              </a:lnSpc>
              <a:spcBef>
                <a:spcPct val="0"/>
              </a:spcBef>
              <a:spcAft>
                <a:spcPct val="0"/>
              </a:spcAft>
              <a:buClrTx/>
              <a:buSzTx/>
              <a:buFont typeface="+mj-lt"/>
              <a:buAutoNum type="arabicPeriod"/>
              <a:tabLst/>
              <a:defRPr/>
            </a:pPr>
            <a:endParaRPr kumimoji="0" lang="en-US" sz="125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5" name="Oval 74">
            <a:extLst>
              <a:ext uri="{FF2B5EF4-FFF2-40B4-BE49-F238E27FC236}">
                <a16:creationId xmlns:a16="http://schemas.microsoft.com/office/drawing/2014/main" xmlns="" id="{FC8DA73B-B620-4607-AB7B-E2BA8F8B6356}"/>
              </a:ext>
            </a:extLst>
          </p:cNvPr>
          <p:cNvSpPr/>
          <p:nvPr/>
        </p:nvSpPr>
        <p:spPr>
          <a:xfrm>
            <a:off x="10546052" y="938555"/>
            <a:ext cx="576000" cy="540000"/>
          </a:xfrm>
          <a:prstGeom prst="ellipse">
            <a:avLst/>
          </a:prstGeom>
          <a:solidFill>
            <a:schemeClr val="tx2"/>
          </a:solidFill>
          <a:ln w="19050" cap="flat" cmpd="sng" algn="ctr">
            <a:solidFill>
              <a:srgbClr val="FFFFFF">
                <a:alpha val="3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0" cap="none" spc="0" normalizeH="0" baseline="0" noProof="0" dirty="0">
                <a:ln>
                  <a:noFill/>
                </a:ln>
                <a:solidFill>
                  <a:prstClr val="white"/>
                </a:solidFill>
                <a:effectLst/>
                <a:uLnTx/>
                <a:uFillTx/>
                <a:latin typeface="Calibri" panose="020F0502020204030204"/>
                <a:ea typeface="+mn-ea"/>
                <a:cs typeface="+mn-cs"/>
              </a:rPr>
              <a:t>4</a:t>
            </a:r>
          </a:p>
        </p:txBody>
      </p:sp>
      <p:sp>
        <p:nvSpPr>
          <p:cNvPr id="36" name="Rectangle 35">
            <a:extLst>
              <a:ext uri="{FF2B5EF4-FFF2-40B4-BE49-F238E27FC236}">
                <a16:creationId xmlns:a16="http://schemas.microsoft.com/office/drawing/2014/main" xmlns="" id="{B4F1939F-D6A8-4FC9-8078-C5795F7D1C66}"/>
              </a:ext>
            </a:extLst>
          </p:cNvPr>
          <p:cNvSpPr/>
          <p:nvPr/>
        </p:nvSpPr>
        <p:spPr>
          <a:xfrm rot="16200000">
            <a:off x="6075223" y="1421431"/>
            <a:ext cx="458788" cy="3858444"/>
          </a:xfrm>
          <a:prstGeom prst="rect">
            <a:avLst/>
          </a:prstGeom>
          <a:solidFill>
            <a:sysClr val="window" lastClr="FFFFFF"/>
          </a:solidFill>
          <a:ln w="6350" cap="flat" cmpd="sng" algn="ctr">
            <a:solidFill>
              <a:sysClr val="window" lastClr="FFFFFF">
                <a:lumMod val="65000"/>
              </a:sysClr>
            </a:solidFill>
            <a:prstDash val="solid"/>
            <a:miter lim="800000"/>
          </a:ln>
          <a:effectLst>
            <a:outerShdw blurRad="50800" dist="25400" dir="10800000" algn="r"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38" name="TextBox 37">
            <a:extLst>
              <a:ext uri="{FF2B5EF4-FFF2-40B4-BE49-F238E27FC236}">
                <a16:creationId xmlns:a16="http://schemas.microsoft.com/office/drawing/2014/main" xmlns="" id="{2B9EBA14-1E11-471E-ACAC-F2C273283A53}"/>
              </a:ext>
            </a:extLst>
          </p:cNvPr>
          <p:cNvSpPr txBox="1"/>
          <p:nvPr/>
        </p:nvSpPr>
        <p:spPr>
          <a:xfrm>
            <a:off x="4395548" y="3192858"/>
            <a:ext cx="38128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Consolidation &amp; Turnaround</a:t>
            </a:r>
          </a:p>
        </p:txBody>
      </p:sp>
      <p:sp>
        <p:nvSpPr>
          <p:cNvPr id="42" name="Rectangle 41">
            <a:extLst>
              <a:ext uri="{FF2B5EF4-FFF2-40B4-BE49-F238E27FC236}">
                <a16:creationId xmlns:a16="http://schemas.microsoft.com/office/drawing/2014/main" xmlns="" id="{A8026FAD-4E02-438A-AB59-E2F46ADD7690}"/>
              </a:ext>
            </a:extLst>
          </p:cNvPr>
          <p:cNvSpPr/>
          <p:nvPr/>
        </p:nvSpPr>
        <p:spPr>
          <a:xfrm rot="16200000">
            <a:off x="639995" y="2711271"/>
            <a:ext cx="3038472" cy="3858448"/>
          </a:xfrm>
          <a:prstGeom prst="rect">
            <a:avLst/>
          </a:prstGeom>
          <a:solidFill>
            <a:sysClr val="window" lastClr="FFFFFF"/>
          </a:solidFill>
          <a:ln w="6350" cap="flat" cmpd="sng" algn="ctr">
            <a:solidFill>
              <a:sysClr val="window" lastClr="FFFFFF">
                <a:lumMod val="65000"/>
              </a:sysClr>
            </a:solidFill>
            <a:prstDash val="solid"/>
            <a:miter lim="800000"/>
          </a:ln>
          <a:effectLst>
            <a:outerShdw blurRad="50800" dist="25400" dir="10800000" algn="r"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47" name="TextBox 46">
            <a:extLst>
              <a:ext uri="{FF2B5EF4-FFF2-40B4-BE49-F238E27FC236}">
                <a16:creationId xmlns:a16="http://schemas.microsoft.com/office/drawing/2014/main" xmlns="" id="{8D2FA870-DBEB-4F56-83A6-691E155F591D}"/>
              </a:ext>
            </a:extLst>
          </p:cNvPr>
          <p:cNvSpPr txBox="1"/>
          <p:nvPr/>
        </p:nvSpPr>
        <p:spPr>
          <a:xfrm>
            <a:off x="290546" y="3163702"/>
            <a:ext cx="3812888" cy="3046988"/>
          </a:xfrm>
          <a:prstGeom prst="rect">
            <a:avLst/>
          </a:prstGeom>
          <a:noFill/>
        </p:spPr>
        <p:txBody>
          <a:bodyPr wrap="square" rtlCol="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sz="2400" b="1" kern="0">
                <a:solidFill>
                  <a:srgbClr val="C00000"/>
                </a:solidFill>
                <a:latin typeface="Arial" panose="020B0604020202020204" pitchFamily="34" charset="0"/>
                <a:cs typeface="Arial" panose="020B0604020202020204" pitchFamily="34" charset="0"/>
              </a:defRPr>
            </a:lvl1pPr>
          </a:lstStyle>
          <a:p>
            <a:pPr marL="180975" marR="0" lvl="0" indent="-180975" algn="l" defTabSz="914400" rtl="0" eaLnBrk="1" fontAlgn="auto" latinLnBrk="0" hangingPunct="1">
              <a:lnSpc>
                <a:spcPct val="150000"/>
              </a:lnSpc>
              <a:spcBef>
                <a:spcPts val="0"/>
              </a:spcBef>
              <a:spcAft>
                <a:spcPts val="0"/>
              </a:spcAft>
              <a:buClr>
                <a:srgbClr val="FF6600"/>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Group Growth &amp; sustainability</a:t>
            </a:r>
          </a:p>
          <a:p>
            <a:pPr marL="180975" marR="0" lvl="0" indent="-180975" algn="l" defTabSz="914400" rtl="0" eaLnBrk="1" fontAlgn="auto" latinLnBrk="0" hangingPunct="1">
              <a:lnSpc>
                <a:spcPct val="150000"/>
              </a:lnSpc>
              <a:spcBef>
                <a:spcPts val="0"/>
              </a:spcBef>
              <a:spcAft>
                <a:spcPts val="0"/>
              </a:spcAft>
              <a:buClr>
                <a:srgbClr val="FF6600"/>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PetroSA Financial crisis</a:t>
            </a:r>
          </a:p>
          <a:p>
            <a:pPr marL="180975" marR="0" lvl="0" indent="-180975" algn="l" defTabSz="914400" rtl="0" eaLnBrk="1" fontAlgn="auto" latinLnBrk="0" hangingPunct="1">
              <a:lnSpc>
                <a:spcPct val="150000"/>
              </a:lnSpc>
              <a:spcBef>
                <a:spcPts val="0"/>
              </a:spcBef>
              <a:spcAft>
                <a:spcPts val="0"/>
              </a:spcAft>
              <a:buClr>
                <a:srgbClr val="FF6600"/>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Global Energy Transition</a:t>
            </a:r>
          </a:p>
          <a:p>
            <a:pPr marL="180975" marR="0" lvl="0" indent="-180975" algn="l" defTabSz="914400" rtl="0" eaLnBrk="1" fontAlgn="auto" latinLnBrk="0" hangingPunct="1">
              <a:lnSpc>
                <a:spcPct val="150000"/>
              </a:lnSpc>
              <a:spcBef>
                <a:spcPts val="0"/>
              </a:spcBef>
              <a:spcAft>
                <a:spcPts val="0"/>
              </a:spcAft>
              <a:buClr>
                <a:srgbClr val="FF6600"/>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IRP 2019</a:t>
            </a:r>
          </a:p>
          <a:p>
            <a:pPr marL="180975" marR="0" lvl="0" indent="-180975" algn="l" defTabSz="914400" rtl="0" eaLnBrk="1" fontAlgn="auto" latinLnBrk="0" hangingPunct="1">
              <a:lnSpc>
                <a:spcPct val="150000"/>
              </a:lnSpc>
              <a:spcBef>
                <a:spcPts val="0"/>
              </a:spcBef>
              <a:spcAft>
                <a:spcPts val="0"/>
              </a:spcAft>
              <a:buClr>
                <a:srgbClr val="FF6600"/>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Competitive landscape</a:t>
            </a:r>
          </a:p>
          <a:p>
            <a:pPr marL="180975" marR="0" lvl="0" indent="-180975" algn="l" defTabSz="914400" rtl="0" eaLnBrk="1" fontAlgn="auto" latinLnBrk="0" hangingPunct="1">
              <a:lnSpc>
                <a:spcPct val="150000"/>
              </a:lnSpc>
              <a:spcBef>
                <a:spcPts val="0"/>
              </a:spcBef>
              <a:spcAft>
                <a:spcPts val="0"/>
              </a:spcAft>
              <a:buClr>
                <a:srgbClr val="FF6600"/>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National Treasury SOE review</a:t>
            </a:r>
          </a:p>
          <a:p>
            <a:pPr marL="180975" marR="0" lvl="0" indent="-180975" algn="l" defTabSz="914400" rtl="0" eaLnBrk="1" fontAlgn="auto" latinLnBrk="0" hangingPunct="1">
              <a:lnSpc>
                <a:spcPct val="150000"/>
              </a:lnSpc>
              <a:spcBef>
                <a:spcPts val="0"/>
              </a:spcBef>
              <a:spcAft>
                <a:spcPts val="0"/>
              </a:spcAft>
              <a:buClr>
                <a:srgbClr val="FF6600"/>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Regulatory and compliance</a:t>
            </a:r>
          </a:p>
          <a:p>
            <a:pPr marL="180975" marR="0" lvl="0" indent="-180975" algn="l" defTabSz="914400" rtl="0" eaLnBrk="1" fontAlgn="auto" latinLnBrk="0" hangingPunct="1">
              <a:lnSpc>
                <a:spcPct val="150000"/>
              </a:lnSpc>
              <a:spcBef>
                <a:spcPts val="0"/>
              </a:spcBef>
              <a:spcAft>
                <a:spcPts val="0"/>
              </a:spcAft>
              <a:buClr>
                <a:srgbClr val="FF6600"/>
              </a:buClr>
              <a:buSzTx/>
              <a:buFont typeface="Arial" panose="020B0604020202020204" pitchFamily="34" charset="0"/>
              <a:buChar char="•"/>
              <a:tabLst/>
              <a:defRPr/>
            </a:pPr>
            <a:r>
              <a:rPr kumimoji="0" lang="en-US" sz="1600" b="1" i="0"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Climate Change</a:t>
            </a:r>
          </a:p>
        </p:txBody>
      </p:sp>
      <p:sp>
        <p:nvSpPr>
          <p:cNvPr id="32" name="Rectangle 31">
            <a:extLst>
              <a:ext uri="{FF2B5EF4-FFF2-40B4-BE49-F238E27FC236}">
                <a16:creationId xmlns:a16="http://schemas.microsoft.com/office/drawing/2014/main" xmlns="" id="{B4F1939F-D6A8-4FC9-8078-C5795F7D1C66}"/>
              </a:ext>
            </a:extLst>
          </p:cNvPr>
          <p:cNvSpPr/>
          <p:nvPr/>
        </p:nvSpPr>
        <p:spPr>
          <a:xfrm rot="16200000">
            <a:off x="6077993" y="1982394"/>
            <a:ext cx="458788" cy="3858444"/>
          </a:xfrm>
          <a:prstGeom prst="rect">
            <a:avLst/>
          </a:prstGeom>
          <a:solidFill>
            <a:sysClr val="window" lastClr="FFFFFF"/>
          </a:solidFill>
          <a:ln w="6350" cap="flat" cmpd="sng" algn="ctr">
            <a:solidFill>
              <a:sysClr val="window" lastClr="FFFFFF">
                <a:lumMod val="65000"/>
              </a:sysClr>
            </a:solidFill>
            <a:prstDash val="solid"/>
            <a:miter lim="800000"/>
          </a:ln>
          <a:effectLst>
            <a:outerShdw blurRad="50800" dist="25400" dir="10800000" algn="r"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33" name="TextBox 32">
            <a:extLst>
              <a:ext uri="{FF2B5EF4-FFF2-40B4-BE49-F238E27FC236}">
                <a16:creationId xmlns:a16="http://schemas.microsoft.com/office/drawing/2014/main" xmlns="" id="{2B9EBA14-1E11-471E-ACAC-F2C273283A53}"/>
              </a:ext>
            </a:extLst>
          </p:cNvPr>
          <p:cNvSpPr txBox="1"/>
          <p:nvPr/>
        </p:nvSpPr>
        <p:spPr>
          <a:xfrm>
            <a:off x="4398318" y="3752578"/>
            <a:ext cx="38128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Commercial sustainability</a:t>
            </a:r>
          </a:p>
        </p:txBody>
      </p:sp>
      <p:sp>
        <p:nvSpPr>
          <p:cNvPr id="34" name="Rectangle 33">
            <a:extLst>
              <a:ext uri="{FF2B5EF4-FFF2-40B4-BE49-F238E27FC236}">
                <a16:creationId xmlns:a16="http://schemas.microsoft.com/office/drawing/2014/main" xmlns="" id="{B4F1939F-D6A8-4FC9-8078-C5795F7D1C66}"/>
              </a:ext>
            </a:extLst>
          </p:cNvPr>
          <p:cNvSpPr/>
          <p:nvPr/>
        </p:nvSpPr>
        <p:spPr>
          <a:xfrm rot="16200000">
            <a:off x="6069678" y="2555976"/>
            <a:ext cx="458788" cy="3858444"/>
          </a:xfrm>
          <a:prstGeom prst="rect">
            <a:avLst/>
          </a:prstGeom>
          <a:solidFill>
            <a:sysClr val="window" lastClr="FFFFFF"/>
          </a:solidFill>
          <a:ln w="6350" cap="flat" cmpd="sng" algn="ctr">
            <a:solidFill>
              <a:sysClr val="window" lastClr="FFFFFF">
                <a:lumMod val="65000"/>
              </a:sysClr>
            </a:solidFill>
            <a:prstDash val="solid"/>
            <a:miter lim="800000"/>
          </a:ln>
          <a:effectLst>
            <a:outerShdw blurRad="50800" dist="25400" dir="10800000" algn="r"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44" name="TextBox 43">
            <a:extLst>
              <a:ext uri="{FF2B5EF4-FFF2-40B4-BE49-F238E27FC236}">
                <a16:creationId xmlns:a16="http://schemas.microsoft.com/office/drawing/2014/main" xmlns="" id="{2B9EBA14-1E11-471E-ACAC-F2C273283A53}"/>
              </a:ext>
            </a:extLst>
          </p:cNvPr>
          <p:cNvSpPr txBox="1"/>
          <p:nvPr/>
        </p:nvSpPr>
        <p:spPr>
          <a:xfrm>
            <a:off x="4390003" y="4326160"/>
            <a:ext cx="38128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trategy &amp; Long-Term Growth</a:t>
            </a:r>
          </a:p>
        </p:txBody>
      </p:sp>
      <p:sp>
        <p:nvSpPr>
          <p:cNvPr id="49" name="Rectangle 48">
            <a:extLst>
              <a:ext uri="{FF2B5EF4-FFF2-40B4-BE49-F238E27FC236}">
                <a16:creationId xmlns:a16="http://schemas.microsoft.com/office/drawing/2014/main" xmlns="" id="{B4F1939F-D6A8-4FC9-8078-C5795F7D1C66}"/>
              </a:ext>
            </a:extLst>
          </p:cNvPr>
          <p:cNvSpPr/>
          <p:nvPr/>
        </p:nvSpPr>
        <p:spPr>
          <a:xfrm rot="16200000">
            <a:off x="6061367" y="3112928"/>
            <a:ext cx="458788" cy="3858444"/>
          </a:xfrm>
          <a:prstGeom prst="rect">
            <a:avLst/>
          </a:prstGeom>
          <a:solidFill>
            <a:sysClr val="window" lastClr="FFFFFF"/>
          </a:solidFill>
          <a:ln w="6350" cap="flat" cmpd="sng" algn="ctr">
            <a:solidFill>
              <a:sysClr val="window" lastClr="FFFFFF">
                <a:lumMod val="65000"/>
              </a:sysClr>
            </a:solidFill>
            <a:prstDash val="solid"/>
            <a:miter lim="800000"/>
          </a:ln>
          <a:effectLst>
            <a:outerShdw blurRad="50800" dist="25400" dir="10800000" algn="r"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0" name="TextBox 49">
            <a:extLst>
              <a:ext uri="{FF2B5EF4-FFF2-40B4-BE49-F238E27FC236}">
                <a16:creationId xmlns:a16="http://schemas.microsoft.com/office/drawing/2014/main" xmlns="" id="{2B9EBA14-1E11-471E-ACAC-F2C273283A53}"/>
              </a:ext>
            </a:extLst>
          </p:cNvPr>
          <p:cNvSpPr txBox="1"/>
          <p:nvPr/>
        </p:nvSpPr>
        <p:spPr>
          <a:xfrm>
            <a:off x="4381692" y="4883112"/>
            <a:ext cx="38128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Operational Efficiency </a:t>
            </a:r>
          </a:p>
        </p:txBody>
      </p:sp>
      <p:sp>
        <p:nvSpPr>
          <p:cNvPr id="52" name="Rectangle 51">
            <a:extLst>
              <a:ext uri="{FF2B5EF4-FFF2-40B4-BE49-F238E27FC236}">
                <a16:creationId xmlns:a16="http://schemas.microsoft.com/office/drawing/2014/main" xmlns="" id="{B4F1939F-D6A8-4FC9-8078-C5795F7D1C66}"/>
              </a:ext>
            </a:extLst>
          </p:cNvPr>
          <p:cNvSpPr/>
          <p:nvPr/>
        </p:nvSpPr>
        <p:spPr>
          <a:xfrm rot="16200000">
            <a:off x="5912375" y="3854893"/>
            <a:ext cx="751231" cy="3858444"/>
          </a:xfrm>
          <a:prstGeom prst="rect">
            <a:avLst/>
          </a:prstGeom>
          <a:solidFill>
            <a:sysClr val="window" lastClr="FFFFFF"/>
          </a:solidFill>
          <a:ln w="6350" cap="flat" cmpd="sng" algn="ctr">
            <a:solidFill>
              <a:sysClr val="window" lastClr="FFFFFF">
                <a:lumMod val="65000"/>
              </a:sysClr>
            </a:solidFill>
            <a:prstDash val="solid"/>
            <a:miter lim="800000"/>
          </a:ln>
          <a:effectLst>
            <a:outerShdw blurRad="50800" dist="25400" dir="10800000" algn="r" rotWithShape="0">
              <a:prstClr val="black">
                <a:alpha val="1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4" name="TextBox 53">
            <a:extLst>
              <a:ext uri="{FF2B5EF4-FFF2-40B4-BE49-F238E27FC236}">
                <a16:creationId xmlns:a16="http://schemas.microsoft.com/office/drawing/2014/main" xmlns="" id="{2B9EBA14-1E11-471E-ACAC-F2C273283A53}"/>
              </a:ext>
            </a:extLst>
          </p:cNvPr>
          <p:cNvSpPr txBox="1"/>
          <p:nvPr/>
        </p:nvSpPr>
        <p:spPr>
          <a:xfrm>
            <a:off x="4378922" y="5478856"/>
            <a:ext cx="381288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Human Capital &amp; </a:t>
            </a:r>
            <a:br>
              <a:rPr kumimoji="0" lang="en-US" sz="1600" b="1" i="0"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br>
            <a:r>
              <a:rPr kumimoji="0" lang="en-US" sz="1600" b="1" i="0"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Organisational Alignment</a:t>
            </a:r>
          </a:p>
        </p:txBody>
      </p:sp>
      <p:sp>
        <p:nvSpPr>
          <p:cNvPr id="3" name="TextBox 2"/>
          <p:cNvSpPr txBox="1"/>
          <p:nvPr/>
        </p:nvSpPr>
        <p:spPr>
          <a:xfrm rot="16200000">
            <a:off x="-675029" y="1609568"/>
            <a:ext cx="1673225" cy="32316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Underpinned by</a:t>
            </a:r>
            <a:endParaRPr kumimoji="0" lang="en-ZA" sz="15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xmlns="" id="{54DC9AA0-0058-484B-88FF-D6A7834C1FF9}"/>
              </a:ext>
            </a:extLst>
          </p:cNvPr>
          <p:cNvSpPr txBox="1"/>
          <p:nvPr/>
        </p:nvSpPr>
        <p:spPr>
          <a:xfrm>
            <a:off x="230006" y="2747710"/>
            <a:ext cx="413984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1" i="1" u="none" strike="noStrike" kern="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Response to internal &amp; external forces</a:t>
            </a:r>
          </a:p>
        </p:txBody>
      </p:sp>
      <p:sp>
        <p:nvSpPr>
          <p:cNvPr id="6" name="TextBox 5"/>
          <p:cNvSpPr txBox="1"/>
          <p:nvPr/>
        </p:nvSpPr>
        <p:spPr>
          <a:xfrm>
            <a:off x="230006" y="6383708"/>
            <a:ext cx="11199994"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61B2"/>
                </a:solidFill>
                <a:effectLst/>
                <a:uLnTx/>
                <a:uFillTx/>
                <a:latin typeface="Arial" charset="0"/>
                <a:ea typeface="+mn-ea"/>
                <a:cs typeface="+mn-cs"/>
              </a:rPr>
              <a:t>The Plan was compiled against a backdrop of the </a:t>
            </a:r>
            <a:r>
              <a:rPr kumimoji="0" lang="en-US" sz="1600" b="1" i="1" u="none" strike="noStrike" kern="1200" cap="none" spc="0" normalizeH="0" baseline="0" noProof="0" dirty="0">
                <a:ln>
                  <a:noFill/>
                </a:ln>
                <a:solidFill>
                  <a:srgbClr val="C00000"/>
                </a:solidFill>
                <a:effectLst/>
                <a:uLnTx/>
                <a:uFillTx/>
                <a:latin typeface="Arial" charset="0"/>
                <a:ea typeface="+mn-ea"/>
                <a:cs typeface="+mn-cs"/>
              </a:rPr>
              <a:t>planned merger </a:t>
            </a:r>
            <a:r>
              <a:rPr kumimoji="0" lang="en-US" sz="1600" b="1" i="0" u="none" strike="noStrike" kern="1200" cap="none" spc="0" normalizeH="0" baseline="0" noProof="0" dirty="0">
                <a:ln>
                  <a:noFill/>
                </a:ln>
                <a:solidFill>
                  <a:srgbClr val="0061B2"/>
                </a:solidFill>
                <a:effectLst/>
                <a:uLnTx/>
                <a:uFillTx/>
                <a:latin typeface="Arial" charset="0"/>
                <a:ea typeface="+mn-ea"/>
                <a:cs typeface="+mn-cs"/>
              </a:rPr>
              <a:t>of IGAS, SFF and PetroSA</a:t>
            </a:r>
            <a:endParaRPr kumimoji="0" lang="en-ZA" sz="1600" b="1" i="0" u="none" strike="noStrike" kern="1200" cap="none" spc="0" normalizeH="0" baseline="0" noProof="0" dirty="0">
              <a:ln>
                <a:noFill/>
              </a:ln>
              <a:solidFill>
                <a:srgbClr val="0061B2"/>
              </a:solidFill>
              <a:effectLst/>
              <a:uLnTx/>
              <a:uFillTx/>
              <a:latin typeface="Arial" charset="0"/>
              <a:ea typeface="+mn-ea"/>
              <a:cs typeface="+mn-cs"/>
            </a:endParaRPr>
          </a:p>
        </p:txBody>
      </p:sp>
    </p:spTree>
    <p:extLst>
      <p:ext uri="{BB962C8B-B14F-4D97-AF65-F5344CB8AC3E}">
        <p14:creationId xmlns:p14="http://schemas.microsoft.com/office/powerpoint/2010/main" xmlns="" val="3669476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pc="-15" dirty="0">
                <a:solidFill>
                  <a:srgbClr val="0060B1"/>
                </a:solidFill>
                <a:latin typeface="Century Gothic"/>
                <a:cs typeface="Century Gothic"/>
              </a:rPr>
              <a:t>Macro-economic assumptions</a:t>
            </a:r>
            <a:endParaRPr lang="en-ZA" dirty="0"/>
          </a:p>
        </p:txBody>
      </p:sp>
      <p:sp>
        <p:nvSpPr>
          <p:cNvPr id="5" name="Slide Number Placeholder 4"/>
          <p:cNvSpPr>
            <a:spLocks noGrp="1"/>
          </p:cNvSpPr>
          <p:nvPr>
            <p:ph type="sldNum" sz="quarter" idx="4"/>
          </p:nvPr>
        </p:nvSpPr>
        <p:spPr/>
        <p:txBody>
          <a:bodyPr/>
          <a:lstStyle/>
          <a:p>
            <a:fld id="{F667033A-4247-4ED4-8A21-2B1E2D674746}" type="slidenum">
              <a:rPr lang="en-ZA" smtClean="0"/>
              <a:pPr/>
              <a:t>11</a:t>
            </a:fld>
            <a:endParaRPr lang="en-ZA" dirty="0"/>
          </a:p>
        </p:txBody>
      </p:sp>
      <p:sp>
        <p:nvSpPr>
          <p:cNvPr id="7" name="TextBox 6"/>
          <p:cNvSpPr txBox="1"/>
          <p:nvPr/>
        </p:nvSpPr>
        <p:spPr>
          <a:xfrm>
            <a:off x="528506" y="5696125"/>
            <a:ext cx="10905688" cy="1015663"/>
          </a:xfrm>
          <a:prstGeom prst="rect">
            <a:avLst/>
          </a:prstGeom>
          <a:noFill/>
        </p:spPr>
        <p:txBody>
          <a:bodyPr wrap="square" rtlCol="0">
            <a:spAutoFit/>
          </a:bodyPr>
          <a:lstStyle/>
          <a:p>
            <a:pPr algn="ctr"/>
            <a:r>
              <a:rPr lang="en-US" b="1" dirty="0">
                <a:solidFill>
                  <a:schemeClr val="accent1"/>
                </a:solidFill>
              </a:rPr>
              <a:t>Global impacts such as </a:t>
            </a:r>
            <a:r>
              <a:rPr lang="en-US" b="1" i="1" dirty="0">
                <a:solidFill>
                  <a:srgbClr val="C00000"/>
                </a:solidFill>
              </a:rPr>
              <a:t>Covid 19, prices of commodities, the withdrawal of the US troops from Afghanistan, and some local impacts such as lockdowns </a:t>
            </a:r>
            <a:r>
              <a:rPr lang="en-US" b="1" dirty="0">
                <a:solidFill>
                  <a:schemeClr val="accent1"/>
                </a:solidFill>
              </a:rPr>
              <a:t>will keep key macroeconomic planning assumptions in a state of flux.</a:t>
            </a:r>
            <a:endParaRPr lang="en-ZA" b="1" dirty="0">
              <a:solidFill>
                <a:schemeClr val="accent1"/>
              </a:solidFill>
            </a:endParaRPr>
          </a:p>
        </p:txBody>
      </p:sp>
      <p:graphicFrame>
        <p:nvGraphicFramePr>
          <p:cNvPr id="3" name="Table 2">
            <a:extLst>
              <a:ext uri="{FF2B5EF4-FFF2-40B4-BE49-F238E27FC236}">
                <a16:creationId xmlns:a16="http://schemas.microsoft.com/office/drawing/2014/main" xmlns="" id="{8C59F078-A8D5-4B7D-A5AB-B345C219C82C}"/>
              </a:ext>
            </a:extLst>
          </p:cNvPr>
          <p:cNvGraphicFramePr>
            <a:graphicFrameLocks noGrp="1"/>
          </p:cNvGraphicFramePr>
          <p:nvPr>
            <p:extLst>
              <p:ext uri="{D42A27DB-BD31-4B8C-83A1-F6EECF244321}">
                <p14:modId xmlns:p14="http://schemas.microsoft.com/office/powerpoint/2010/main" xmlns="" val="4159660812"/>
              </p:ext>
            </p:extLst>
          </p:nvPr>
        </p:nvGraphicFramePr>
        <p:xfrm>
          <a:off x="428711" y="1254135"/>
          <a:ext cx="10982331" cy="3716874"/>
        </p:xfrm>
        <a:graphic>
          <a:graphicData uri="http://schemas.openxmlformats.org/drawingml/2006/table">
            <a:tbl>
              <a:tblPr firstRow="1" firstCol="1" bandRow="1"/>
              <a:tblGrid>
                <a:gridCol w="4474283">
                  <a:extLst>
                    <a:ext uri="{9D8B030D-6E8A-4147-A177-3AD203B41FA5}">
                      <a16:colId xmlns:a16="http://schemas.microsoft.com/office/drawing/2014/main" xmlns="" val="1222165351"/>
                    </a:ext>
                  </a:extLst>
                </a:gridCol>
                <a:gridCol w="1627012">
                  <a:extLst>
                    <a:ext uri="{9D8B030D-6E8A-4147-A177-3AD203B41FA5}">
                      <a16:colId xmlns:a16="http://schemas.microsoft.com/office/drawing/2014/main" xmlns="" val="1553586292"/>
                    </a:ext>
                  </a:extLst>
                </a:gridCol>
                <a:gridCol w="1627012">
                  <a:extLst>
                    <a:ext uri="{9D8B030D-6E8A-4147-A177-3AD203B41FA5}">
                      <a16:colId xmlns:a16="http://schemas.microsoft.com/office/drawing/2014/main" xmlns="" val="1471070798"/>
                    </a:ext>
                  </a:extLst>
                </a:gridCol>
                <a:gridCol w="1627012">
                  <a:extLst>
                    <a:ext uri="{9D8B030D-6E8A-4147-A177-3AD203B41FA5}">
                      <a16:colId xmlns:a16="http://schemas.microsoft.com/office/drawing/2014/main" xmlns="" val="2165118461"/>
                    </a:ext>
                  </a:extLst>
                </a:gridCol>
                <a:gridCol w="1627012">
                  <a:extLst>
                    <a:ext uri="{9D8B030D-6E8A-4147-A177-3AD203B41FA5}">
                      <a16:colId xmlns:a16="http://schemas.microsoft.com/office/drawing/2014/main" xmlns="" val="1293155794"/>
                    </a:ext>
                  </a:extLst>
                </a:gridCol>
              </a:tblGrid>
              <a:tr h="616688">
                <a:tc>
                  <a:txBody>
                    <a:bodyPr/>
                    <a:lstStyle/>
                    <a:p>
                      <a:pPr>
                        <a:lnSpc>
                          <a:spcPct val="105000"/>
                        </a:lnSpc>
                        <a:spcAft>
                          <a:spcPts val="800"/>
                        </a:spcAft>
                      </a:pPr>
                      <a:r>
                        <a:rPr lang="en-ZA" sz="2000" b="1" dirty="0">
                          <a:solidFill>
                            <a:srgbClr val="FFCC99"/>
                          </a:solidFill>
                          <a:effectLst/>
                          <a:latin typeface="Arial" panose="020B0604020202020204" pitchFamily="34" charset="0"/>
                          <a:ea typeface="Calibri" panose="020F0502020204030204" pitchFamily="34" charset="0"/>
                        </a:rPr>
                        <a:t>Macro-economic variable</a:t>
                      </a:r>
                      <a:endParaRPr lang="en-ZA" sz="2000" b="1"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a:noFill/>
                    </a:lnB>
                    <a:solidFill>
                      <a:srgbClr val="002D71"/>
                    </a:solidFill>
                  </a:tcPr>
                </a:tc>
                <a:tc rowSpan="2">
                  <a:txBody>
                    <a:bodyPr/>
                    <a:lstStyle/>
                    <a:p>
                      <a:pPr algn="ctr">
                        <a:lnSpc>
                          <a:spcPct val="105000"/>
                        </a:lnSpc>
                        <a:spcAft>
                          <a:spcPts val="800"/>
                        </a:spcAft>
                      </a:pPr>
                      <a:r>
                        <a:rPr lang="en-ZA" sz="2000" b="1" dirty="0">
                          <a:solidFill>
                            <a:srgbClr val="FFCC99"/>
                          </a:solidFill>
                          <a:effectLst/>
                          <a:latin typeface="Arial" panose="020B0604020202020204" pitchFamily="34" charset="0"/>
                          <a:ea typeface="Calibri" panose="020F0502020204030204" pitchFamily="34" charset="0"/>
                        </a:rPr>
                        <a:t>Actual 2020</a:t>
                      </a:r>
                      <a:endParaRPr lang="en-ZA" sz="2000" b="1"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2D71"/>
                    </a:solidFill>
                  </a:tcPr>
                </a:tc>
                <a:tc rowSpan="2">
                  <a:txBody>
                    <a:bodyPr/>
                    <a:lstStyle/>
                    <a:p>
                      <a:pPr algn="ctr">
                        <a:lnSpc>
                          <a:spcPct val="105000"/>
                        </a:lnSpc>
                        <a:spcAft>
                          <a:spcPts val="800"/>
                        </a:spcAft>
                      </a:pPr>
                      <a:r>
                        <a:rPr lang="en-ZA" sz="2000" b="1" dirty="0">
                          <a:solidFill>
                            <a:srgbClr val="FFCC99"/>
                          </a:solidFill>
                          <a:effectLst/>
                          <a:latin typeface="Arial" panose="020B0604020202020204" pitchFamily="34" charset="0"/>
                          <a:ea typeface="Calibri" panose="020F0502020204030204" pitchFamily="34" charset="0"/>
                        </a:rPr>
                        <a:t>Forecast 2021</a:t>
                      </a:r>
                      <a:endParaRPr lang="en-ZA" sz="2000" b="1"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2D71"/>
                    </a:solidFill>
                  </a:tcPr>
                </a:tc>
                <a:tc rowSpan="2">
                  <a:txBody>
                    <a:bodyPr/>
                    <a:lstStyle/>
                    <a:p>
                      <a:pPr algn="ctr">
                        <a:lnSpc>
                          <a:spcPct val="105000"/>
                        </a:lnSpc>
                        <a:spcAft>
                          <a:spcPts val="800"/>
                        </a:spcAft>
                      </a:pPr>
                      <a:r>
                        <a:rPr lang="en-ZA" sz="2000" b="1" dirty="0">
                          <a:solidFill>
                            <a:srgbClr val="FFCC99"/>
                          </a:solidFill>
                          <a:effectLst/>
                          <a:latin typeface="Arial" panose="020B0604020202020204" pitchFamily="34" charset="0"/>
                          <a:ea typeface="Calibri" panose="020F0502020204030204" pitchFamily="34" charset="0"/>
                        </a:rPr>
                        <a:t>Forecast 2022</a:t>
                      </a:r>
                      <a:endParaRPr lang="en-ZA" sz="2000" b="1"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2D71"/>
                    </a:solidFill>
                  </a:tcPr>
                </a:tc>
                <a:tc rowSpan="2">
                  <a:txBody>
                    <a:bodyPr/>
                    <a:lstStyle/>
                    <a:p>
                      <a:pPr algn="ctr">
                        <a:lnSpc>
                          <a:spcPct val="105000"/>
                        </a:lnSpc>
                        <a:spcAft>
                          <a:spcPts val="800"/>
                        </a:spcAft>
                      </a:pPr>
                      <a:r>
                        <a:rPr lang="en-ZA" sz="2000" b="1" dirty="0">
                          <a:solidFill>
                            <a:srgbClr val="FFCC99"/>
                          </a:solidFill>
                          <a:effectLst/>
                          <a:latin typeface="Arial" panose="020B0604020202020204" pitchFamily="34" charset="0"/>
                          <a:ea typeface="Calibri" panose="020F0502020204030204" pitchFamily="34" charset="0"/>
                        </a:rPr>
                        <a:t>Forecast 2023</a:t>
                      </a:r>
                      <a:endParaRPr lang="en-ZA" sz="2000" b="1"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002D71"/>
                    </a:solidFill>
                  </a:tcPr>
                </a:tc>
                <a:extLst>
                  <a:ext uri="{0D108BD9-81ED-4DB2-BD59-A6C34878D82A}">
                    <a16:rowId xmlns:a16="http://schemas.microsoft.com/office/drawing/2014/main" xmlns="" val="1351327523"/>
                  </a:ext>
                </a:extLst>
              </a:tr>
              <a:tr h="391886">
                <a:tc>
                  <a:txBody>
                    <a:bodyPr/>
                    <a:lstStyle/>
                    <a:p>
                      <a:pPr>
                        <a:lnSpc>
                          <a:spcPct val="105000"/>
                        </a:lnSpc>
                        <a:spcAft>
                          <a:spcPts val="800"/>
                        </a:spcAft>
                      </a:pPr>
                      <a:r>
                        <a:rPr lang="en-ZA" sz="2000" b="1" dirty="0">
                          <a:solidFill>
                            <a:srgbClr val="FFCC99"/>
                          </a:solidFill>
                          <a:effectLst/>
                          <a:latin typeface="Arial" panose="020B0604020202020204" pitchFamily="34" charset="0"/>
                          <a:ea typeface="Calibri" panose="020F0502020204030204" pitchFamily="34" charset="0"/>
                        </a:rPr>
                        <a:t>(average per annum)</a:t>
                      </a:r>
                      <a:endParaRPr lang="en-ZA" sz="2000" b="1"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solidFill>
                      <a:srgbClr val="002D71"/>
                    </a:solidFill>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3129135627"/>
                  </a:ext>
                </a:extLst>
              </a:tr>
              <a:tr h="386900">
                <a:tc>
                  <a:txBody>
                    <a:bodyPr/>
                    <a:lstStyle/>
                    <a:p>
                      <a:pPr algn="just">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Money Market NACM rate</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4.36</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3.5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3.93</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4.42</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3043475936"/>
                  </a:ext>
                </a:extLst>
              </a:tr>
              <a:tr h="386900">
                <a:tc>
                  <a:txBody>
                    <a:bodyPr/>
                    <a:lstStyle/>
                    <a:p>
                      <a:pPr algn="just">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Prime rate</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7.86</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7.0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7.43</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7.92</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3876741904"/>
                  </a:ext>
                </a:extLst>
              </a:tr>
              <a:tr h="386900">
                <a:tc>
                  <a:txBody>
                    <a:bodyPr/>
                    <a:lstStyle/>
                    <a:p>
                      <a:pPr algn="just">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Inflation-CPI</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3.3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4.4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4.5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4.5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828243043"/>
                  </a:ext>
                </a:extLst>
              </a:tr>
              <a:tr h="386900">
                <a:tc>
                  <a:txBody>
                    <a:bodyPr/>
                    <a:lstStyle/>
                    <a:p>
                      <a:pPr algn="just">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R/$</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16.46</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14.62</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15.34</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15.9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719899758"/>
                  </a:ext>
                </a:extLst>
              </a:tr>
              <a:tr h="386900">
                <a:tc>
                  <a:txBody>
                    <a:bodyPr/>
                    <a:lstStyle/>
                    <a:p>
                      <a:pPr algn="just">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R/€ average*</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21.09</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20.23</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21.17</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22.0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2199014735"/>
                  </a:ext>
                </a:extLst>
              </a:tr>
              <a:tr h="386900">
                <a:tc>
                  <a:txBody>
                    <a:bodyPr/>
                    <a:lstStyle/>
                    <a:p>
                      <a:pPr algn="just">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Oil price: US$/barrel</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43.4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69.1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70.0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66.4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319441599"/>
                  </a:ext>
                </a:extLst>
              </a:tr>
              <a:tr h="386900">
                <a:tc>
                  <a:txBody>
                    <a:bodyPr/>
                    <a:lstStyle/>
                    <a:p>
                      <a:pPr algn="just">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Real GDP</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6.4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5.0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2.5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a:lnSpc>
                          <a:spcPct val="105000"/>
                        </a:lnSpc>
                        <a:spcAft>
                          <a:spcPts val="800"/>
                        </a:spcAft>
                      </a:pPr>
                      <a:r>
                        <a:rPr lang="en-ZA" sz="2000" dirty="0">
                          <a:solidFill>
                            <a:srgbClr val="000000"/>
                          </a:solidFill>
                          <a:effectLst/>
                          <a:latin typeface="Arial" panose="020B0604020202020204" pitchFamily="34" charset="0"/>
                          <a:ea typeface="Calibri" panose="020F0502020204030204" pitchFamily="34" charset="0"/>
                        </a:rPr>
                        <a:t>2.00</a:t>
                      </a:r>
                      <a:endParaRPr lang="en-ZA" sz="20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xmlns="" val="2998583375"/>
                  </a:ext>
                </a:extLst>
              </a:tr>
            </a:tbl>
          </a:graphicData>
        </a:graphic>
      </p:graphicFrame>
    </p:spTree>
    <p:extLst>
      <p:ext uri="{BB962C8B-B14F-4D97-AF65-F5344CB8AC3E}">
        <p14:creationId xmlns:p14="http://schemas.microsoft.com/office/powerpoint/2010/main" xmlns="" val="23719824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4" name="Oval 44">
            <a:extLst>
              <a:ext uri="{FF2B5EF4-FFF2-40B4-BE49-F238E27FC236}">
                <a16:creationId xmlns:a16="http://schemas.microsoft.com/office/drawing/2014/main" xmlns="" id="{FA11D4E8-09B3-544A-8836-6E6D366B2AA4}"/>
              </a:ext>
            </a:extLst>
          </p:cNvPr>
          <p:cNvSpPr>
            <a:spLocks noChangeArrowheads="1"/>
          </p:cNvSpPr>
          <p:nvPr/>
        </p:nvSpPr>
        <p:spPr bwMode="gray">
          <a:xfrm>
            <a:off x="3682320" y="794493"/>
            <a:ext cx="4320000" cy="2468676"/>
          </a:xfrm>
          <a:prstGeom prst="roundRect">
            <a:avLst>
              <a:gd name="adj" fmla="val 4468"/>
            </a:avLst>
          </a:prstGeom>
          <a:noFill/>
          <a:ln w="6350" cmpd="sng">
            <a:solidFill>
              <a:srgbClr val="1F497D"/>
            </a:solidFill>
            <a:prstDash val="dash"/>
            <a:round/>
            <a:headEnd/>
            <a:tailEnd/>
          </a:ln>
          <a:effectLst/>
        </p:spPr>
        <p:txBody>
          <a:bodyPr wrap="none" lIns="0" tIns="0" rIns="0" bIns="0" anchor="t"/>
          <a:lstStyle/>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1F497D"/>
              </a:solidFill>
              <a:effectLst/>
              <a:uLnTx/>
              <a:uFillTx/>
              <a:latin typeface="Calibri" panose="020F0502020204030204"/>
              <a:ea typeface="+mn-ea"/>
              <a:cs typeface="+mn-cs"/>
            </a:endParaRPr>
          </a:p>
        </p:txBody>
      </p:sp>
      <p:sp>
        <p:nvSpPr>
          <p:cNvPr id="5" name="Oval 44">
            <a:extLst>
              <a:ext uri="{FF2B5EF4-FFF2-40B4-BE49-F238E27FC236}">
                <a16:creationId xmlns:a16="http://schemas.microsoft.com/office/drawing/2014/main" xmlns="" id="{5C04694C-1CBE-E24E-A64F-FF24DCE4E42F}"/>
              </a:ext>
            </a:extLst>
          </p:cNvPr>
          <p:cNvSpPr>
            <a:spLocks noChangeArrowheads="1"/>
          </p:cNvSpPr>
          <p:nvPr/>
        </p:nvSpPr>
        <p:spPr bwMode="gray">
          <a:xfrm rot="16200000">
            <a:off x="1996531" y="2001221"/>
            <a:ext cx="2034684" cy="318228"/>
          </a:xfrm>
          <a:prstGeom prst="roundRect">
            <a:avLst>
              <a:gd name="adj" fmla="val 0"/>
            </a:avLst>
          </a:prstGeom>
          <a:solidFill>
            <a:srgbClr val="C00000"/>
          </a:solidFill>
          <a:ln w="6350" cmpd="sng">
            <a:noFill/>
            <a:round/>
            <a:headEnd/>
            <a:tailEnd/>
          </a:ln>
          <a:effectLst/>
        </p:spPr>
        <p:txBody>
          <a:bodyPr wrap="squar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rPr>
              <a:t>STRATEGIC  OUTPUTS</a:t>
            </a:r>
          </a:p>
        </p:txBody>
      </p:sp>
      <p:sp>
        <p:nvSpPr>
          <p:cNvPr id="6" name="Oval 44">
            <a:extLst>
              <a:ext uri="{FF2B5EF4-FFF2-40B4-BE49-F238E27FC236}">
                <a16:creationId xmlns:a16="http://schemas.microsoft.com/office/drawing/2014/main" xmlns="" id="{E872E998-50B5-E84C-A7A6-2F9127674A2D}"/>
              </a:ext>
            </a:extLst>
          </p:cNvPr>
          <p:cNvSpPr>
            <a:spLocks noChangeArrowheads="1"/>
          </p:cNvSpPr>
          <p:nvPr/>
        </p:nvSpPr>
        <p:spPr bwMode="gray">
          <a:xfrm rot="16200000">
            <a:off x="1373357" y="4845390"/>
            <a:ext cx="3281032" cy="318228"/>
          </a:xfrm>
          <a:prstGeom prst="roundRect">
            <a:avLst>
              <a:gd name="adj" fmla="val 0"/>
            </a:avLst>
          </a:prstGeom>
          <a:solidFill>
            <a:srgbClr val="C00000"/>
          </a:solidFill>
          <a:ln w="6350" cmpd="sng">
            <a:noFill/>
            <a:round/>
            <a:headEnd/>
            <a:tailEnd/>
          </a:ln>
          <a:effectLst/>
        </p:spPr>
        <p:txBody>
          <a:bodyPr wrap="squar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rPr>
              <a:t>STRATEGIC  INPUTS</a:t>
            </a:r>
          </a:p>
        </p:txBody>
      </p:sp>
      <p:sp>
        <p:nvSpPr>
          <p:cNvPr id="7" name="Oval 44">
            <a:extLst>
              <a:ext uri="{FF2B5EF4-FFF2-40B4-BE49-F238E27FC236}">
                <a16:creationId xmlns:a16="http://schemas.microsoft.com/office/drawing/2014/main" xmlns="" id="{3F36A79E-AE84-0644-B5DC-5B4AB5E3199B}"/>
              </a:ext>
            </a:extLst>
          </p:cNvPr>
          <p:cNvSpPr>
            <a:spLocks noChangeArrowheads="1"/>
          </p:cNvSpPr>
          <p:nvPr/>
        </p:nvSpPr>
        <p:spPr bwMode="gray">
          <a:xfrm>
            <a:off x="3620118" y="769516"/>
            <a:ext cx="4320000" cy="318228"/>
          </a:xfrm>
          <a:prstGeom prst="roundRect">
            <a:avLst>
              <a:gd name="adj" fmla="val 0"/>
            </a:avLst>
          </a:prstGeom>
          <a:solidFill>
            <a:srgbClr val="1F497D"/>
          </a:solidFill>
          <a:ln w="6350" cmpd="sng">
            <a:noFill/>
            <a:round/>
            <a:headEnd/>
            <a:tailEnd/>
          </a:ln>
          <a:effectLst/>
        </p:spPr>
        <p:txBody>
          <a:bodyPr wrap="squar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ECONOMIC MANDATE</a:t>
            </a:r>
          </a:p>
        </p:txBody>
      </p:sp>
      <p:sp>
        <p:nvSpPr>
          <p:cNvPr id="8" name="Oval 44">
            <a:extLst>
              <a:ext uri="{FF2B5EF4-FFF2-40B4-BE49-F238E27FC236}">
                <a16:creationId xmlns:a16="http://schemas.microsoft.com/office/drawing/2014/main" xmlns="" id="{8D9D03D3-E7E3-1344-90A0-7C869927294E}"/>
              </a:ext>
            </a:extLst>
          </p:cNvPr>
          <p:cNvSpPr>
            <a:spLocks noChangeArrowheads="1"/>
          </p:cNvSpPr>
          <p:nvPr/>
        </p:nvSpPr>
        <p:spPr bwMode="gray">
          <a:xfrm>
            <a:off x="8125299" y="771290"/>
            <a:ext cx="4320000" cy="305598"/>
          </a:xfrm>
          <a:prstGeom prst="roundRect">
            <a:avLst>
              <a:gd name="adj" fmla="val 0"/>
            </a:avLst>
          </a:prstGeom>
          <a:solidFill>
            <a:srgbClr val="1F497D"/>
          </a:solidFill>
          <a:ln w="6350" cmpd="sng">
            <a:noFill/>
            <a:round/>
            <a:headEnd/>
            <a:tailEnd/>
          </a:ln>
          <a:effectLst/>
        </p:spPr>
        <p:txBody>
          <a:bodyPr wrap="squar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SOCIAL MANDATE</a:t>
            </a:r>
          </a:p>
        </p:txBody>
      </p:sp>
      <p:sp>
        <p:nvSpPr>
          <p:cNvPr id="9" name="Oval 44">
            <a:extLst>
              <a:ext uri="{FF2B5EF4-FFF2-40B4-BE49-F238E27FC236}">
                <a16:creationId xmlns:a16="http://schemas.microsoft.com/office/drawing/2014/main" xmlns="" id="{36FB7E5A-B883-EA48-9060-A364B68C4AC3}"/>
              </a:ext>
            </a:extLst>
          </p:cNvPr>
          <p:cNvSpPr>
            <a:spLocks noChangeArrowheads="1"/>
          </p:cNvSpPr>
          <p:nvPr/>
        </p:nvSpPr>
        <p:spPr bwMode="gray">
          <a:xfrm>
            <a:off x="8113131" y="794661"/>
            <a:ext cx="4320000" cy="2468676"/>
          </a:xfrm>
          <a:prstGeom prst="roundRect">
            <a:avLst>
              <a:gd name="adj" fmla="val 4468"/>
            </a:avLst>
          </a:prstGeom>
          <a:noFill/>
          <a:ln w="6350" cmpd="sng">
            <a:solidFill>
              <a:srgbClr val="1F497D"/>
            </a:solidFill>
            <a:prstDash val="dash"/>
            <a:round/>
            <a:headEnd/>
            <a:tailEnd/>
          </a:ln>
          <a:effectLst/>
        </p:spPr>
        <p:txBody>
          <a:bodyPr wrap="none" lIns="0" tIns="0" rIns="0" bIns="0" anchor="t"/>
          <a:lstStyle/>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1F497D"/>
              </a:solidFill>
              <a:effectLst/>
              <a:uLnTx/>
              <a:uFillTx/>
              <a:latin typeface="Calibri" panose="020F0502020204030204"/>
              <a:ea typeface="+mn-ea"/>
              <a:cs typeface="+mn-cs"/>
            </a:endParaRPr>
          </a:p>
        </p:txBody>
      </p:sp>
      <p:sp>
        <p:nvSpPr>
          <p:cNvPr id="10" name="Oval 44">
            <a:extLst>
              <a:ext uri="{FF2B5EF4-FFF2-40B4-BE49-F238E27FC236}">
                <a16:creationId xmlns:a16="http://schemas.microsoft.com/office/drawing/2014/main" xmlns="" id="{6A77CD11-7261-664D-A2DE-F36DB685376F}"/>
              </a:ext>
            </a:extLst>
          </p:cNvPr>
          <p:cNvSpPr>
            <a:spLocks noChangeArrowheads="1"/>
          </p:cNvSpPr>
          <p:nvPr/>
        </p:nvSpPr>
        <p:spPr bwMode="gray">
          <a:xfrm>
            <a:off x="3764119" y="3363988"/>
            <a:ext cx="2060794" cy="2133621"/>
          </a:xfrm>
          <a:prstGeom prst="roundRect">
            <a:avLst>
              <a:gd name="adj" fmla="val 7471"/>
            </a:avLst>
          </a:prstGeom>
          <a:solidFill>
            <a:srgbClr val="004074"/>
          </a:solidFill>
          <a:ln w="6350" cmpd="sng">
            <a:solidFill>
              <a:srgbClr val="1F497D"/>
            </a:solidFill>
            <a:round/>
            <a:headEnd/>
            <a:tailEnd/>
          </a:ln>
          <a:effectLst/>
        </p:spPr>
        <p:txBody>
          <a:bodyPr wrap="none" lIns="0" tIns="0" rIns="0" bIns="0" anchor="t"/>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COMMERCIAL</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SUSTAINABILITY</a:t>
            </a:r>
          </a:p>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Calibri" panose="020F0502020204030204"/>
              <a:ea typeface="+mn-ea"/>
              <a:cs typeface="+mn-cs"/>
            </a:endParaRP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R4B  return by 2025</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Gross Margin (22%)</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Utilisation Rate 95%</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Meet 80% Production </a:t>
            </a:r>
            <a:b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b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Targets</a:t>
            </a:r>
          </a:p>
          <a:p>
            <a:pPr marL="0" marR="0" lvl="0" indent="0" algn="l" defTabSz="402279" rtl="0" eaLnBrk="0" fontAlgn="auto" latinLnBrk="0" hangingPunct="0">
              <a:lnSpc>
                <a:spcPct val="9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1" name="Oval 44">
            <a:extLst>
              <a:ext uri="{FF2B5EF4-FFF2-40B4-BE49-F238E27FC236}">
                <a16:creationId xmlns:a16="http://schemas.microsoft.com/office/drawing/2014/main" xmlns="" id="{FFCFAD92-D68C-1C42-8B18-70DB9A59227E}"/>
              </a:ext>
            </a:extLst>
          </p:cNvPr>
          <p:cNvSpPr>
            <a:spLocks noChangeArrowheads="1"/>
          </p:cNvSpPr>
          <p:nvPr/>
        </p:nvSpPr>
        <p:spPr bwMode="gray">
          <a:xfrm>
            <a:off x="6007698" y="3352720"/>
            <a:ext cx="1986233" cy="2144889"/>
          </a:xfrm>
          <a:prstGeom prst="roundRect">
            <a:avLst>
              <a:gd name="adj" fmla="val 7471"/>
            </a:avLst>
          </a:prstGeom>
          <a:solidFill>
            <a:srgbClr val="004074"/>
          </a:solidFill>
          <a:ln w="6350" cmpd="sng">
            <a:solidFill>
              <a:srgbClr val="1F497D"/>
            </a:solidFill>
            <a:round/>
            <a:headEnd/>
            <a:tailEnd/>
          </a:ln>
          <a:effectLst/>
        </p:spPr>
        <p:txBody>
          <a:bodyPr wrap="square" lIns="0" tIns="0" rIns="0" bIns="0" anchor="t"/>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OPERATIONAL</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EFFICIENCY</a:t>
            </a:r>
          </a:p>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Calibri" panose="020F0502020204030204"/>
              <a:ea typeface="+mn-ea"/>
              <a:cs typeface="+mn-cs"/>
            </a:endParaRP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80% Overheads  as % of GP</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80% Automation Rate</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80% Initiative success rate</a:t>
            </a:r>
          </a:p>
        </p:txBody>
      </p:sp>
      <p:sp>
        <p:nvSpPr>
          <p:cNvPr id="12" name="Oval 44">
            <a:extLst>
              <a:ext uri="{FF2B5EF4-FFF2-40B4-BE49-F238E27FC236}">
                <a16:creationId xmlns:a16="http://schemas.microsoft.com/office/drawing/2014/main" xmlns="" id="{7982B21A-3D5E-E247-85BD-4518C1DEF68E}"/>
              </a:ext>
            </a:extLst>
          </p:cNvPr>
          <p:cNvSpPr>
            <a:spLocks noChangeArrowheads="1"/>
          </p:cNvSpPr>
          <p:nvPr/>
        </p:nvSpPr>
        <p:spPr bwMode="gray">
          <a:xfrm>
            <a:off x="8050880" y="3352719"/>
            <a:ext cx="2134783" cy="2144890"/>
          </a:xfrm>
          <a:prstGeom prst="roundRect">
            <a:avLst>
              <a:gd name="adj" fmla="val 7471"/>
            </a:avLst>
          </a:prstGeom>
          <a:solidFill>
            <a:srgbClr val="004074"/>
          </a:solidFill>
          <a:ln w="6350" cmpd="sng">
            <a:solidFill>
              <a:srgbClr val="1F497D"/>
            </a:solidFill>
            <a:round/>
            <a:headEnd/>
            <a:tailEnd/>
          </a:ln>
          <a:effectLst/>
        </p:spPr>
        <p:txBody>
          <a:bodyPr wrap="none" lIns="0" tIns="0" rIns="0" bIns="0" anchor="t"/>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STRATEGY &amp; LONG</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TERM GROWTH</a:t>
            </a:r>
          </a:p>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endParaRP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R2.7B income from </a:t>
            </a:r>
            <a:b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b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new business</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New Business Development  </a:t>
            </a:r>
            <a:b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b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conversion rate of 60%</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Brand Reputation Score of </a:t>
            </a:r>
            <a:b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b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75%</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5% Market Share</a:t>
            </a:r>
          </a:p>
          <a:p>
            <a:pPr marL="0" marR="0" lvl="0" indent="0" algn="l" defTabSz="402279" rtl="0" eaLnBrk="0" fontAlgn="auto" latinLnBrk="0" hangingPunct="0">
              <a:lnSpc>
                <a:spcPct val="9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4" name="Oval 44">
            <a:extLst>
              <a:ext uri="{FF2B5EF4-FFF2-40B4-BE49-F238E27FC236}">
                <a16:creationId xmlns:a16="http://schemas.microsoft.com/office/drawing/2014/main" xmlns="" id="{07B78477-7907-F74C-A997-2033E7F1B277}"/>
              </a:ext>
            </a:extLst>
          </p:cNvPr>
          <p:cNvSpPr>
            <a:spLocks noChangeArrowheads="1"/>
          </p:cNvSpPr>
          <p:nvPr/>
        </p:nvSpPr>
        <p:spPr bwMode="gray">
          <a:xfrm>
            <a:off x="3806454" y="1142992"/>
            <a:ext cx="4074888" cy="982800"/>
          </a:xfrm>
          <a:prstGeom prst="roundRect">
            <a:avLst>
              <a:gd name="adj" fmla="val 7471"/>
            </a:avLst>
          </a:prstGeom>
          <a:solidFill>
            <a:sysClr val="window" lastClr="FFFFFF"/>
          </a:solidFill>
          <a:ln w="6350" cmpd="sng">
            <a:solidFill>
              <a:srgbClr val="1F497D"/>
            </a:solidFill>
            <a:round/>
            <a:headEnd/>
            <a:tailEnd/>
          </a:ln>
          <a:effectLst/>
        </p:spPr>
        <p:txBody>
          <a:bodyPr wrap="non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F497D"/>
                </a:solidFill>
                <a:effectLst/>
                <a:uLnTx/>
                <a:uFillTx/>
                <a:latin typeface="Calibri" panose="020F0502020204030204"/>
                <a:ea typeface="+mn-ea"/>
                <a:cs typeface="+mn-cs"/>
              </a:rPr>
              <a:t>FINANCIAL </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F497D"/>
                </a:solidFill>
                <a:effectLst/>
                <a:uLnTx/>
                <a:uFillTx/>
                <a:latin typeface="Calibri" panose="020F0502020204030204"/>
                <a:ea typeface="+mn-ea"/>
                <a:cs typeface="+mn-cs"/>
              </a:rPr>
              <a:t>SUSTAINABILITY </a:t>
            </a:r>
          </a:p>
        </p:txBody>
      </p:sp>
      <p:sp>
        <p:nvSpPr>
          <p:cNvPr id="15" name="Oval 44">
            <a:extLst>
              <a:ext uri="{FF2B5EF4-FFF2-40B4-BE49-F238E27FC236}">
                <a16:creationId xmlns:a16="http://schemas.microsoft.com/office/drawing/2014/main" xmlns="" id="{46518267-865A-6246-A15C-94D1A69896B2}"/>
              </a:ext>
            </a:extLst>
          </p:cNvPr>
          <p:cNvSpPr>
            <a:spLocks noChangeArrowheads="1"/>
          </p:cNvSpPr>
          <p:nvPr/>
        </p:nvSpPr>
        <p:spPr bwMode="gray">
          <a:xfrm>
            <a:off x="3806454" y="2191207"/>
            <a:ext cx="4074888" cy="982800"/>
          </a:xfrm>
          <a:prstGeom prst="roundRect">
            <a:avLst>
              <a:gd name="adj" fmla="val 7471"/>
            </a:avLst>
          </a:prstGeom>
          <a:solidFill>
            <a:sysClr val="window" lastClr="FFFFFF"/>
          </a:solidFill>
          <a:ln w="6350" cmpd="sng">
            <a:solidFill>
              <a:srgbClr val="1F497D"/>
            </a:solidFill>
            <a:round/>
            <a:headEnd/>
            <a:tailEnd/>
          </a:ln>
          <a:effectLst/>
        </p:spPr>
        <p:txBody>
          <a:bodyPr wrap="non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F497D"/>
                </a:solidFill>
                <a:effectLst/>
                <a:uLnTx/>
                <a:uFillTx/>
                <a:latin typeface="Calibri" panose="020F0502020204030204"/>
                <a:ea typeface="+mn-ea"/>
                <a:cs typeface="+mn-cs"/>
              </a:rPr>
              <a:t>“TRUSTWORTHY:</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F497D"/>
                </a:solidFill>
                <a:effectLst/>
                <a:uLnTx/>
                <a:uFillTx/>
                <a:latin typeface="Calibri" panose="020F0502020204030204"/>
                <a:ea typeface="+mn-ea"/>
                <a:cs typeface="+mn-cs"/>
              </a:rPr>
              <a:t>“QUALITY ENERGY SOLUTIONS &amp; RELIABLE”</a:t>
            </a:r>
          </a:p>
        </p:txBody>
      </p:sp>
      <p:sp>
        <p:nvSpPr>
          <p:cNvPr id="16" name="Oval 44">
            <a:extLst>
              <a:ext uri="{FF2B5EF4-FFF2-40B4-BE49-F238E27FC236}">
                <a16:creationId xmlns:a16="http://schemas.microsoft.com/office/drawing/2014/main" xmlns="" id="{185A8E21-18D4-2747-B258-E6AAFEB2366F}"/>
              </a:ext>
            </a:extLst>
          </p:cNvPr>
          <p:cNvSpPr>
            <a:spLocks noChangeArrowheads="1"/>
          </p:cNvSpPr>
          <p:nvPr/>
        </p:nvSpPr>
        <p:spPr bwMode="gray">
          <a:xfrm>
            <a:off x="8273537" y="1142992"/>
            <a:ext cx="4075200" cy="982800"/>
          </a:xfrm>
          <a:prstGeom prst="roundRect">
            <a:avLst>
              <a:gd name="adj" fmla="val 7471"/>
            </a:avLst>
          </a:prstGeom>
          <a:solidFill>
            <a:sysClr val="window" lastClr="FFFFFF"/>
          </a:solidFill>
          <a:ln w="6350" cmpd="sng">
            <a:solidFill>
              <a:srgbClr val="1F497D"/>
            </a:solidFill>
            <a:round/>
            <a:headEnd/>
            <a:tailEnd/>
          </a:ln>
          <a:effectLst/>
        </p:spPr>
        <p:txBody>
          <a:bodyPr wrap="non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F497D"/>
                </a:solidFill>
                <a:effectLst/>
                <a:uLnTx/>
                <a:uFillTx/>
                <a:latin typeface="Calibri" panose="020F0502020204030204"/>
                <a:ea typeface="+mn-ea"/>
                <a:cs typeface="+mn-cs"/>
              </a:rPr>
              <a:t>CONTRIBUTION TO GDP GROWTH &amp;</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F497D"/>
                </a:solidFill>
                <a:effectLst/>
                <a:uLnTx/>
                <a:uFillTx/>
                <a:latin typeface="Calibri" panose="020F0502020204030204"/>
                <a:ea typeface="+mn-ea"/>
                <a:cs typeface="+mn-cs"/>
              </a:rPr>
              <a:t>CARBON EMISSIONS REDUCTION</a:t>
            </a:r>
          </a:p>
        </p:txBody>
      </p:sp>
      <p:sp>
        <p:nvSpPr>
          <p:cNvPr id="17" name="Oval 44">
            <a:extLst>
              <a:ext uri="{FF2B5EF4-FFF2-40B4-BE49-F238E27FC236}">
                <a16:creationId xmlns:a16="http://schemas.microsoft.com/office/drawing/2014/main" xmlns="" id="{2F818143-B658-7446-B2D5-421AE1EE09FE}"/>
              </a:ext>
            </a:extLst>
          </p:cNvPr>
          <p:cNvSpPr>
            <a:spLocks noChangeArrowheads="1"/>
          </p:cNvSpPr>
          <p:nvPr/>
        </p:nvSpPr>
        <p:spPr bwMode="gray">
          <a:xfrm>
            <a:off x="8273537" y="2191207"/>
            <a:ext cx="4075200" cy="982800"/>
          </a:xfrm>
          <a:prstGeom prst="roundRect">
            <a:avLst>
              <a:gd name="adj" fmla="val 7471"/>
            </a:avLst>
          </a:prstGeom>
          <a:solidFill>
            <a:sysClr val="window" lastClr="FFFFFF"/>
          </a:solidFill>
          <a:ln w="6350" cmpd="sng">
            <a:solidFill>
              <a:srgbClr val="1F497D"/>
            </a:solidFill>
            <a:round/>
            <a:headEnd/>
            <a:tailEnd/>
          </a:ln>
          <a:effectLst/>
        </p:spPr>
        <p:txBody>
          <a:bodyPr wrap="non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004074"/>
                </a:solidFill>
                <a:effectLst/>
                <a:uLnTx/>
                <a:uFillTx/>
                <a:latin typeface="Calibri" panose="020F0502020204030204"/>
                <a:ea typeface="+mn-ea"/>
                <a:cs typeface="+mn-cs"/>
              </a:rPr>
              <a:t>“S</a:t>
            </a:r>
            <a:r>
              <a:rPr kumimoji="0" lang="en-GB" sz="1600" b="1" i="0" u="none" strike="noStrike" kern="0" cap="none" spc="0" normalizeH="0" baseline="0" noProof="0" dirty="0">
                <a:ln>
                  <a:noFill/>
                </a:ln>
                <a:solidFill>
                  <a:srgbClr val="1F497D"/>
                </a:solidFill>
                <a:effectLst/>
                <a:uLnTx/>
                <a:uFillTx/>
                <a:latin typeface="Calibri" panose="020F0502020204030204"/>
                <a:ea typeface="+mn-ea"/>
                <a:cs typeface="+mn-cs"/>
              </a:rPr>
              <a:t>ECURITY OF SUPPLY &amp;</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1F497D"/>
                </a:solidFill>
                <a:effectLst/>
                <a:uLnTx/>
                <a:uFillTx/>
                <a:latin typeface="Calibri" panose="020F0502020204030204"/>
                <a:ea typeface="+mn-ea"/>
                <a:cs typeface="+mn-cs"/>
              </a:rPr>
              <a:t>AFFORDABLE CLEAN ENERGY TRANSITION”</a:t>
            </a:r>
          </a:p>
        </p:txBody>
      </p:sp>
      <p:sp>
        <p:nvSpPr>
          <p:cNvPr id="18" name="Oval 44">
            <a:extLst>
              <a:ext uri="{FF2B5EF4-FFF2-40B4-BE49-F238E27FC236}">
                <a16:creationId xmlns:a16="http://schemas.microsoft.com/office/drawing/2014/main" xmlns="" id="{C3479559-5362-FA43-8814-519837866ACE}"/>
              </a:ext>
            </a:extLst>
          </p:cNvPr>
          <p:cNvSpPr>
            <a:spLocks noChangeArrowheads="1"/>
          </p:cNvSpPr>
          <p:nvPr/>
        </p:nvSpPr>
        <p:spPr bwMode="gray">
          <a:xfrm>
            <a:off x="3764119" y="5564121"/>
            <a:ext cx="8663961" cy="1197406"/>
          </a:xfrm>
          <a:prstGeom prst="roundRect">
            <a:avLst>
              <a:gd name="adj" fmla="val 7471"/>
            </a:avLst>
          </a:prstGeom>
          <a:solidFill>
            <a:schemeClr val="tx2"/>
          </a:solidFill>
          <a:ln w="6350" cmpd="sng">
            <a:solidFill>
              <a:srgbClr val="1F497D"/>
            </a:solidFill>
            <a:round/>
            <a:headEnd/>
            <a:tailEnd/>
          </a:ln>
          <a:effectLst/>
        </p:spPr>
        <p:txBody>
          <a:bodyPr wrap="none" lIns="0" tIns="0" rIns="0" bIns="0" anchor="t"/>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Calibri" panose="020F0502020204030204"/>
                <a:ea typeface="+mn-ea"/>
                <a:cs typeface="+mn-cs"/>
              </a:rPr>
              <a:t>HUMAN PERFORMANCE &amp; ORGANISATIONAL ALIGNMENT</a:t>
            </a:r>
          </a:p>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Cultural  entropy</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Values alignment</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Organisational Health Index</a:t>
            </a:r>
          </a:p>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402279" rtl="0" eaLnBrk="0" fontAlgn="auto" latinLnBrk="0" hangingPunct="0">
              <a:lnSpc>
                <a:spcPct val="9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9" name="Oval 44">
            <a:extLst>
              <a:ext uri="{FF2B5EF4-FFF2-40B4-BE49-F238E27FC236}">
                <a16:creationId xmlns:a16="http://schemas.microsoft.com/office/drawing/2014/main" xmlns="" id="{140979BB-7214-B147-8951-D011A30AD161}"/>
              </a:ext>
            </a:extLst>
          </p:cNvPr>
          <p:cNvSpPr>
            <a:spLocks noChangeArrowheads="1"/>
          </p:cNvSpPr>
          <p:nvPr/>
        </p:nvSpPr>
        <p:spPr bwMode="gray">
          <a:xfrm rot="16200000">
            <a:off x="2922788" y="1474558"/>
            <a:ext cx="981358" cy="318228"/>
          </a:xfrm>
          <a:prstGeom prst="roundRect">
            <a:avLst>
              <a:gd name="adj" fmla="val 0"/>
            </a:avLst>
          </a:prstGeom>
          <a:solidFill>
            <a:srgbClr val="4F81BD"/>
          </a:solidFill>
          <a:ln w="6350" cmpd="sng">
            <a:noFill/>
            <a:round/>
            <a:headEnd/>
            <a:tailEnd/>
          </a:ln>
          <a:effectLst/>
        </p:spPr>
        <p:txBody>
          <a:bodyPr wrap="squar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rPr>
              <a:t>FINANCIAL OUTPUTS</a:t>
            </a:r>
          </a:p>
        </p:txBody>
      </p:sp>
      <p:sp>
        <p:nvSpPr>
          <p:cNvPr id="20" name="Oval 44">
            <a:extLst>
              <a:ext uri="{FF2B5EF4-FFF2-40B4-BE49-F238E27FC236}">
                <a16:creationId xmlns:a16="http://schemas.microsoft.com/office/drawing/2014/main" xmlns="" id="{C022E466-D55D-DE4A-BC49-B5C6A9AA82F9}"/>
              </a:ext>
            </a:extLst>
          </p:cNvPr>
          <p:cNvSpPr>
            <a:spLocks noChangeArrowheads="1"/>
          </p:cNvSpPr>
          <p:nvPr/>
        </p:nvSpPr>
        <p:spPr bwMode="gray">
          <a:xfrm rot="16200000">
            <a:off x="2922067" y="2523493"/>
            <a:ext cx="982800" cy="318228"/>
          </a:xfrm>
          <a:prstGeom prst="roundRect">
            <a:avLst>
              <a:gd name="adj" fmla="val 0"/>
            </a:avLst>
          </a:prstGeom>
          <a:solidFill>
            <a:srgbClr val="4F81BD"/>
          </a:solidFill>
          <a:ln w="6350" cmpd="sng">
            <a:noFill/>
            <a:round/>
            <a:headEnd/>
            <a:tailEnd/>
          </a:ln>
          <a:effectLst/>
        </p:spPr>
        <p:txBody>
          <a:bodyPr wrap="squar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rPr>
              <a:t>CLIENT’S PERCEPTION</a:t>
            </a:r>
          </a:p>
        </p:txBody>
      </p:sp>
      <p:sp>
        <p:nvSpPr>
          <p:cNvPr id="21" name="Oval 44">
            <a:extLst>
              <a:ext uri="{FF2B5EF4-FFF2-40B4-BE49-F238E27FC236}">
                <a16:creationId xmlns:a16="http://schemas.microsoft.com/office/drawing/2014/main" xmlns="" id="{5025D0F3-D80A-A94E-BC06-15A0AEFA0BDA}"/>
              </a:ext>
            </a:extLst>
          </p:cNvPr>
          <p:cNvSpPr>
            <a:spLocks noChangeArrowheads="1"/>
          </p:cNvSpPr>
          <p:nvPr/>
        </p:nvSpPr>
        <p:spPr bwMode="gray">
          <a:xfrm rot="16200000">
            <a:off x="2346067" y="4271095"/>
            <a:ext cx="2134800" cy="318228"/>
          </a:xfrm>
          <a:prstGeom prst="roundRect">
            <a:avLst>
              <a:gd name="adj" fmla="val 0"/>
            </a:avLst>
          </a:prstGeom>
          <a:solidFill>
            <a:srgbClr val="4F81BD"/>
          </a:solidFill>
          <a:ln w="6350" cmpd="sng">
            <a:noFill/>
            <a:round/>
            <a:headEnd/>
            <a:tailEnd/>
          </a:ln>
          <a:effectLst/>
        </p:spPr>
        <p:txBody>
          <a:bodyPr wrap="squar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rPr>
              <a:t>INTERNAL LEVERS</a:t>
            </a:r>
          </a:p>
        </p:txBody>
      </p:sp>
      <p:sp>
        <p:nvSpPr>
          <p:cNvPr id="22" name="Oval 44">
            <a:extLst>
              <a:ext uri="{FF2B5EF4-FFF2-40B4-BE49-F238E27FC236}">
                <a16:creationId xmlns:a16="http://schemas.microsoft.com/office/drawing/2014/main" xmlns="" id="{D90F622C-464D-BC44-85FA-EC1A15F80BF2}"/>
              </a:ext>
            </a:extLst>
          </p:cNvPr>
          <p:cNvSpPr>
            <a:spLocks noChangeArrowheads="1"/>
          </p:cNvSpPr>
          <p:nvPr/>
        </p:nvSpPr>
        <p:spPr bwMode="gray">
          <a:xfrm rot="16200000">
            <a:off x="2881856" y="5945906"/>
            <a:ext cx="1080000" cy="318228"/>
          </a:xfrm>
          <a:prstGeom prst="roundRect">
            <a:avLst>
              <a:gd name="adj" fmla="val 0"/>
            </a:avLst>
          </a:prstGeom>
          <a:solidFill>
            <a:srgbClr val="4F81BD"/>
          </a:solidFill>
          <a:ln w="6350" cmpd="sng">
            <a:noFill/>
            <a:round/>
            <a:headEnd/>
            <a:tailEnd/>
          </a:ln>
          <a:effectLst/>
        </p:spPr>
        <p:txBody>
          <a:bodyPr wrap="square" lIns="0" tIns="0" rIns="0" bIns="0" anchor="ctr"/>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rPr>
              <a:t>ENABLERS</a:t>
            </a:r>
          </a:p>
        </p:txBody>
      </p:sp>
      <p:sp>
        <p:nvSpPr>
          <p:cNvPr id="24" name="Oval 135">
            <a:extLst>
              <a:ext uri="{FF2B5EF4-FFF2-40B4-BE49-F238E27FC236}">
                <a16:creationId xmlns:a16="http://schemas.microsoft.com/office/drawing/2014/main" xmlns="" id="{57677CB6-F86F-424F-8EF3-388F76D416B0}"/>
              </a:ext>
            </a:extLst>
          </p:cNvPr>
          <p:cNvSpPr>
            <a:spLocks noChangeAspect="1"/>
          </p:cNvSpPr>
          <p:nvPr/>
        </p:nvSpPr>
        <p:spPr>
          <a:xfrm>
            <a:off x="3796070" y="3411379"/>
            <a:ext cx="324000" cy="324000"/>
          </a:xfrm>
          <a:prstGeom prst="ellipse">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72000" tIns="0" rIns="72000" b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rPr>
              <a:t>1</a:t>
            </a:r>
          </a:p>
        </p:txBody>
      </p:sp>
      <p:sp>
        <p:nvSpPr>
          <p:cNvPr id="25" name="Oval 135">
            <a:extLst>
              <a:ext uri="{FF2B5EF4-FFF2-40B4-BE49-F238E27FC236}">
                <a16:creationId xmlns:a16="http://schemas.microsoft.com/office/drawing/2014/main" xmlns="" id="{E25A06C3-AFC8-F04D-89C8-713856142FF0}"/>
              </a:ext>
            </a:extLst>
          </p:cNvPr>
          <p:cNvSpPr>
            <a:spLocks noChangeAspect="1"/>
          </p:cNvSpPr>
          <p:nvPr/>
        </p:nvSpPr>
        <p:spPr>
          <a:xfrm>
            <a:off x="6044307" y="3411379"/>
            <a:ext cx="324000" cy="324000"/>
          </a:xfrm>
          <a:prstGeom prst="ellipse">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72000" tIns="0" rIns="72000" b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rPr>
              <a:t>2</a:t>
            </a:r>
          </a:p>
        </p:txBody>
      </p:sp>
      <p:sp>
        <p:nvSpPr>
          <p:cNvPr id="26" name="Oval 135">
            <a:extLst>
              <a:ext uri="{FF2B5EF4-FFF2-40B4-BE49-F238E27FC236}">
                <a16:creationId xmlns:a16="http://schemas.microsoft.com/office/drawing/2014/main" xmlns="" id="{86897A0C-DA90-5A45-A6A1-06837A348A17}"/>
              </a:ext>
            </a:extLst>
          </p:cNvPr>
          <p:cNvSpPr>
            <a:spLocks noChangeAspect="1"/>
          </p:cNvSpPr>
          <p:nvPr/>
        </p:nvSpPr>
        <p:spPr>
          <a:xfrm>
            <a:off x="8087490" y="3411379"/>
            <a:ext cx="324000" cy="324000"/>
          </a:xfrm>
          <a:prstGeom prst="ellipse">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72000" tIns="0" rIns="72000" b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28" name="Oval 135">
            <a:extLst>
              <a:ext uri="{FF2B5EF4-FFF2-40B4-BE49-F238E27FC236}">
                <a16:creationId xmlns:a16="http://schemas.microsoft.com/office/drawing/2014/main" xmlns="" id="{4FED751F-6E33-8A48-9958-12185426D011}"/>
              </a:ext>
            </a:extLst>
          </p:cNvPr>
          <p:cNvSpPr>
            <a:spLocks noChangeAspect="1"/>
          </p:cNvSpPr>
          <p:nvPr/>
        </p:nvSpPr>
        <p:spPr>
          <a:xfrm>
            <a:off x="3797675" y="5578687"/>
            <a:ext cx="324000" cy="324000"/>
          </a:xfrm>
          <a:prstGeom prst="ellipse">
            <a:avLst/>
          </a:prstGeom>
          <a:solidFill>
            <a:srgbClr val="F18B1B"/>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72000" tIns="0" rIns="72000" b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rPr>
              <a:t>5</a:t>
            </a:r>
          </a:p>
        </p:txBody>
      </p:sp>
      <p:sp>
        <p:nvSpPr>
          <p:cNvPr id="32" name="Title 1"/>
          <p:cNvSpPr txBox="1">
            <a:spLocks/>
          </p:cNvSpPr>
          <p:nvPr/>
        </p:nvSpPr>
        <p:spPr bwMode="gray">
          <a:xfrm>
            <a:off x="270987" y="171373"/>
            <a:ext cx="10808908" cy="365156"/>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algn="l" rtl="0" eaLnBrk="0" fontAlgn="base" hangingPunct="0">
              <a:lnSpc>
                <a:spcPct val="95000"/>
              </a:lnSpc>
              <a:spcBef>
                <a:spcPct val="0"/>
              </a:spcBef>
              <a:spcAft>
                <a:spcPct val="0"/>
              </a:spcAft>
              <a:defRPr sz="2457" b="1">
                <a:solidFill>
                  <a:schemeClr val="tx1"/>
                </a:solidFill>
                <a:latin typeface="+mj-lt"/>
                <a:ea typeface="+mj-ea"/>
                <a:cs typeface="+mj-cs"/>
              </a:defRPr>
            </a:lvl1pPr>
            <a:lvl2pPr algn="l" rtl="0" eaLnBrk="0" fontAlgn="base" hangingPunct="0">
              <a:lnSpc>
                <a:spcPct val="95000"/>
              </a:lnSpc>
              <a:spcBef>
                <a:spcPct val="0"/>
              </a:spcBef>
              <a:spcAft>
                <a:spcPct val="0"/>
              </a:spcAft>
              <a:defRPr sz="2457" b="1">
                <a:solidFill>
                  <a:schemeClr val="tx1"/>
                </a:solidFill>
                <a:latin typeface="Arial" charset="0"/>
              </a:defRPr>
            </a:lvl2pPr>
            <a:lvl3pPr algn="l" rtl="0" eaLnBrk="0" fontAlgn="base" hangingPunct="0">
              <a:lnSpc>
                <a:spcPct val="95000"/>
              </a:lnSpc>
              <a:spcBef>
                <a:spcPct val="0"/>
              </a:spcBef>
              <a:spcAft>
                <a:spcPct val="0"/>
              </a:spcAft>
              <a:defRPr sz="2457" b="1">
                <a:solidFill>
                  <a:schemeClr val="tx1"/>
                </a:solidFill>
                <a:latin typeface="Arial" charset="0"/>
              </a:defRPr>
            </a:lvl3pPr>
            <a:lvl4pPr algn="l" rtl="0" eaLnBrk="0" fontAlgn="base" hangingPunct="0">
              <a:lnSpc>
                <a:spcPct val="95000"/>
              </a:lnSpc>
              <a:spcBef>
                <a:spcPct val="0"/>
              </a:spcBef>
              <a:spcAft>
                <a:spcPct val="0"/>
              </a:spcAft>
              <a:defRPr sz="2457" b="1">
                <a:solidFill>
                  <a:schemeClr val="tx1"/>
                </a:solidFill>
                <a:latin typeface="Arial" charset="0"/>
              </a:defRPr>
            </a:lvl4pPr>
            <a:lvl5pPr algn="l" rtl="0" eaLnBrk="0" fontAlgn="base" hangingPunct="0">
              <a:lnSpc>
                <a:spcPct val="95000"/>
              </a:lnSpc>
              <a:spcBef>
                <a:spcPct val="0"/>
              </a:spcBef>
              <a:spcAft>
                <a:spcPct val="0"/>
              </a:spcAft>
              <a:defRPr sz="2457" b="1">
                <a:solidFill>
                  <a:schemeClr val="tx1"/>
                </a:solidFill>
                <a:latin typeface="Arial" charset="0"/>
              </a:defRPr>
            </a:lvl5pPr>
            <a:lvl6pPr marL="467990" algn="l" rtl="0" eaLnBrk="0" fontAlgn="base" hangingPunct="0">
              <a:lnSpc>
                <a:spcPct val="95000"/>
              </a:lnSpc>
              <a:spcBef>
                <a:spcPct val="0"/>
              </a:spcBef>
              <a:spcAft>
                <a:spcPct val="0"/>
              </a:spcAft>
              <a:defRPr sz="2457" b="1">
                <a:solidFill>
                  <a:schemeClr val="tx1"/>
                </a:solidFill>
                <a:latin typeface="Arial" charset="0"/>
              </a:defRPr>
            </a:lvl6pPr>
            <a:lvl7pPr marL="935980" algn="l" rtl="0" eaLnBrk="0" fontAlgn="base" hangingPunct="0">
              <a:lnSpc>
                <a:spcPct val="95000"/>
              </a:lnSpc>
              <a:spcBef>
                <a:spcPct val="0"/>
              </a:spcBef>
              <a:spcAft>
                <a:spcPct val="0"/>
              </a:spcAft>
              <a:defRPr sz="2457" b="1">
                <a:solidFill>
                  <a:schemeClr val="tx1"/>
                </a:solidFill>
                <a:latin typeface="Arial" charset="0"/>
              </a:defRPr>
            </a:lvl7pPr>
            <a:lvl8pPr marL="1403970" algn="l" rtl="0" eaLnBrk="0" fontAlgn="base" hangingPunct="0">
              <a:lnSpc>
                <a:spcPct val="95000"/>
              </a:lnSpc>
              <a:spcBef>
                <a:spcPct val="0"/>
              </a:spcBef>
              <a:spcAft>
                <a:spcPct val="0"/>
              </a:spcAft>
              <a:defRPr sz="2457" b="1">
                <a:solidFill>
                  <a:schemeClr val="tx1"/>
                </a:solidFill>
                <a:latin typeface="Arial" charset="0"/>
              </a:defRPr>
            </a:lvl8pPr>
            <a:lvl9pPr marL="1871960" algn="l" rtl="0" eaLnBrk="0" fontAlgn="base" hangingPunct="0">
              <a:lnSpc>
                <a:spcPct val="95000"/>
              </a:lnSpc>
              <a:spcBef>
                <a:spcPct val="0"/>
              </a:spcBef>
              <a:spcAft>
                <a:spcPct val="0"/>
              </a:spcAft>
              <a:defRPr sz="2457" b="1">
                <a:solidFill>
                  <a:schemeClr val="tx1"/>
                </a:solidFill>
                <a:latin typeface="Arial" charset="0"/>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61B2"/>
                </a:solidFill>
                <a:effectLst/>
                <a:uLnTx/>
                <a:uFillTx/>
                <a:latin typeface="Century Gothic" panose="020F0302020204030204"/>
                <a:ea typeface="+mj-ea"/>
                <a:cs typeface="Arial" panose="020B0604020202020204" pitchFamily="34" charset="0"/>
              </a:rPr>
              <a:t>CEF Group  Strategy Map</a:t>
            </a:r>
            <a:endParaRPr kumimoji="0" lang="en-ZA" sz="2400" b="1" i="0" u="none" strike="noStrike" kern="1200" cap="none" spc="0" normalizeH="0" baseline="0" noProof="0" dirty="0">
              <a:ln>
                <a:noFill/>
              </a:ln>
              <a:solidFill>
                <a:srgbClr val="0061B2"/>
              </a:solidFill>
              <a:effectLst/>
              <a:uLnTx/>
              <a:uFillTx/>
              <a:latin typeface="Century Gothic" panose="020F0302020204030204"/>
              <a:ea typeface="+mj-ea"/>
              <a:cs typeface="Arial" panose="020B0604020202020204" pitchFamily="34" charset="0"/>
            </a:endParaRPr>
          </a:p>
        </p:txBody>
      </p:sp>
      <p:sp>
        <p:nvSpPr>
          <p:cNvPr id="29" name="Oval 44">
            <a:extLst>
              <a:ext uri="{FF2B5EF4-FFF2-40B4-BE49-F238E27FC236}">
                <a16:creationId xmlns:a16="http://schemas.microsoft.com/office/drawing/2014/main" xmlns="" id="{7982B21A-3D5E-E247-85BD-4518C1DEF68E}"/>
              </a:ext>
            </a:extLst>
          </p:cNvPr>
          <p:cNvSpPr>
            <a:spLocks noChangeArrowheads="1"/>
          </p:cNvSpPr>
          <p:nvPr/>
        </p:nvSpPr>
        <p:spPr bwMode="gray">
          <a:xfrm>
            <a:off x="10229762" y="3342131"/>
            <a:ext cx="2151249" cy="2155478"/>
          </a:xfrm>
          <a:prstGeom prst="roundRect">
            <a:avLst>
              <a:gd name="adj" fmla="val 7471"/>
            </a:avLst>
          </a:prstGeom>
          <a:solidFill>
            <a:srgbClr val="004074"/>
          </a:solidFill>
          <a:ln w="6350" cmpd="sng">
            <a:solidFill>
              <a:srgbClr val="1F497D"/>
            </a:solidFill>
            <a:round/>
            <a:headEnd/>
            <a:tailEnd/>
          </a:ln>
          <a:effectLst/>
        </p:spPr>
        <p:txBody>
          <a:bodyPr wrap="square" lIns="0" tIns="0" rIns="0" bIns="0" anchor="t"/>
          <a:lstStyle/>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CONSOLIDATION</a:t>
            </a:r>
          </a:p>
          <a:p>
            <a:pPr marL="0" marR="0" lvl="0" indent="0" algn="ctr" defTabSz="402279" rtl="0" eaLnBrk="0" fontAlgn="auto" latinLnBrk="0" hangingPunct="0">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amp;  TURNAROUND </a:t>
            </a:r>
          </a:p>
          <a:p>
            <a:pPr marL="0" marR="0" lvl="0" indent="0" algn="ctr" defTabSz="402279" rtl="0" eaLnBrk="0" fontAlgn="auto" latinLnBrk="0" hangingPunct="0">
              <a:lnSpc>
                <a:spcPct val="9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FFFFFF"/>
              </a:solidFill>
              <a:effectLst/>
              <a:uLnTx/>
              <a:uFillTx/>
              <a:latin typeface="Calibri" panose="020F0502020204030204"/>
              <a:ea typeface="+mn-ea"/>
              <a:cs typeface="+mn-cs"/>
            </a:endParaRP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On time delivery of priority projects</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Execution of merger within stated timelines</a:t>
            </a:r>
          </a:p>
          <a:p>
            <a:pPr marL="93663" marR="0" lvl="0" indent="-93663" algn="l" defTabSz="402279" rtl="0" eaLnBrk="0" fontAlgn="auto" latinLnBrk="0" hangingPunct="0">
              <a:lnSpc>
                <a:spcPct val="90000"/>
              </a:lnSpc>
              <a:spcBef>
                <a:spcPts val="0"/>
              </a:spcBef>
              <a:spcAft>
                <a:spcPts val="0"/>
              </a:spcAft>
              <a:buClrTx/>
              <a:buSzTx/>
              <a:buFont typeface="Arial" panose="020B0604020202020204" pitchFamily="34" charset="0"/>
              <a:buChar char="•"/>
              <a:tabLst/>
              <a:defRPr/>
            </a:pPr>
            <a:r>
              <a:rPr kumimoji="0" lang="en-US" sz="1300" b="1" i="0" u="none" strike="noStrike" kern="0" cap="none" spc="0" normalizeH="0" baseline="0" noProof="0" dirty="0">
                <a:ln>
                  <a:noFill/>
                </a:ln>
                <a:solidFill>
                  <a:srgbClr val="FFFFFF"/>
                </a:solidFill>
                <a:effectLst/>
                <a:uLnTx/>
                <a:uFillTx/>
                <a:latin typeface="Calibri" panose="020F0502020204030204"/>
                <a:ea typeface="+mn-ea"/>
                <a:cs typeface="+mn-cs"/>
              </a:rPr>
              <a:t>Reduce HO Costs from R1B to R200M by end 2020/21 FY</a:t>
            </a:r>
          </a:p>
          <a:p>
            <a:pPr marL="0" marR="0" lvl="0" indent="0" algn="l" defTabSz="402279" rtl="0" eaLnBrk="0" fontAlgn="auto" latinLnBrk="0" hangingPunct="0">
              <a:lnSpc>
                <a:spcPct val="9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3" name="Oval 135">
            <a:extLst>
              <a:ext uri="{FF2B5EF4-FFF2-40B4-BE49-F238E27FC236}">
                <a16:creationId xmlns:a16="http://schemas.microsoft.com/office/drawing/2014/main" xmlns="" id="{86897A0C-DA90-5A45-A6A1-06837A348A17}"/>
              </a:ext>
            </a:extLst>
          </p:cNvPr>
          <p:cNvSpPr>
            <a:spLocks noChangeAspect="1"/>
          </p:cNvSpPr>
          <p:nvPr/>
        </p:nvSpPr>
        <p:spPr>
          <a:xfrm>
            <a:off x="10298170" y="3411379"/>
            <a:ext cx="324000" cy="324000"/>
          </a:xfrm>
          <a:prstGeom prst="ellipse">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72000" tIns="0" rIns="72000" b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rPr>
              <a:t>4</a:t>
            </a:r>
          </a:p>
        </p:txBody>
      </p:sp>
      <p:sp>
        <p:nvSpPr>
          <p:cNvPr id="34" name="Title 1">
            <a:extLst>
              <a:ext uri="{FF2B5EF4-FFF2-40B4-BE49-F238E27FC236}">
                <a16:creationId xmlns:a16="http://schemas.microsoft.com/office/drawing/2014/main" xmlns="" id="{B3F47B65-5B22-4EC9-AA31-6A0575E3B7B4}"/>
              </a:ext>
            </a:extLst>
          </p:cNvPr>
          <p:cNvSpPr txBox="1">
            <a:spLocks/>
          </p:cNvSpPr>
          <p:nvPr/>
        </p:nvSpPr>
        <p:spPr>
          <a:xfrm>
            <a:off x="184558" y="1062065"/>
            <a:ext cx="2478664" cy="3877985"/>
          </a:xfrm>
          <a:prstGeom prst="rect">
            <a:avLst/>
          </a:prstGeom>
          <a:noFill/>
          <a:ln w="6350">
            <a:noFill/>
            <a:miter lim="800000"/>
          </a:ln>
        </p:spPr>
        <p:txBody>
          <a:bodyPr vert="horz" wrap="square" lIns="0" tIns="0" rIns="0" bIns="0" rtlCol="0" anchor="t" anchorCtr="0">
            <a:spAutoFit/>
          </a:bodyPr>
          <a:lstStyle>
            <a:lvl1pPr marL="0" indent="0" algn="l" defTabSz="1263792" rtl="0" eaLnBrk="1" latinLnBrk="0" hangingPunct="1">
              <a:lnSpc>
                <a:spcPct val="90000"/>
              </a:lnSpc>
              <a:spcBef>
                <a:spcPct val="0"/>
              </a:spcBef>
              <a:buNone/>
              <a:defRPr sz="2400" b="1" kern="1200" baseline="0">
                <a:solidFill>
                  <a:schemeClr val="accent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pPr marL="0" marR="0" lvl="0" indent="0" defTabSz="1263792"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61B2"/>
                </a:solidFill>
                <a:effectLst/>
                <a:uLnTx/>
                <a:uFillTx/>
                <a:latin typeface="Arial" panose="020B0604020202020204" pitchFamily="34" charset="0"/>
                <a:cs typeface="Arial" panose="020B0604020202020204" pitchFamily="34" charset="0"/>
                <a:sym typeface="Arial" panose="020B0604020202020204" pitchFamily="34" charset="0"/>
              </a:rPr>
              <a:t>The CEF Group strategy Map outlines the key inputs and outputs as guided by our </a:t>
            </a:r>
            <a:r>
              <a:rPr kumimoji="0" lang="en-US" sz="2000" b="1" i="1"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sym typeface="Arial" panose="020B0604020202020204" pitchFamily="34" charset="0"/>
              </a:rPr>
              <a:t>Economic</a:t>
            </a:r>
            <a:r>
              <a:rPr kumimoji="0" lang="en-US" sz="2000" b="1" i="0" u="none" strike="noStrike" kern="1200" cap="none" spc="0" normalizeH="0" baseline="0" noProof="0" dirty="0">
                <a:ln>
                  <a:noFill/>
                </a:ln>
                <a:solidFill>
                  <a:srgbClr val="0061B2"/>
                </a:solidFill>
                <a:effectLst/>
                <a:uLnTx/>
                <a:uFillTx/>
                <a:latin typeface="Arial" panose="020B0604020202020204" pitchFamily="34" charset="0"/>
                <a:cs typeface="Arial" panose="020B0604020202020204" pitchFamily="34" charset="0"/>
                <a:sym typeface="Arial" panose="020B0604020202020204" pitchFamily="34" charset="0"/>
              </a:rPr>
              <a:t> and </a:t>
            </a:r>
            <a:r>
              <a:rPr kumimoji="0" lang="en-US" sz="2000" b="1" i="1"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sym typeface="Arial" panose="020B0604020202020204" pitchFamily="34" charset="0"/>
              </a:rPr>
              <a:t>Social </a:t>
            </a:r>
            <a:r>
              <a:rPr kumimoji="0" lang="en-US" sz="2000" b="1" i="0" u="none" strike="noStrike" kern="1200" cap="none" spc="0" normalizeH="0" baseline="0" noProof="0" dirty="0">
                <a:ln>
                  <a:noFill/>
                </a:ln>
                <a:solidFill>
                  <a:srgbClr val="0061B2"/>
                </a:solidFill>
                <a:effectLst/>
                <a:uLnTx/>
                <a:uFillTx/>
                <a:latin typeface="Arial" panose="020B0604020202020204" pitchFamily="34" charset="0"/>
                <a:cs typeface="Arial" panose="020B0604020202020204" pitchFamily="34" charset="0"/>
                <a:sym typeface="Arial" panose="020B0604020202020204" pitchFamily="34" charset="0"/>
              </a:rPr>
              <a:t>mandate and the overarching objective of </a:t>
            </a:r>
            <a:r>
              <a:rPr kumimoji="0" lang="en-US" sz="20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Arial" panose="020B0604020202020204" pitchFamily="34" charset="0"/>
              </a:rPr>
              <a:t>contributing towards Economic Growth</a:t>
            </a:r>
            <a:r>
              <a:rPr kumimoji="0" lang="en-US" sz="2000" b="1" i="0" u="none" strike="noStrike" kern="1200" cap="none" spc="0" normalizeH="0" baseline="0" noProof="0" dirty="0">
                <a:ln>
                  <a:noFill/>
                </a:ln>
                <a:solidFill>
                  <a:srgbClr val="0061B2"/>
                </a:solidFill>
                <a:effectLst/>
                <a:uLnTx/>
                <a:uFillTx/>
                <a:latin typeface="Arial" panose="020B0604020202020204" pitchFamily="34" charset="0"/>
                <a:cs typeface="Arial" panose="020B0604020202020204" pitchFamily="34" charset="0"/>
                <a:sym typeface="Arial" panose="020B0604020202020204" pitchFamily="34" charset="0"/>
              </a:rPr>
              <a:t> and support the shareholder on specified programs</a:t>
            </a:r>
            <a:endParaRPr kumimoji="0" lang="en-GB" sz="2000" b="1" i="0" u="none" strike="noStrike" kern="1200" cap="none" spc="0" normalizeH="0" baseline="0" noProof="0" dirty="0">
              <a:ln>
                <a:noFill/>
              </a:ln>
              <a:solidFill>
                <a:srgbClr val="0061B2"/>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xmlns="" val="625628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4" name="TextBox 3"/>
          <p:cNvSpPr txBox="1"/>
          <p:nvPr/>
        </p:nvSpPr>
        <p:spPr>
          <a:xfrm>
            <a:off x="133582" y="332736"/>
            <a:ext cx="9994392" cy="426541"/>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lvl1pPr eaLnBrk="0" hangingPunct="0">
              <a:lnSpc>
                <a:spcPct val="95000"/>
              </a:lnSpc>
              <a:defRPr sz="2457" b="1">
                <a:solidFill>
                  <a:srgbClr val="256DBC"/>
                </a:solidFill>
                <a:latin typeface="+mj-lt"/>
                <a:ea typeface="+mj-ea"/>
                <a:cs typeface="+mj-cs"/>
              </a:defRPr>
            </a:lvl1pPr>
            <a:lvl2pPr eaLnBrk="0" hangingPunct="0">
              <a:lnSpc>
                <a:spcPct val="95000"/>
              </a:lnSpc>
              <a:defRPr sz="2400" b="1"/>
            </a:lvl2pPr>
            <a:lvl3pPr eaLnBrk="0" hangingPunct="0">
              <a:lnSpc>
                <a:spcPct val="95000"/>
              </a:lnSpc>
              <a:defRPr sz="2400" b="1"/>
            </a:lvl3pPr>
            <a:lvl4pPr eaLnBrk="0" hangingPunct="0">
              <a:lnSpc>
                <a:spcPct val="95000"/>
              </a:lnSpc>
              <a:defRPr sz="2400" b="1"/>
            </a:lvl4pPr>
            <a:lvl5pPr eaLnBrk="0" hangingPunct="0">
              <a:lnSpc>
                <a:spcPct val="95000"/>
              </a:lnSpc>
              <a:defRPr sz="2400" b="1"/>
            </a:lvl5pPr>
            <a:lvl6pPr marL="457200" eaLnBrk="0" fontAlgn="base" hangingPunct="0">
              <a:lnSpc>
                <a:spcPct val="95000"/>
              </a:lnSpc>
              <a:spcBef>
                <a:spcPct val="0"/>
              </a:spcBef>
              <a:spcAft>
                <a:spcPct val="0"/>
              </a:spcAft>
              <a:defRPr sz="2400" b="1"/>
            </a:lvl6pPr>
            <a:lvl7pPr marL="914400" eaLnBrk="0" fontAlgn="base" hangingPunct="0">
              <a:lnSpc>
                <a:spcPct val="95000"/>
              </a:lnSpc>
              <a:spcBef>
                <a:spcPct val="0"/>
              </a:spcBef>
              <a:spcAft>
                <a:spcPct val="0"/>
              </a:spcAft>
              <a:defRPr sz="2400" b="1"/>
            </a:lvl7pPr>
            <a:lvl8pPr marL="1371600" eaLnBrk="0" fontAlgn="base" hangingPunct="0">
              <a:lnSpc>
                <a:spcPct val="95000"/>
              </a:lnSpc>
              <a:spcBef>
                <a:spcPct val="0"/>
              </a:spcBef>
              <a:spcAft>
                <a:spcPct val="0"/>
              </a:spcAft>
              <a:defRPr sz="2400" b="1"/>
            </a:lvl8pPr>
            <a:lvl9pPr marL="1828800" eaLnBrk="0" fontAlgn="base" hangingPunct="0">
              <a:lnSpc>
                <a:spcPct val="95000"/>
              </a:lnSpc>
              <a:spcBef>
                <a:spcPct val="0"/>
              </a:spcBef>
              <a:spcAft>
                <a:spcPct val="0"/>
              </a:spcAft>
              <a:defRPr sz="2400" b="1"/>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ZA" sz="2457" b="1" i="0" u="none" strike="noStrike" kern="1200" cap="none" spc="0" normalizeH="0" baseline="0" noProof="0" dirty="0">
                <a:ln>
                  <a:noFill/>
                </a:ln>
                <a:solidFill>
                  <a:srgbClr val="256DBC"/>
                </a:solidFill>
                <a:effectLst/>
                <a:uLnTx/>
                <a:uFillTx/>
                <a:latin typeface="Arial"/>
                <a:ea typeface="+mj-ea"/>
                <a:cs typeface="+mj-cs"/>
              </a:rPr>
              <a:t>The CEF Group  Scorecard</a:t>
            </a:r>
          </a:p>
        </p:txBody>
      </p:sp>
      <p:graphicFrame>
        <p:nvGraphicFramePr>
          <p:cNvPr id="5" name="Table 4"/>
          <p:cNvGraphicFramePr>
            <a:graphicFrameLocks noGrp="1"/>
          </p:cNvGraphicFramePr>
          <p:nvPr>
            <p:extLst>
              <p:ext uri="{D42A27DB-BD31-4B8C-83A1-F6EECF244321}">
                <p14:modId xmlns:p14="http://schemas.microsoft.com/office/powerpoint/2010/main" xmlns="" val="1514414343"/>
              </p:ext>
            </p:extLst>
          </p:nvPr>
        </p:nvGraphicFramePr>
        <p:xfrm>
          <a:off x="133582" y="956733"/>
          <a:ext cx="12292460" cy="5833365"/>
        </p:xfrm>
        <a:graphic>
          <a:graphicData uri="http://schemas.openxmlformats.org/drawingml/2006/table">
            <a:tbl>
              <a:tblPr/>
              <a:tblGrid>
                <a:gridCol w="1293179">
                  <a:extLst>
                    <a:ext uri="{9D8B030D-6E8A-4147-A177-3AD203B41FA5}">
                      <a16:colId xmlns:a16="http://schemas.microsoft.com/office/drawing/2014/main" xmlns="" val="3638808650"/>
                    </a:ext>
                  </a:extLst>
                </a:gridCol>
                <a:gridCol w="851075">
                  <a:extLst>
                    <a:ext uri="{9D8B030D-6E8A-4147-A177-3AD203B41FA5}">
                      <a16:colId xmlns:a16="http://schemas.microsoft.com/office/drawing/2014/main" xmlns="" val="3798130084"/>
                    </a:ext>
                  </a:extLst>
                </a:gridCol>
                <a:gridCol w="2853188">
                  <a:extLst>
                    <a:ext uri="{9D8B030D-6E8A-4147-A177-3AD203B41FA5}">
                      <a16:colId xmlns:a16="http://schemas.microsoft.com/office/drawing/2014/main" xmlns="" val="2664191266"/>
                    </a:ext>
                  </a:extLst>
                </a:gridCol>
                <a:gridCol w="3528256">
                  <a:extLst>
                    <a:ext uri="{9D8B030D-6E8A-4147-A177-3AD203B41FA5}">
                      <a16:colId xmlns:a16="http://schemas.microsoft.com/office/drawing/2014/main" xmlns="" val="250181231"/>
                    </a:ext>
                  </a:extLst>
                </a:gridCol>
                <a:gridCol w="3766762">
                  <a:extLst>
                    <a:ext uri="{9D8B030D-6E8A-4147-A177-3AD203B41FA5}">
                      <a16:colId xmlns:a16="http://schemas.microsoft.com/office/drawing/2014/main" xmlns="" val="3087594981"/>
                    </a:ext>
                  </a:extLst>
                </a:gridCol>
              </a:tblGrid>
              <a:tr h="496095">
                <a:tc>
                  <a:txBody>
                    <a:bodyPr/>
                    <a:lstStyle/>
                    <a:p>
                      <a:pPr marL="93663" indent="0" algn="ctr" fontAlgn="ctr">
                        <a:buFont typeface="Arial" panose="020B0604020202020204" pitchFamily="34" charset="0"/>
                        <a:buNone/>
                      </a:pPr>
                      <a:r>
                        <a:rPr lang="en-ZA" sz="1300" b="1" i="0" u="none" strike="noStrike" dirty="0">
                          <a:solidFill>
                            <a:srgbClr val="FFFFFF"/>
                          </a:solidFill>
                          <a:effectLst/>
                          <a:latin typeface="Arial" panose="020B0604020202020204" pitchFamily="34" charset="0"/>
                          <a:cs typeface="Arial" panose="020B0604020202020204" pitchFamily="34" charset="0"/>
                        </a:rPr>
                        <a:t>Strategic The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marL="93663" indent="0" algn="ctr" fontAlgn="ctr">
                        <a:buFont typeface="Arial" panose="020B0604020202020204" pitchFamily="34" charset="0"/>
                        <a:buNone/>
                      </a:pPr>
                      <a:r>
                        <a:rPr lang="en-US" sz="1300" b="1" i="0" u="none" strike="noStrike" dirty="0">
                          <a:solidFill>
                            <a:srgbClr val="FFFFFF"/>
                          </a:solidFill>
                          <a:effectLst/>
                          <a:latin typeface="Arial" panose="020B0604020202020204" pitchFamily="34" charset="0"/>
                          <a:cs typeface="Arial" panose="020B0604020202020204" pitchFamily="34" charset="0"/>
                        </a:rPr>
                        <a:t>Weight</a:t>
                      </a:r>
                      <a:endParaRPr lang="en-ZA" sz="1300" b="1" i="0" u="none" strike="noStrike" dirty="0">
                        <a:solidFill>
                          <a:srgbClr val="FFFFFF"/>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marL="93663" indent="0" algn="ctr" fontAlgn="ctr">
                        <a:buFont typeface="Arial" panose="020B0604020202020204" pitchFamily="34" charset="0"/>
                        <a:buNone/>
                      </a:pPr>
                      <a:r>
                        <a:rPr lang="en-ZA" sz="1300" b="1" i="0" u="none" strike="noStrike" dirty="0">
                          <a:solidFill>
                            <a:srgbClr val="FFFFFF"/>
                          </a:solidFill>
                          <a:effectLst/>
                          <a:latin typeface="Arial" panose="020B0604020202020204" pitchFamily="34" charset="0"/>
                          <a:cs typeface="Arial" panose="020B0604020202020204" pitchFamily="34" charset="0"/>
                        </a:rPr>
                        <a:t>Goal / Objecti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marL="93663" indent="0" algn="ctr" fontAlgn="ctr">
                        <a:buFont typeface="Arial" panose="020B0604020202020204" pitchFamily="34" charset="0"/>
                        <a:buNone/>
                      </a:pPr>
                      <a:r>
                        <a:rPr lang="en-ZA" sz="1300" b="1" i="0" u="none" strike="noStrike" dirty="0">
                          <a:solidFill>
                            <a:srgbClr val="FFFFFF"/>
                          </a:solidFill>
                          <a:effectLst/>
                          <a:latin typeface="Arial" panose="020B0604020202020204" pitchFamily="34" charset="0"/>
                          <a:cs typeface="Arial" panose="020B0604020202020204" pitchFamily="34" charset="0"/>
                        </a:rPr>
                        <a:t>Measure / KP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marL="93663" indent="0" algn="ctr" fontAlgn="ctr">
                        <a:buFont typeface="Arial" panose="020B0604020202020204" pitchFamily="34" charset="0"/>
                        <a:buNone/>
                      </a:pPr>
                      <a:r>
                        <a:rPr lang="en-ZA" sz="1300" b="1" i="0" u="none" strike="noStrike" dirty="0">
                          <a:solidFill>
                            <a:srgbClr val="FFFFFF"/>
                          </a:solidFill>
                          <a:effectLst/>
                          <a:latin typeface="Arial" panose="020B0604020202020204" pitchFamily="34" charset="0"/>
                          <a:cs typeface="Arial" panose="020B0604020202020204" pitchFamily="34" charset="0"/>
                        </a:rPr>
                        <a:t>Target for FY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xmlns="" val="2498839574"/>
                  </a:ext>
                </a:extLst>
              </a:tr>
              <a:tr h="938908">
                <a:tc>
                  <a:txBody>
                    <a:bodyPr/>
                    <a:lstStyle/>
                    <a:p>
                      <a:pPr marL="93663" indent="0" algn="l" defTabSz="914400" rtl="0" eaLnBrk="1" fontAlgn="ctr" latinLnBrk="0" hangingPunct="1">
                        <a:lnSpc>
                          <a:spcPct val="120000"/>
                        </a:lnSpc>
                        <a:buFont typeface="Arial" panose="020B0604020202020204" pitchFamily="34" charset="0"/>
                        <a:buNone/>
                      </a:pPr>
                      <a:r>
                        <a:rPr lang="en-ZA" sz="1200" b="1" i="0" u="none" strike="noStrike" kern="1200" dirty="0">
                          <a:solidFill>
                            <a:srgbClr val="000000"/>
                          </a:solidFill>
                          <a:effectLst/>
                          <a:latin typeface="Arial" panose="020B0604020202020204" pitchFamily="34" charset="0"/>
                          <a:ea typeface="+mn-ea"/>
                          <a:cs typeface="Arial" panose="020B0604020202020204" pitchFamily="34" charset="0"/>
                        </a:rPr>
                        <a:t>Consolidation</a:t>
                      </a:r>
                    </a:p>
                    <a:p>
                      <a:pPr marL="93663" indent="0" algn="l" defTabSz="914400" rtl="0" eaLnBrk="1" fontAlgn="ctr" latinLnBrk="0" hangingPunct="1">
                        <a:lnSpc>
                          <a:spcPct val="120000"/>
                        </a:lnSpc>
                        <a:buFont typeface="Arial" panose="020B0604020202020204" pitchFamily="34" charset="0"/>
                        <a:buNone/>
                      </a:pPr>
                      <a:r>
                        <a:rPr lang="en-ZA" sz="1200" b="1" i="0" u="none" strike="noStrike" kern="1200" dirty="0">
                          <a:solidFill>
                            <a:srgbClr val="000000"/>
                          </a:solidFill>
                          <a:effectLst/>
                          <a:latin typeface="Arial" panose="020B0604020202020204" pitchFamily="34" charset="0"/>
                          <a:ea typeface="+mn-ea"/>
                          <a:cs typeface="Arial" panose="020B0604020202020204" pitchFamily="34" charset="0"/>
                        </a:rPr>
                        <a:t>&amp;  Turnaround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3663" indent="0" algn="ctr" defTabSz="914400" rtl="0" eaLnBrk="1" fontAlgn="ctr" latinLnBrk="0" hangingPunct="1">
                        <a:lnSpc>
                          <a:spcPct val="120000"/>
                        </a:lnSpc>
                        <a:buFont typeface="Arial" panose="020B0604020202020204" pitchFamily="34" charset="0"/>
                        <a:buNone/>
                      </a:pPr>
                      <a:r>
                        <a:rPr lang="en-US" sz="1200" b="1" i="0" u="none" strike="noStrike" kern="1200" dirty="0">
                          <a:solidFill>
                            <a:srgbClr val="000000"/>
                          </a:solidFill>
                          <a:effectLst/>
                          <a:latin typeface="Arial" panose="020B0604020202020204" pitchFamily="34" charset="0"/>
                          <a:ea typeface="+mn-ea"/>
                          <a:cs typeface="Arial" panose="020B0604020202020204" pitchFamily="34" charset="0"/>
                        </a:rPr>
                        <a:t>20%</a:t>
                      </a:r>
                      <a:endParaRPr lang="en-ZA" sz="12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3663" indent="0" algn="l" defTabSz="914400" rtl="0" eaLnBrk="1" fontAlgn="ctr" latinLnBrk="0" hangingPunct="1">
                        <a:lnSpc>
                          <a:spcPct val="120000"/>
                        </a:lnSpc>
                        <a:buFont typeface="Arial" panose="020B0604020202020204" pitchFamily="34" charset="0"/>
                        <a:buNone/>
                      </a:pPr>
                      <a:r>
                        <a:rPr lang="en-ZA" sz="1200" b="0" i="0" u="none" strike="noStrike" kern="1200" noProof="0" dirty="0">
                          <a:solidFill>
                            <a:srgbClr val="000000"/>
                          </a:solidFill>
                          <a:effectLst/>
                          <a:latin typeface="Arial" panose="020B0604020202020204" pitchFamily="34" charset="0"/>
                          <a:ea typeface="+mn-ea"/>
                          <a:cs typeface="Arial" panose="020B0604020202020204" pitchFamily="34" charset="0"/>
                        </a:rPr>
                        <a:t>Optimisation of Group synergies and sustained shareholder value creation for improved strategic relevance  &amp;and turnaround PetroSA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Revenue Growth Rate</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PetroSA Turnaround Plan M&amp; E (Oversight)</a:t>
                      </a:r>
                      <a:r>
                        <a:rPr lang="en-US" sz="1200" b="0" i="0" u="none" strike="noStrike" kern="1200" baseline="0" noProof="0" dirty="0">
                          <a:solidFill>
                            <a:srgbClr val="000000"/>
                          </a:solidFill>
                          <a:effectLst/>
                          <a:latin typeface="Arial" panose="020B0604020202020204" pitchFamily="34" charset="0"/>
                          <a:ea typeface="+mn-ea"/>
                          <a:cs typeface="Arial" panose="020B0604020202020204" pitchFamily="34" charset="0"/>
                        </a:rPr>
                        <a:t> </a:t>
                      </a:r>
                      <a:endPar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endParaRP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Operating Cost reduction</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Market Shar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5% Growth in Market Share</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20% reduction on Overhead Costs</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Target Operating Model</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10% Growth in Revenu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67665548"/>
                  </a:ext>
                </a:extLst>
              </a:tr>
              <a:tr h="898905">
                <a:tc>
                  <a:txBody>
                    <a:bodyPr/>
                    <a:lstStyle/>
                    <a:p>
                      <a:pPr marL="93663" indent="0" algn="l" fontAlgn="b">
                        <a:lnSpc>
                          <a:spcPct val="120000"/>
                        </a:lnSpc>
                        <a:buFont typeface="Arial" panose="020B0604020202020204" pitchFamily="34" charset="0"/>
                        <a:buNone/>
                      </a:pPr>
                      <a:r>
                        <a:rPr lang="en-ZA" sz="1200" b="1" i="0" u="none" strike="noStrike" dirty="0">
                          <a:solidFill>
                            <a:srgbClr val="000000"/>
                          </a:solidFill>
                          <a:effectLst/>
                          <a:latin typeface="Arial" panose="020B0604020202020204" pitchFamily="34" charset="0"/>
                          <a:cs typeface="Arial" panose="020B0604020202020204" pitchFamily="34" charset="0"/>
                        </a:rPr>
                        <a:t>Commercial Sustainabilit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3663" indent="0" algn="ctr" fontAlgn="b">
                        <a:lnSpc>
                          <a:spcPct val="120000"/>
                        </a:lnSpc>
                        <a:buFont typeface="Arial" panose="020B0604020202020204" pitchFamily="34" charset="0"/>
                        <a:buNone/>
                      </a:pPr>
                      <a:r>
                        <a:rPr lang="en-US" sz="1200" b="1" i="0" u="none" strike="noStrike" dirty="0">
                          <a:solidFill>
                            <a:srgbClr val="000000"/>
                          </a:solidFill>
                          <a:effectLst/>
                          <a:latin typeface="Arial" panose="020B0604020202020204" pitchFamily="34" charset="0"/>
                          <a:cs typeface="Arial" panose="020B0604020202020204" pitchFamily="34" charset="0"/>
                        </a:rPr>
                        <a:t>3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3663" indent="0" algn="l" fontAlgn="b">
                        <a:lnSpc>
                          <a:spcPct val="120000"/>
                        </a:lnSpc>
                        <a:buFont typeface="Arial" panose="020B0604020202020204" pitchFamily="34" charset="0"/>
                        <a:buNone/>
                      </a:pPr>
                      <a:r>
                        <a:rPr lang="en-US" sz="1200" b="0" i="0" u="none" strike="noStrike" dirty="0">
                          <a:solidFill>
                            <a:srgbClr val="000000"/>
                          </a:solidFill>
                          <a:effectLst/>
                          <a:latin typeface="Arial" panose="020B0604020202020204" pitchFamily="34" charset="0"/>
                          <a:cs typeface="Arial" panose="020B0604020202020204" pitchFamily="34" charset="0"/>
                        </a:rPr>
                        <a:t>Improve Profitability to achieve a return equivalent to the cost of capital</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ROA</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Margins</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Organic Growth</a:t>
                      </a:r>
                      <a:b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br>
                      <a:endParaRPr lang="en-US"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R4B  return by 2025</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Gross Margin (22%)</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Plant availability : 95%</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Meet 80% Production Target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892303072"/>
                  </a:ext>
                </a:extLst>
              </a:tr>
              <a:tr h="1133632">
                <a:tc>
                  <a:txBody>
                    <a:bodyPr/>
                    <a:lstStyle/>
                    <a:p>
                      <a:pPr marL="93663" indent="0" algn="l" fontAlgn="ctr">
                        <a:lnSpc>
                          <a:spcPct val="120000"/>
                        </a:lnSpc>
                        <a:buFont typeface="Arial" panose="020B0604020202020204" pitchFamily="34" charset="0"/>
                        <a:buNone/>
                      </a:pPr>
                      <a:r>
                        <a:rPr lang="en-ZA" sz="1200" b="1" i="0" u="none" strike="noStrike" dirty="0">
                          <a:solidFill>
                            <a:schemeClr val="tx1"/>
                          </a:solidFill>
                          <a:effectLst/>
                          <a:latin typeface="Arial" panose="020B0604020202020204" pitchFamily="34" charset="0"/>
                          <a:cs typeface="Arial" panose="020B0604020202020204" pitchFamily="34" charset="0"/>
                        </a:rPr>
                        <a:t>Strategy &amp; Long-term Growth</a:t>
                      </a:r>
                    </a:p>
                  </a:txBody>
                  <a:tcPr marL="0" marR="0" marT="0"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3663" indent="0" algn="ctr" fontAlgn="ctr">
                        <a:lnSpc>
                          <a:spcPct val="120000"/>
                        </a:lnSpc>
                        <a:buFont typeface="Arial" panose="020B0604020202020204" pitchFamily="34" charset="0"/>
                        <a:buNone/>
                      </a:pPr>
                      <a:r>
                        <a:rPr lang="en-US" sz="1200" b="0" i="0" u="none" strike="noStrike" dirty="0">
                          <a:solidFill>
                            <a:schemeClr val="tx1"/>
                          </a:solidFill>
                          <a:effectLst/>
                          <a:latin typeface="Arial" panose="020B0604020202020204" pitchFamily="34" charset="0"/>
                          <a:cs typeface="Arial" panose="020B0604020202020204" pitchFamily="34" charset="0"/>
                        </a:rPr>
                        <a:t>3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3663" indent="0" algn="l" fontAlgn="ctr">
                        <a:lnSpc>
                          <a:spcPct val="120000"/>
                        </a:lnSpc>
                        <a:buFont typeface="Arial" panose="020B0604020202020204" pitchFamily="34" charset="0"/>
                        <a:buNone/>
                      </a:pPr>
                      <a:r>
                        <a:rPr lang="en-US" sz="1200" b="0" i="0" u="none" strike="noStrike" dirty="0">
                          <a:solidFill>
                            <a:schemeClr val="tx1"/>
                          </a:solidFill>
                          <a:effectLst/>
                          <a:latin typeface="Arial" panose="020B0604020202020204" pitchFamily="34" charset="0"/>
                          <a:cs typeface="Arial" panose="020B0604020202020204" pitchFamily="34" charset="0"/>
                        </a:rPr>
                        <a:t>Integrated strategy &amp; Growth to drive long-term commercial sustainability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ROI </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New Business Development conversation rate </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Market share</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Brand Reputat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R1B from dividend from new business</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New Business Development  conversation rate of 5%</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Brand Reputation Score of 75</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Arial" panose="020B0604020202020204" pitchFamily="34" charset="0"/>
                        </a:rPr>
                        <a:t>5% Market Share</a:t>
                      </a:r>
                    </a:p>
                    <a:p>
                      <a:pPr marL="93662" indent="0" algn="l" defTabSz="914400" rtl="0" eaLnBrk="1" fontAlgn="b" latinLnBrk="0" hangingPunct="1">
                        <a:lnSpc>
                          <a:spcPct val="120000"/>
                        </a:lnSpc>
                        <a:buClr>
                          <a:srgbClr val="FF6600"/>
                        </a:buClr>
                        <a:buFont typeface="Arial" panose="020B0604020202020204" pitchFamily="34" charset="0"/>
                        <a:buNone/>
                      </a:pPr>
                      <a:endParaRPr lang="en-US" sz="12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649797800"/>
                  </a:ext>
                </a:extLst>
              </a:tr>
              <a:tr h="1133632">
                <a:tc>
                  <a:txBody>
                    <a:bodyPr/>
                    <a:lstStyle/>
                    <a:p>
                      <a:pPr marL="93663" indent="0" algn="l" defTabSz="914400" rtl="0" eaLnBrk="1" fontAlgn="ctr" latinLnBrk="0" hangingPunct="1">
                        <a:lnSpc>
                          <a:spcPct val="120000"/>
                        </a:lnSpc>
                        <a:buFont typeface="Arial" panose="020B0604020202020204" pitchFamily="34" charset="0"/>
                        <a:buNone/>
                      </a:pPr>
                      <a:r>
                        <a:rPr lang="en-ZA" sz="1200" b="1" i="0" u="none" strike="noStrike" kern="1200" dirty="0">
                          <a:solidFill>
                            <a:srgbClr val="000000"/>
                          </a:solidFill>
                          <a:effectLst/>
                          <a:latin typeface="Arial" panose="020B0604020202020204" pitchFamily="34" charset="0"/>
                          <a:ea typeface="+mn-ea"/>
                          <a:cs typeface="Arial" panose="020B0604020202020204" pitchFamily="34" charset="0"/>
                        </a:rPr>
                        <a:t>Human Performance  &amp; Organisational Alignment</a:t>
                      </a:r>
                    </a:p>
                  </a:txBody>
                  <a:tcPr marL="0" marR="0" marT="0"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3663" indent="0" algn="ctr" defTabSz="914400" rtl="0" eaLnBrk="1" fontAlgn="ctr" latinLnBrk="0" hangingPunct="1">
                        <a:lnSpc>
                          <a:spcPct val="120000"/>
                        </a:lnSpc>
                        <a:buFont typeface="Arial" panose="020B0604020202020204" pitchFamily="34" charset="0"/>
                        <a:buNone/>
                      </a:pPr>
                      <a:r>
                        <a:rPr lang="en-US" sz="1200" b="1" i="0" u="none" strike="noStrike" kern="1200" dirty="0">
                          <a:solidFill>
                            <a:srgbClr val="000000"/>
                          </a:solidFill>
                          <a:effectLst/>
                          <a:latin typeface="Arial" panose="020B0604020202020204" pitchFamily="34" charset="0"/>
                          <a:ea typeface="+mn-ea"/>
                          <a:cs typeface="Arial" panose="020B0604020202020204" pitchFamily="34" charset="0"/>
                        </a:rPr>
                        <a:t>10%</a:t>
                      </a:r>
                      <a:endParaRPr lang="en-ZA" sz="12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3663" indent="0" algn="l" defTabSz="914400" rtl="0" eaLnBrk="1" fontAlgn="ctr" latinLnBrk="0" hangingPunct="1">
                        <a:lnSpc>
                          <a:spcPct val="120000"/>
                        </a:lnSpc>
                        <a:buFont typeface="Arial" panose="020B0604020202020204" pitchFamily="34" charset="0"/>
                        <a:buNone/>
                      </a:pPr>
                      <a:r>
                        <a:rPr lang="en-ZA" sz="1200" b="0" i="0" u="none" strike="noStrike" kern="1200" noProof="0" dirty="0">
                          <a:solidFill>
                            <a:srgbClr val="000000"/>
                          </a:solidFill>
                          <a:effectLst/>
                          <a:latin typeface="Arial" panose="020B0604020202020204" pitchFamily="34" charset="0"/>
                          <a:ea typeface="+mn-ea"/>
                          <a:cs typeface="Arial" panose="020B0604020202020204" pitchFamily="34" charset="0"/>
                        </a:rPr>
                        <a:t>Sustained superior  business performance in the market place and the achievement of competitive advantag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Cultural  entropy</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Values alignment</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Organisational Health Index</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noProof="0" dirty="0">
                          <a:solidFill>
                            <a:srgbClr val="000000"/>
                          </a:solidFill>
                          <a:effectLst/>
                          <a:latin typeface="Arial" panose="020B0604020202020204" pitchFamily="34" charset="0"/>
                          <a:ea typeface="+mn-ea"/>
                          <a:cs typeface="Arial" panose="020B0604020202020204" pitchFamily="34" charset="0"/>
                        </a:rPr>
                        <a:t>Shared Services Implementat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Annually achieve Minimum of 75% of Corporate  Scorecard Targets</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Employee Turnover below 5%</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Human Performance ROI</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100% Delivery of Values Campaign</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20989563"/>
                  </a:ext>
                </a:extLst>
              </a:tr>
              <a:tr h="1232193">
                <a:tc>
                  <a:txBody>
                    <a:bodyPr/>
                    <a:lstStyle/>
                    <a:p>
                      <a:pPr marL="93663" indent="0" algn="l" fontAlgn="ctr">
                        <a:lnSpc>
                          <a:spcPct val="120000"/>
                        </a:lnSpc>
                        <a:buFont typeface="Arial" panose="020B0604020202020204" pitchFamily="34" charset="0"/>
                        <a:buNone/>
                      </a:pPr>
                      <a:r>
                        <a:rPr lang="en-ZA" sz="1200" b="1" i="0" u="none" strike="noStrike" dirty="0">
                          <a:solidFill>
                            <a:srgbClr val="000000"/>
                          </a:solidFill>
                          <a:effectLst/>
                          <a:latin typeface="Arial" panose="020B0604020202020204" pitchFamily="34" charset="0"/>
                          <a:cs typeface="Arial" panose="020B0604020202020204" pitchFamily="34" charset="0"/>
                        </a:rPr>
                        <a:t>Operational Efficiency</a:t>
                      </a:r>
                    </a:p>
                  </a:txBody>
                  <a:tcPr marL="0" marR="0" marT="0"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3663" indent="0" algn="ctr" fontAlgn="ctr">
                        <a:lnSpc>
                          <a:spcPct val="120000"/>
                        </a:lnSpc>
                        <a:buFont typeface="Arial" panose="020B0604020202020204" pitchFamily="34" charset="0"/>
                        <a:buNone/>
                      </a:pPr>
                      <a:r>
                        <a:rPr lang="en-US" sz="1200" b="1" i="0" u="none" strike="noStrike" dirty="0">
                          <a:solidFill>
                            <a:srgbClr val="000000"/>
                          </a:solidFill>
                          <a:effectLst/>
                          <a:latin typeface="Arial" panose="020B0604020202020204" pitchFamily="34" charset="0"/>
                          <a:cs typeface="Arial" panose="020B0604020202020204" pitchFamily="34" charset="0"/>
                        </a:rPr>
                        <a:t>1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3663" indent="0" algn="l" fontAlgn="ctr">
                        <a:lnSpc>
                          <a:spcPct val="120000"/>
                        </a:lnSpc>
                        <a:buFont typeface="Arial" panose="020B0604020202020204" pitchFamily="34" charset="0"/>
                        <a:buNone/>
                      </a:pPr>
                      <a:r>
                        <a:rPr lang="en-US" sz="1200" b="0" i="0" u="none" strike="noStrike" dirty="0">
                          <a:solidFill>
                            <a:srgbClr val="000000"/>
                          </a:solidFill>
                          <a:effectLst/>
                          <a:latin typeface="Arial" panose="020B0604020202020204" pitchFamily="34" charset="0"/>
                          <a:cs typeface="Arial" panose="020B0604020202020204" pitchFamily="34" charset="0"/>
                        </a:rPr>
                        <a:t>Increase in organisational efficiency and productivit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ZA" sz="1200" b="0" i="0" u="none" strike="noStrike" kern="1200" dirty="0">
                          <a:solidFill>
                            <a:srgbClr val="000000"/>
                          </a:solidFill>
                          <a:effectLst/>
                          <a:latin typeface="Arial" panose="020B0604020202020204" pitchFamily="34" charset="0"/>
                          <a:ea typeface="+mn-ea"/>
                          <a:cs typeface="Arial" panose="020B0604020202020204" pitchFamily="34" charset="0"/>
                        </a:rPr>
                        <a:t>Overheads / Gross Profit </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ZA" sz="1200" b="0" i="0" u="none" strike="noStrike" kern="1200" dirty="0">
                          <a:solidFill>
                            <a:srgbClr val="000000"/>
                          </a:solidFill>
                          <a:effectLst/>
                          <a:latin typeface="Arial" panose="020B0604020202020204" pitchFamily="34" charset="0"/>
                          <a:ea typeface="+mn-ea"/>
                          <a:cs typeface="Arial" panose="020B0604020202020204" pitchFamily="34" charset="0"/>
                        </a:rPr>
                        <a:t>Automation Rate</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ZA" sz="1200" b="0" i="0" u="none" strike="noStrike" kern="1200" dirty="0">
                          <a:solidFill>
                            <a:srgbClr val="000000"/>
                          </a:solidFill>
                          <a:effectLst/>
                          <a:latin typeface="Arial" panose="020B0604020202020204" pitchFamily="34" charset="0"/>
                          <a:ea typeface="+mn-ea"/>
                          <a:cs typeface="Arial" panose="020B0604020202020204" pitchFamily="34" charset="0"/>
                        </a:rPr>
                        <a:t>Support services cost/ GP</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ZA" sz="1200" b="0" i="0" u="none" strike="noStrike" kern="1200" dirty="0">
                          <a:solidFill>
                            <a:srgbClr val="000000"/>
                          </a:solidFill>
                          <a:effectLst/>
                          <a:latin typeface="Arial" panose="020B0604020202020204" pitchFamily="34" charset="0"/>
                          <a:ea typeface="+mn-ea"/>
                          <a:cs typeface="Arial" panose="020B0604020202020204" pitchFamily="34" charset="0"/>
                        </a:rPr>
                        <a:t>Digital Proficienc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indent="-84138" algn="l" defTabSz="914400" rtl="0" eaLnBrk="1" fontAlgn="b" latinLnBrk="0" hangingPunct="1">
                        <a:lnSpc>
                          <a:spcPct val="120000"/>
                        </a:lnSpc>
                        <a:buClr>
                          <a:srgbClr val="FF6600"/>
                        </a:buClr>
                        <a:buFont typeface="Arial" panose="020B0604020202020204" pitchFamily="34" charset="0"/>
                        <a:buChar char="•"/>
                      </a:pPr>
                      <a:r>
                        <a:rPr lang="en-ZA" sz="1200" b="0" i="0" u="none" strike="noStrike" kern="1200" dirty="0">
                          <a:solidFill>
                            <a:srgbClr val="000000"/>
                          </a:solidFill>
                          <a:effectLst/>
                          <a:latin typeface="Arial" panose="020B0604020202020204" pitchFamily="34" charset="0"/>
                          <a:ea typeface="+mn-ea"/>
                          <a:cs typeface="Arial" panose="020B0604020202020204" pitchFamily="34" charset="0"/>
                        </a:rPr>
                        <a:t>80% </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ZA" sz="1200" b="0" i="0" u="none" strike="noStrike" kern="1200" dirty="0">
                          <a:solidFill>
                            <a:srgbClr val="000000"/>
                          </a:solidFill>
                          <a:effectLst/>
                          <a:latin typeface="Arial" panose="020B0604020202020204" pitchFamily="34" charset="0"/>
                          <a:ea typeface="+mn-ea"/>
                          <a:cs typeface="Arial" panose="020B0604020202020204" pitchFamily="34" charset="0"/>
                        </a:rPr>
                        <a:t>95% Automation</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Support services cost/ GP of 2.5% </a:t>
                      </a:r>
                    </a:p>
                    <a:p>
                      <a:pPr marL="177800" indent="-84138" algn="l" defTabSz="914400" rtl="0" eaLnBrk="1" fontAlgn="b" latinLnBrk="0" hangingPunct="1">
                        <a:lnSpc>
                          <a:spcPct val="120000"/>
                        </a:lnSpc>
                        <a:buClr>
                          <a:srgbClr val="FF6600"/>
                        </a:buClr>
                        <a:buFont typeface="Arial" panose="020B0604020202020204" pitchFamily="34" charset="0"/>
                        <a:buChar char="•"/>
                      </a:pPr>
                      <a:r>
                        <a:rPr lang="en-US" sz="1200" b="0" i="0" u="none" strike="noStrike" kern="1200" dirty="0">
                          <a:solidFill>
                            <a:srgbClr val="000000"/>
                          </a:solidFill>
                          <a:effectLst/>
                          <a:latin typeface="Arial" panose="020B0604020202020204" pitchFamily="34" charset="0"/>
                          <a:ea typeface="+mn-ea"/>
                          <a:cs typeface="Arial" panose="020B0604020202020204" pitchFamily="34" charset="0"/>
                        </a:rPr>
                        <a:t>Digital Proficiency &gt; 50% by 2025</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463116223"/>
                  </a:ext>
                </a:extLst>
              </a:tr>
            </a:tbl>
          </a:graphicData>
        </a:graphic>
      </p:graphicFrame>
      <mc:AlternateContent xmlns:mc="http://schemas.openxmlformats.org/markup-compatibility/2006">
        <mc:Choice xmlns:p14="http://schemas.microsoft.com/office/powerpoint/2010/main" xmlns="" Requires="p14">
          <p:contentPart p14:bwMode="auto" r:id="rId2">
            <p14:nvContentPartPr>
              <p14:cNvPr id="6" name="Entrada de lápiz 103">
                <a:extLst>
                  <a:ext uri="{FF2B5EF4-FFF2-40B4-BE49-F238E27FC236}">
                    <a16:creationId xmlns:a16="http://schemas.microsoft.com/office/drawing/2014/main" id="{68C63B56-B129-A848-8A75-F68C1E6BC63E}"/>
                  </a:ext>
                  <a:ext uri="{147F2762-F138-4A5C-976F-8EAC2B608ADB}">
                    <a16:predDERef xmlns:a16="http://schemas.microsoft.com/office/drawing/2014/main" pred="{2085829E-0EF3-B54C-AF11-C6806C95333D}"/>
                  </a:ext>
                </a:extLst>
              </p14:cNvPr>
              <p14:cNvContentPartPr/>
              <p14:nvPr/>
            </p14:nvContentPartPr>
            <p14:xfrm>
              <a:off x="11366431" y="7753902"/>
              <a:ext cx="15875" cy="12700"/>
            </p14:xfrm>
          </p:contentPart>
        </mc:Choice>
        <mc:Fallback>
          <p:pic>
            <p:nvPicPr>
              <p:cNvPr id="6" name="Entrada de lápiz 103">
                <a:extLst>
                  <a:ext uri="{FF2B5EF4-FFF2-40B4-BE49-F238E27FC236}">
                    <a16:creationId xmlns:a16="http://schemas.microsoft.com/office/drawing/2014/main" xmlns="" xmlns:p14="http://schemas.microsoft.com/office/powerpoint/2010/main" id="{68C63B56-B129-A848-8A75-F68C1E6BC63E}"/>
                  </a:ext>
                  <a:ext uri="{147F2762-F138-4A5C-976F-8EAC2B608ADB}">
                    <a16:predDERef xmlns:a16="http://schemas.microsoft.com/office/drawing/2014/main" xmlns="" xmlns:p14="http://schemas.microsoft.com/office/powerpoint/2010/main" pred="{2085829E-0EF3-B54C-AF11-C6806C95333D}"/>
                  </a:ext>
                </a:extLst>
              </p:cNvPr>
              <p:cNvPicPr/>
              <p:nvPr/>
            </p:nvPicPr>
            <p:blipFill>
              <a:blip r:embed="rId3" cstate="print"/>
              <a:stretch>
                <a:fillRect/>
              </a:stretch>
            </p:blipFill>
            <p:spPr>
              <a:xfrm>
                <a:off x="11361492" y="7748822"/>
                <a:ext cx="25400" cy="22497"/>
              </a:xfrm>
              <a:prstGeom prst="rect">
                <a:avLst/>
              </a:prstGeom>
            </p:spPr>
          </p:pic>
        </mc:Fallback>
      </mc:AlternateContent>
      <mc:AlternateContent xmlns:mc="http://schemas.openxmlformats.org/markup-compatibility/2006">
        <mc:Choice xmlns:p14="http://schemas.microsoft.com/office/powerpoint/2010/main" xmlns="" Requires="p14">
          <p:contentPart p14:bwMode="auto" r:id="rId4">
            <p14:nvContentPartPr>
              <p14:cNvPr id="7" name="Entrada de lápiz 239">
                <a:extLst>
                  <a:ext uri="{FF2B5EF4-FFF2-40B4-BE49-F238E27FC236}">
                    <a16:creationId xmlns:a16="http://schemas.microsoft.com/office/drawing/2014/main" id="{7464CC3E-4278-1844-87CA-12D1E84A976F}"/>
                  </a:ext>
                  <a:ext uri="{147F2762-F138-4A5C-976F-8EAC2B608ADB}">
                    <a16:predDERef xmlns:a16="http://schemas.microsoft.com/office/drawing/2014/main" pred="{1BF176CC-7BFB-7241-89D6-282A9A8AC63F}"/>
                  </a:ext>
                </a:extLst>
              </p14:cNvPr>
              <p14:cNvContentPartPr/>
              <p14:nvPr/>
            </p14:nvContentPartPr>
            <p14:xfrm>
              <a:off x="6473756" y="10666965"/>
              <a:ext cx="12700" cy="12700"/>
            </p14:xfrm>
          </p:contentPart>
        </mc:Choice>
        <mc:Fallback>
          <p:pic>
            <p:nvPicPr>
              <p:cNvPr id="7" name="Entrada de lápiz 239">
                <a:extLst>
                  <a:ext uri="{FF2B5EF4-FFF2-40B4-BE49-F238E27FC236}">
                    <a16:creationId xmlns:a16="http://schemas.microsoft.com/office/drawing/2014/main" xmlns="" xmlns:p14="http://schemas.microsoft.com/office/powerpoint/2010/main" id="{7464CC3E-4278-1844-87CA-12D1E84A976F}"/>
                  </a:ext>
                  <a:ext uri="{147F2762-F138-4A5C-976F-8EAC2B608ADB}">
                    <a16:predDERef xmlns:a16="http://schemas.microsoft.com/office/drawing/2014/main" xmlns="" xmlns:p14="http://schemas.microsoft.com/office/powerpoint/2010/main" pred="{1BF176CC-7BFB-7241-89D6-282A9A8AC63F}"/>
                  </a:ext>
                </a:extLst>
              </p:cNvPr>
              <p:cNvPicPr/>
              <p:nvPr/>
            </p:nvPicPr>
            <p:blipFill>
              <a:blip r:embed="rId5" cstate="print"/>
              <a:stretch>
                <a:fillRect/>
              </a:stretch>
            </p:blipFill>
            <p:spPr>
              <a:xfrm>
                <a:off x="6469039" y="10662379"/>
                <a:ext cx="22134" cy="21872"/>
              </a:xfrm>
              <a:prstGeom prst="rect">
                <a:avLst/>
              </a:prstGeom>
            </p:spPr>
          </p:pic>
        </mc:Fallback>
      </mc:AlternateContent>
      <mc:AlternateContent xmlns:mc="http://schemas.openxmlformats.org/markup-compatibility/2006">
        <mc:Choice xmlns:p14="http://schemas.microsoft.com/office/powerpoint/2010/main" xmlns="" Requires="p14">
          <p:contentPart p14:bwMode="auto" r:id="rId6">
            <p14:nvContentPartPr>
              <p14:cNvPr id="8" name="Entrada de lápiz 280">
                <a:extLst>
                  <a:ext uri="{FF2B5EF4-FFF2-40B4-BE49-F238E27FC236}">
                    <a16:creationId xmlns:a16="http://schemas.microsoft.com/office/drawing/2014/main" id="{9378B9EB-A5A9-EC42-A50E-340F16E576C9}"/>
                  </a:ext>
                  <a:ext uri="{147F2762-F138-4A5C-976F-8EAC2B608ADB}">
                    <a16:predDERef xmlns:a16="http://schemas.microsoft.com/office/drawing/2014/main" pred="{BABD048C-D8E2-FE45-90A5-FD870072BC22}"/>
                  </a:ext>
                </a:extLst>
              </p14:cNvPr>
              <p14:cNvContentPartPr/>
              <p14:nvPr/>
            </p14:nvContentPartPr>
            <p14:xfrm>
              <a:off x="7180193" y="11994115"/>
              <a:ext cx="4763" cy="0"/>
            </p14:xfrm>
          </p:contentPart>
        </mc:Choice>
        <mc:Fallback>
          <p:pic>
            <p:nvPicPr>
              <p:cNvPr id="8" name="Entrada de lápiz 280">
                <a:extLst>
                  <a:ext uri="{FF2B5EF4-FFF2-40B4-BE49-F238E27FC236}">
                    <a16:creationId xmlns:a16="http://schemas.microsoft.com/office/drawing/2014/main" xmlns="" xmlns:p14="http://schemas.microsoft.com/office/powerpoint/2010/main" id="{9378B9EB-A5A9-EC42-A50E-340F16E576C9}"/>
                  </a:ext>
                  <a:ext uri="{147F2762-F138-4A5C-976F-8EAC2B608ADB}">
                    <a16:predDERef xmlns:a16="http://schemas.microsoft.com/office/drawing/2014/main" xmlns="" xmlns:p14="http://schemas.microsoft.com/office/powerpoint/2010/main" pred="{BABD048C-D8E2-FE45-90A5-FD870072BC22}"/>
                  </a:ext>
                </a:extLst>
              </p:cNvPr>
              <p:cNvPicPr/>
              <p:nvPr/>
            </p:nvPicPr>
            <p:blipFill>
              <a:blip r:embed="rId7"/>
              <a:stretch>
                <a:fillRect/>
              </a:stretch>
            </p:blipFill>
            <p:spPr>
              <a:xfrm>
                <a:off x="7175033" y="11994115"/>
                <a:ext cx="15083" cy="0"/>
              </a:xfrm>
              <a:prstGeom prst="rect">
                <a:avLst/>
              </a:prstGeom>
            </p:spPr>
          </p:pic>
        </mc:Fallback>
      </mc:AlternateContent>
      <mc:AlternateContent xmlns:mc="http://schemas.openxmlformats.org/markup-compatibility/2006">
        <mc:Choice xmlns:p14="http://schemas.microsoft.com/office/powerpoint/2010/main" xmlns="" Requires="p14">
          <p:contentPart p14:bwMode="auto" r:id="rId8">
            <p14:nvContentPartPr>
              <p14:cNvPr id="9" name="Entrada de lápiz 308">
                <a:extLst>
                  <a:ext uri="{FF2B5EF4-FFF2-40B4-BE49-F238E27FC236}">
                    <a16:creationId xmlns:a16="http://schemas.microsoft.com/office/drawing/2014/main" id="{990F5419-CAE8-B64F-B81B-9ED7BFB91A51}"/>
                  </a:ext>
                  <a:ext uri="{147F2762-F138-4A5C-976F-8EAC2B608ADB}">
                    <a16:predDERef xmlns:a16="http://schemas.microsoft.com/office/drawing/2014/main" pred="{F88EEE85-EEB4-9F41-8379-DD95D7859DF9}"/>
                  </a:ext>
                </a:extLst>
              </p14:cNvPr>
              <p14:cNvContentPartPr/>
              <p14:nvPr/>
            </p14:nvContentPartPr>
            <p14:xfrm>
              <a:off x="10933043" y="17110627"/>
              <a:ext cx="4763" cy="0"/>
            </p14:xfrm>
          </p:contentPart>
        </mc:Choice>
        <mc:Fallback>
          <p:pic>
            <p:nvPicPr>
              <p:cNvPr id="9" name="Entrada de lápiz 308">
                <a:extLst>
                  <a:ext uri="{FF2B5EF4-FFF2-40B4-BE49-F238E27FC236}">
                    <a16:creationId xmlns:a16="http://schemas.microsoft.com/office/drawing/2014/main" xmlns="" xmlns:p14="http://schemas.microsoft.com/office/powerpoint/2010/main" id="{990F5419-CAE8-B64F-B81B-9ED7BFB91A51}"/>
                  </a:ext>
                  <a:ext uri="{147F2762-F138-4A5C-976F-8EAC2B608ADB}">
                    <a16:predDERef xmlns:a16="http://schemas.microsoft.com/office/drawing/2014/main" xmlns="" xmlns:p14="http://schemas.microsoft.com/office/powerpoint/2010/main" pred="{F88EEE85-EEB4-9F41-8379-DD95D7859DF9}"/>
                  </a:ext>
                </a:extLst>
              </p:cNvPr>
              <p:cNvPicPr/>
              <p:nvPr/>
            </p:nvPicPr>
            <p:blipFill>
              <a:blip r:embed="rId9"/>
              <a:stretch>
                <a:fillRect/>
              </a:stretch>
            </p:blipFill>
            <p:spPr>
              <a:xfrm>
                <a:off x="10928280" y="17110627"/>
                <a:ext cx="14289" cy="0"/>
              </a:xfrm>
              <a:prstGeom prst="rect">
                <a:avLst/>
              </a:prstGeom>
            </p:spPr>
          </p:pic>
        </mc:Fallback>
      </mc:AlternateContent>
      <mc:AlternateContent xmlns:mc="http://schemas.openxmlformats.org/markup-compatibility/2006">
        <mc:Choice xmlns:p14="http://schemas.microsoft.com/office/powerpoint/2010/main" xmlns="" Requires="p14">
          <p:contentPart p14:bwMode="auto" r:id="rId10">
            <p14:nvContentPartPr>
              <p14:cNvPr id="10" name="Entrada de lápiz 309">
                <a:extLst>
                  <a:ext uri="{FF2B5EF4-FFF2-40B4-BE49-F238E27FC236}">
                    <a16:creationId xmlns:a16="http://schemas.microsoft.com/office/drawing/2014/main" id="{F7E68371-F9C0-8547-A2F1-79EBFA6B42C9}"/>
                  </a:ext>
                  <a:ext uri="{147F2762-F138-4A5C-976F-8EAC2B608ADB}">
                    <a16:predDERef xmlns:a16="http://schemas.microsoft.com/office/drawing/2014/main" pred="{990F5419-CAE8-B64F-B81B-9ED7BFB91A51}"/>
                  </a:ext>
                </a:extLst>
              </p14:cNvPr>
              <p14:cNvContentPartPr/>
              <p14:nvPr/>
            </p14:nvContentPartPr>
            <p14:xfrm>
              <a:off x="10874306" y="17118565"/>
              <a:ext cx="0" cy="0"/>
            </p14:xfrm>
          </p:contentPart>
        </mc:Choice>
        <mc:Fallback>
          <p:pic>
            <p:nvPicPr>
              <p:cNvPr id="10" name="Entrada de lápiz 309">
                <a:extLst>
                  <a:ext uri="{FF2B5EF4-FFF2-40B4-BE49-F238E27FC236}">
                    <a16:creationId xmlns:a16="http://schemas.microsoft.com/office/drawing/2014/main" xmlns="" xmlns:p14="http://schemas.microsoft.com/office/powerpoint/2010/main" id="{F7E68371-F9C0-8547-A2F1-79EBFA6B42C9}"/>
                  </a:ext>
                  <a:ext uri="{147F2762-F138-4A5C-976F-8EAC2B608ADB}">
                    <a16:predDERef xmlns:a16="http://schemas.microsoft.com/office/drawing/2014/main" xmlns="" xmlns:p14="http://schemas.microsoft.com/office/powerpoint/2010/main" pred="{990F5419-CAE8-B64F-B81B-9ED7BFB91A51}"/>
                  </a:ext>
                </a:extLst>
              </p:cNvPr>
              <p:cNvPicPr/>
              <p:nvPr/>
            </p:nvPicPr>
            <p:blipFill>
              <a:blip r:embed="rId11"/>
              <a:stretch>
                <a:fillRect/>
              </a:stretch>
            </p:blipFill>
            <p:spPr>
              <a:xfrm>
                <a:off x="10874306" y="17118565"/>
                <a:ext cx="0" cy="0"/>
              </a:xfrm>
              <a:prstGeom prst="rect">
                <a:avLst/>
              </a:prstGeom>
            </p:spPr>
          </p:pic>
        </mc:Fallback>
      </mc:AlternateContent>
    </p:spTree>
    <p:extLst>
      <p:ext uri="{BB962C8B-B14F-4D97-AF65-F5344CB8AC3E}">
        <p14:creationId xmlns:p14="http://schemas.microsoft.com/office/powerpoint/2010/main" xmlns="" val="2022655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667033A-4247-4ED4-8A21-2B1E2D674746}" type="slidenum">
              <a:rPr lang="en-ZA" smtClean="0"/>
              <a:pPr/>
              <a:t>14</a:t>
            </a:fld>
            <a:endParaRPr lang="en-ZA" dirty="0"/>
          </a:p>
        </p:txBody>
      </p:sp>
      <p:sp>
        <p:nvSpPr>
          <p:cNvPr id="3" name="TextBox 2"/>
          <p:cNvSpPr txBox="1"/>
          <p:nvPr/>
        </p:nvSpPr>
        <p:spPr>
          <a:xfrm>
            <a:off x="1453243" y="1918607"/>
            <a:ext cx="10303328" cy="2554545"/>
          </a:xfrm>
          <a:prstGeom prst="rect">
            <a:avLst/>
          </a:prstGeom>
          <a:noFill/>
        </p:spPr>
        <p:txBody>
          <a:bodyPr wrap="square" rtlCol="0">
            <a:spAutoFit/>
          </a:bodyPr>
          <a:lstStyle>
            <a:defPPr>
              <a:defRPr lang="en-US"/>
            </a:defPPr>
            <a:lvl1pPr algn="ctr" defTabSz="914362" fontAlgn="auto">
              <a:spcAft>
                <a:spcPts val="0"/>
              </a:spcAft>
              <a:defRPr sz="4800" b="1">
                <a:solidFill>
                  <a:srgbClr val="4F81BD"/>
                </a:solidFill>
                <a:effectLst>
                  <a:outerShdw blurRad="38100" dist="38100" dir="2700000" algn="tl">
                    <a:srgbClr val="000000">
                      <a:alpha val="43137"/>
                    </a:srgbClr>
                  </a:outerShdw>
                </a:effectLst>
                <a:latin typeface="Eras Bold ITC" panose="020B0907030504020204" pitchFamily="34" charset="0"/>
                <a:ea typeface="Verdana" panose="020B0604030504040204" pitchFamily="34" charset="0"/>
                <a:cs typeface="+mj-cs"/>
              </a:defRPr>
            </a:lvl1pPr>
          </a:lstStyle>
          <a:p>
            <a:r>
              <a:rPr lang="en-US" sz="8000" dirty="0"/>
              <a:t>CEF Group Financial Plan</a:t>
            </a:r>
          </a:p>
        </p:txBody>
      </p:sp>
    </p:spTree>
    <p:extLst>
      <p:ext uri="{BB962C8B-B14F-4D97-AF65-F5344CB8AC3E}">
        <p14:creationId xmlns:p14="http://schemas.microsoft.com/office/powerpoint/2010/main" xmlns="" val="4022742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15F1F3-8F96-436E-A33C-1D014AE0BEAF}"/>
              </a:ext>
            </a:extLst>
          </p:cNvPr>
          <p:cNvSpPr>
            <a:spLocks noGrp="1"/>
          </p:cNvSpPr>
          <p:nvPr>
            <p:ph type="title"/>
          </p:nvPr>
        </p:nvSpPr>
        <p:spPr>
          <a:xfrm>
            <a:off x="434442" y="327030"/>
            <a:ext cx="11782384" cy="369332"/>
          </a:xfrm>
          <a:noFill/>
          <a:ln w="9525">
            <a:noFill/>
            <a:miter lim="800000"/>
            <a:headEnd/>
            <a:tailEnd/>
          </a:ln>
        </p:spPr>
        <p:txBody>
          <a:bodyPr vert="horz" wrap="square" lIns="0" tIns="0" rIns="0" bIns="0" numCol="1" rtlCol="0" anchor="ctr" anchorCtr="0" compatLnSpc="1">
            <a:prstTxWarp prst="textNoShape">
              <a:avLst/>
            </a:prstTxWarp>
            <a:spAutoFit/>
          </a:bodyPr>
          <a:lstStyle/>
          <a:p>
            <a:pPr marL="93980">
              <a:lnSpc>
                <a:spcPct val="100000"/>
              </a:lnSpc>
            </a:pPr>
            <a:r>
              <a:rPr lang="en-ZA" spc="-5" dirty="0">
                <a:solidFill>
                  <a:srgbClr val="256DBC"/>
                </a:solidFill>
                <a:latin typeface="Arial"/>
                <a:cs typeface="Arial"/>
              </a:rPr>
              <a:t>Statement of Profit/ (Loss)</a:t>
            </a:r>
          </a:p>
        </p:txBody>
      </p:sp>
      <p:sp>
        <p:nvSpPr>
          <p:cNvPr id="5" name="Slide Number Placeholder 4">
            <a:extLst>
              <a:ext uri="{FF2B5EF4-FFF2-40B4-BE49-F238E27FC236}">
                <a16:creationId xmlns:a16="http://schemas.microsoft.com/office/drawing/2014/main" xmlns="" id="{3F8C7689-2353-4865-9B73-D05149CBAB86}"/>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7" name="Rectangle 6"/>
          <p:cNvSpPr/>
          <p:nvPr/>
        </p:nvSpPr>
        <p:spPr>
          <a:xfrm>
            <a:off x="268967" y="5376636"/>
            <a:ext cx="11822339" cy="170816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charset="0"/>
                <a:ea typeface="+mn-ea"/>
                <a:cs typeface="+mn-cs"/>
              </a:rPr>
              <a:t>CEF Group is projected to generate an </a:t>
            </a:r>
            <a:r>
              <a:rPr kumimoji="0" lang="en-US" sz="1500" b="1" i="1" u="none" strike="noStrike" kern="1200" cap="none" spc="0" normalizeH="0" baseline="0" noProof="0" dirty="0">
                <a:ln>
                  <a:noFill/>
                </a:ln>
                <a:solidFill>
                  <a:srgbClr val="004074"/>
                </a:solidFill>
                <a:effectLst/>
                <a:uLnTx/>
                <a:uFillTx/>
                <a:latin typeface="Arial" charset="0"/>
                <a:ea typeface="+mn-ea"/>
                <a:cs typeface="+mn-cs"/>
              </a:rPr>
              <a:t>average net loss of R168M per annum for the first three years (2022, 2023 and 2024</a:t>
            </a:r>
            <a:r>
              <a:rPr kumimoji="0" lang="en-US" sz="1500" b="0" i="0" u="none" strike="noStrike" kern="1200" cap="none" spc="0" normalizeH="0" baseline="0" noProof="0" dirty="0">
                <a:ln>
                  <a:noFill/>
                </a:ln>
                <a:solidFill>
                  <a:srgbClr val="000000"/>
                </a:solidFill>
                <a:effectLst/>
                <a:uLnTx/>
                <a:uFillTx/>
                <a:latin typeface="Arial" charset="0"/>
                <a:ea typeface="+mn-ea"/>
                <a:cs typeface="+mn-cs"/>
              </a:rPr>
              <a:t>) of the planning period  and an average net profit of R233M per annum thereafter.  This is due to:</a:t>
            </a:r>
          </a:p>
          <a:p>
            <a:pPr marL="285750" marR="0" lvl="0" indent="-285750" algn="l" defTabSz="914400" rtl="0" eaLnBrk="1" fontAlgn="base" latinLnBrk="0" hangingPunct="1">
              <a:lnSpc>
                <a:spcPct val="100000"/>
              </a:lnSpc>
              <a:spcBef>
                <a:spcPct val="0"/>
              </a:spcBef>
              <a:spcAft>
                <a:spcPct val="0"/>
              </a:spcAft>
              <a:buClr>
                <a:srgbClr val="F18B1B"/>
              </a:buClr>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charset="0"/>
                <a:ea typeface="+mn-ea"/>
                <a:cs typeface="+mn-cs"/>
              </a:rPr>
              <a:t>The average net loss for PetroSA for the first years is </a:t>
            </a:r>
            <a:r>
              <a:rPr kumimoji="0" lang="en-US" sz="1500" b="1" i="1" u="none" strike="noStrike" kern="1200" cap="none" spc="0" normalizeH="0" baseline="0" noProof="0" dirty="0">
                <a:ln>
                  <a:noFill/>
                </a:ln>
                <a:solidFill>
                  <a:srgbClr val="004074"/>
                </a:solidFill>
                <a:effectLst/>
                <a:uLnTx/>
                <a:uFillTx/>
                <a:latin typeface="Arial" charset="0"/>
                <a:ea typeface="+mn-ea"/>
                <a:cs typeface="+mn-cs"/>
              </a:rPr>
              <a:t>R825M per annum</a:t>
            </a:r>
            <a:r>
              <a:rPr kumimoji="0" lang="en-US" sz="1500" b="0" i="0" u="none" strike="noStrike" kern="1200" cap="none" spc="0" normalizeH="0" baseline="0" noProof="0" dirty="0">
                <a:ln>
                  <a:noFill/>
                </a:ln>
                <a:solidFill>
                  <a:srgbClr val="000000"/>
                </a:solidFill>
                <a:effectLst/>
                <a:uLnTx/>
                <a:uFillTx/>
                <a:latin typeface="Arial" charset="0"/>
                <a:ea typeface="+mn-ea"/>
                <a:cs typeface="+mn-cs"/>
              </a:rPr>
              <a:t>. The net losses are mainly driven by the sub optimal performance of the </a:t>
            </a:r>
            <a:r>
              <a:rPr kumimoji="0" lang="en-US" sz="1500" b="1" i="1" u="none" strike="noStrike" kern="1200" cap="none" spc="0" normalizeH="0" baseline="0" noProof="0" dirty="0">
                <a:ln>
                  <a:noFill/>
                </a:ln>
                <a:solidFill>
                  <a:srgbClr val="004074"/>
                </a:solidFill>
                <a:effectLst/>
                <a:uLnTx/>
                <a:uFillTx/>
                <a:latin typeface="Arial" charset="0"/>
                <a:ea typeface="+mn-ea"/>
                <a:cs typeface="+mn-cs"/>
              </a:rPr>
              <a:t>GTL refinery and low oil price </a:t>
            </a:r>
            <a:r>
              <a:rPr kumimoji="0" lang="en-US" sz="1500" b="0" i="1" u="none" strike="noStrike" kern="1200" cap="none" spc="0" normalizeH="0" baseline="0" noProof="0" dirty="0">
                <a:ln>
                  <a:noFill/>
                </a:ln>
                <a:solidFill>
                  <a:srgbClr val="000000"/>
                </a:solidFill>
                <a:effectLst/>
                <a:uLnTx/>
                <a:uFillTx/>
                <a:latin typeface="Arial" charset="0"/>
                <a:ea typeface="+mn-ea"/>
                <a:cs typeface="+mn-cs"/>
              </a:rPr>
              <a:t>pr</a:t>
            </a:r>
            <a:r>
              <a:rPr kumimoji="0" lang="en-US" sz="1500" b="0" i="0" u="none" strike="noStrike" kern="1200" cap="none" spc="0" normalizeH="0" baseline="0" noProof="0" dirty="0">
                <a:ln>
                  <a:noFill/>
                </a:ln>
                <a:solidFill>
                  <a:srgbClr val="000000"/>
                </a:solidFill>
                <a:effectLst/>
                <a:uLnTx/>
                <a:uFillTx/>
                <a:latin typeface="Arial" charset="0"/>
                <a:ea typeface="+mn-ea"/>
                <a:cs typeface="+mn-cs"/>
              </a:rPr>
              <a:t>ojections for PetroSA Ghana. (Oil prices have however risen lately)</a:t>
            </a:r>
          </a:p>
          <a:p>
            <a:pPr marL="285750" marR="0" lvl="0" indent="-285750" algn="l" defTabSz="914400" rtl="0" eaLnBrk="1" fontAlgn="base" latinLnBrk="0" hangingPunct="1">
              <a:lnSpc>
                <a:spcPct val="100000"/>
              </a:lnSpc>
              <a:spcBef>
                <a:spcPct val="0"/>
              </a:spcBef>
              <a:spcAft>
                <a:spcPct val="0"/>
              </a:spcAft>
              <a:buClr>
                <a:srgbClr val="F18B1B"/>
              </a:buClr>
              <a:buSzTx/>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charset="0"/>
                <a:ea typeface="+mn-ea"/>
                <a:cs typeface="+mn-cs"/>
              </a:rPr>
              <a:t>CEF SOC is expected to generate an average </a:t>
            </a:r>
            <a:r>
              <a:rPr kumimoji="0" lang="en-US" sz="1500" b="1" i="1" u="none" strike="noStrike" kern="1200" cap="none" spc="0" normalizeH="0" baseline="0" noProof="0" dirty="0">
                <a:ln>
                  <a:noFill/>
                </a:ln>
                <a:solidFill>
                  <a:srgbClr val="004074"/>
                </a:solidFill>
                <a:effectLst/>
                <a:uLnTx/>
                <a:uFillTx/>
                <a:latin typeface="Arial" charset="0"/>
                <a:ea typeface="+mn-ea"/>
                <a:cs typeface="+mn-cs"/>
              </a:rPr>
              <a:t>net loss of R227M per annum </a:t>
            </a:r>
            <a:r>
              <a:rPr kumimoji="0" lang="en-US" sz="1500" b="0" i="0" u="none" strike="noStrike" kern="1200" cap="none" spc="0" normalizeH="0" baseline="0" noProof="0" dirty="0">
                <a:ln>
                  <a:noFill/>
                </a:ln>
                <a:solidFill>
                  <a:srgbClr val="000000"/>
                </a:solidFill>
                <a:effectLst/>
                <a:uLnTx/>
                <a:uFillTx/>
                <a:latin typeface="Arial" charset="0"/>
                <a:ea typeface="+mn-ea"/>
                <a:cs typeface="+mn-cs"/>
              </a:rPr>
              <a:t>over the planning period due to the escalating operating costs and low income generated to fund the escalating operational cost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5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3" name="Picture 2"/>
          <p:cNvPicPr>
            <a:picLocks noChangeAspect="1"/>
          </p:cNvPicPr>
          <p:nvPr/>
        </p:nvPicPr>
        <p:blipFill>
          <a:blip r:embed="rId2" cstate="print"/>
          <a:stretch>
            <a:fillRect/>
          </a:stretch>
        </p:blipFill>
        <p:spPr>
          <a:xfrm>
            <a:off x="434442" y="806245"/>
            <a:ext cx="11656864" cy="4414684"/>
          </a:xfrm>
          <a:prstGeom prst="rect">
            <a:avLst/>
          </a:prstGeom>
          <a:ln>
            <a:solidFill>
              <a:schemeClr val="tx1"/>
            </a:solidFill>
          </a:ln>
        </p:spPr>
      </p:pic>
    </p:spTree>
    <p:extLst>
      <p:ext uri="{BB962C8B-B14F-4D97-AF65-F5344CB8AC3E}">
        <p14:creationId xmlns:p14="http://schemas.microsoft.com/office/powerpoint/2010/main" xmlns="" val="14342622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442" y="442401"/>
            <a:ext cx="11782384" cy="369332"/>
          </a:xfrm>
          <a:noFill/>
          <a:ln w="9525">
            <a:noFill/>
            <a:miter lim="800000"/>
            <a:headEnd/>
            <a:tailEnd/>
          </a:ln>
        </p:spPr>
        <p:txBody>
          <a:bodyPr vert="horz" wrap="square" lIns="0" tIns="0" rIns="0" bIns="0" numCol="1" rtlCol="0" anchor="ctr" anchorCtr="0" compatLnSpc="1">
            <a:prstTxWarp prst="textNoShape">
              <a:avLst/>
            </a:prstTxWarp>
            <a:spAutoFit/>
          </a:bodyPr>
          <a:lstStyle/>
          <a:p>
            <a:pPr marL="93980">
              <a:lnSpc>
                <a:spcPct val="100000"/>
              </a:lnSpc>
            </a:pPr>
            <a:r>
              <a:rPr lang="en-US" spc="-5" dirty="0">
                <a:solidFill>
                  <a:srgbClr val="256DBC"/>
                </a:solidFill>
                <a:latin typeface="Arial"/>
                <a:cs typeface="Arial"/>
              </a:rPr>
              <a:t>Statement of Profit/Loss for 2021/22 by company</a:t>
            </a:r>
            <a:endParaRPr lang="en-ZA" spc="-5" dirty="0">
              <a:solidFill>
                <a:srgbClr val="256DBC"/>
              </a:solidFill>
              <a:latin typeface="Arial"/>
              <a:cs typeface="Arial"/>
            </a:endParaRPr>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pic>
        <p:nvPicPr>
          <p:cNvPr id="6" name="Picture 5"/>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67634" y="1106715"/>
            <a:ext cx="11916000" cy="5112000"/>
          </a:xfrm>
          <a:prstGeom prst="rect">
            <a:avLst/>
          </a:prstGeom>
          <a:noFill/>
          <a:ln>
            <a:solidFill>
              <a:sysClr val="windowText" lastClr="000000"/>
            </a:solidFill>
          </a:ln>
        </p:spPr>
      </p:pic>
      <p:sp>
        <p:nvSpPr>
          <p:cNvPr id="9" name="Rectangle 8"/>
          <p:cNvSpPr/>
          <p:nvPr/>
        </p:nvSpPr>
        <p:spPr>
          <a:xfrm>
            <a:off x="268966" y="6218715"/>
            <a:ext cx="11152869"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The Group cash operating expenditure is expected to increase in 2022 to R2.7B mainly due, to Research and development, exploration (SFF South Sudan), acquisitions, sponsorships, consulting fees. </a:t>
            </a:r>
            <a:endParaRPr kumimoji="0" lang="en-ZA" sz="1400" b="0" i="0" u="none" strike="noStrike" kern="1200" cap="none" spc="0" normalizeH="0" baseline="0" noProof="0" dirty="0">
              <a:ln>
                <a:noFill/>
              </a:ln>
              <a:solidFill>
                <a:srgbClr val="FF0000"/>
              </a:solidFill>
              <a:effectLst/>
              <a:uLnTx/>
              <a:uFillTx/>
              <a:latin typeface="Arial" charset="0"/>
              <a:ea typeface="+mn-ea"/>
              <a:cs typeface="+mn-cs"/>
            </a:endParaRPr>
          </a:p>
        </p:txBody>
      </p:sp>
    </p:spTree>
    <p:extLst>
      <p:ext uri="{BB962C8B-B14F-4D97-AF65-F5344CB8AC3E}">
        <p14:creationId xmlns:p14="http://schemas.microsoft.com/office/powerpoint/2010/main" xmlns="" val="1570135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577" y="281817"/>
            <a:ext cx="11782384" cy="369332"/>
          </a:xfrm>
          <a:noFill/>
          <a:ln w="9525">
            <a:noFill/>
            <a:miter lim="800000"/>
            <a:headEnd/>
            <a:tailEnd/>
          </a:ln>
        </p:spPr>
        <p:txBody>
          <a:bodyPr vert="horz" wrap="square" lIns="0" tIns="0" rIns="0" bIns="0" numCol="1" rtlCol="0" anchor="ctr" anchorCtr="0" compatLnSpc="1">
            <a:prstTxWarp prst="textNoShape">
              <a:avLst/>
            </a:prstTxWarp>
            <a:spAutoFit/>
          </a:bodyPr>
          <a:lstStyle/>
          <a:p>
            <a:pPr marL="93980">
              <a:lnSpc>
                <a:spcPct val="100000"/>
              </a:lnSpc>
            </a:pPr>
            <a:r>
              <a:rPr lang="en-ZA" spc="-5" dirty="0">
                <a:solidFill>
                  <a:srgbClr val="256DBC"/>
                </a:solidFill>
                <a:latin typeface="Arial"/>
                <a:cs typeface="Arial"/>
              </a:rPr>
              <a:t>Statement of financial position</a:t>
            </a:r>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pic>
        <p:nvPicPr>
          <p:cNvPr id="6" name="Picture 5"/>
          <p:cNvPicPr/>
          <p:nvPr/>
        </p:nvPicPr>
        <p:blipFill rotWithShape="1">
          <a:blip r:embed="rId2" cstate="print">
            <a:extLst>
              <a:ext uri="{28A0092B-C50C-407E-A947-70E740481C1C}">
                <a14:useLocalDpi xmlns:a14="http://schemas.microsoft.com/office/drawing/2010/main" xmlns="" val="0"/>
              </a:ext>
            </a:extLst>
          </a:blip>
          <a:srcRect b="50085"/>
          <a:stretch/>
        </p:blipFill>
        <p:spPr bwMode="auto">
          <a:xfrm>
            <a:off x="0" y="730332"/>
            <a:ext cx="6158827" cy="5290229"/>
          </a:xfrm>
          <a:prstGeom prst="rect">
            <a:avLst/>
          </a:prstGeom>
          <a:noFill/>
          <a:ln>
            <a:solidFill>
              <a:sysClr val="windowText" lastClr="000000"/>
            </a:solidFill>
          </a:ln>
        </p:spPr>
      </p:pic>
      <p:pic>
        <p:nvPicPr>
          <p:cNvPr id="7" name="Picture 6"/>
          <p:cNvPicPr/>
          <p:nvPr/>
        </p:nvPicPr>
        <p:blipFill rotWithShape="1">
          <a:blip r:embed="rId2" cstate="print">
            <a:extLst>
              <a:ext uri="{28A0092B-C50C-407E-A947-70E740481C1C}">
                <a14:useLocalDpi xmlns:a14="http://schemas.microsoft.com/office/drawing/2010/main" xmlns="" val="0"/>
              </a:ext>
            </a:extLst>
          </a:blip>
          <a:srcRect t="49283"/>
          <a:stretch/>
        </p:blipFill>
        <p:spPr bwMode="auto">
          <a:xfrm>
            <a:off x="6305330" y="730331"/>
            <a:ext cx="6206559" cy="5290229"/>
          </a:xfrm>
          <a:prstGeom prst="rect">
            <a:avLst/>
          </a:prstGeom>
          <a:noFill/>
          <a:ln>
            <a:solidFill>
              <a:sysClr val="windowText" lastClr="000000"/>
            </a:solidFill>
          </a:ln>
        </p:spPr>
      </p:pic>
      <p:sp>
        <p:nvSpPr>
          <p:cNvPr id="8" name="Rectangle 7"/>
          <p:cNvSpPr/>
          <p:nvPr/>
        </p:nvSpPr>
        <p:spPr>
          <a:xfrm>
            <a:off x="146503" y="6172329"/>
            <a:ext cx="11487604"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CEF Group will not meet its targets for the operating cash flow ratio of 2:1 and total debt to equity ratio of 60% equity: 40% debt by the end of the planning period. The rehabilitation provision constitutes more than 50% of the total liabilities for the Group.</a:t>
            </a:r>
          </a:p>
        </p:txBody>
      </p:sp>
    </p:spTree>
    <p:extLst>
      <p:ext uri="{BB962C8B-B14F-4D97-AF65-F5344CB8AC3E}">
        <p14:creationId xmlns:p14="http://schemas.microsoft.com/office/powerpoint/2010/main" xmlns="" val="2713202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3E1D32B-82D0-4DF6-BD3B-4E073216F7EF}"/>
              </a:ext>
            </a:extLst>
          </p:cNvPr>
          <p:cNvSpPr>
            <a:spLocks noGrp="1"/>
          </p:cNvSpPr>
          <p:nvPr>
            <p:ph type="title"/>
          </p:nvPr>
        </p:nvSpPr>
        <p:spPr>
          <a:xfrm>
            <a:off x="434442" y="327030"/>
            <a:ext cx="11782384" cy="369332"/>
          </a:xfrm>
          <a:noFill/>
          <a:ln w="9525">
            <a:noFill/>
            <a:miter lim="800000"/>
            <a:headEnd/>
            <a:tailEnd/>
          </a:ln>
        </p:spPr>
        <p:txBody>
          <a:bodyPr vert="horz" wrap="square" lIns="0" tIns="0" rIns="0" bIns="0" numCol="1" rtlCol="0" anchor="ctr" anchorCtr="0" compatLnSpc="1">
            <a:prstTxWarp prst="textNoShape">
              <a:avLst/>
            </a:prstTxWarp>
            <a:spAutoFit/>
          </a:bodyPr>
          <a:lstStyle/>
          <a:p>
            <a:pPr marL="93980">
              <a:lnSpc>
                <a:spcPct val="100000"/>
              </a:lnSpc>
            </a:pPr>
            <a:r>
              <a:rPr lang="en-ZA" spc="-5" dirty="0">
                <a:solidFill>
                  <a:srgbClr val="256DBC"/>
                </a:solidFill>
                <a:latin typeface="Arial"/>
                <a:cs typeface="Arial"/>
              </a:rPr>
              <a:t>Statement of Cash flow</a:t>
            </a:r>
          </a:p>
        </p:txBody>
      </p:sp>
      <p:sp>
        <p:nvSpPr>
          <p:cNvPr id="5" name="Slide Number Placeholder 4">
            <a:extLst>
              <a:ext uri="{FF2B5EF4-FFF2-40B4-BE49-F238E27FC236}">
                <a16:creationId xmlns:a16="http://schemas.microsoft.com/office/drawing/2014/main" xmlns="" id="{447E1373-1320-4728-8234-107FCC1785C0}"/>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pic>
        <p:nvPicPr>
          <p:cNvPr id="4" name="Picture 3"/>
          <p:cNvPicPr>
            <a:picLocks noChangeAspect="1"/>
          </p:cNvPicPr>
          <p:nvPr/>
        </p:nvPicPr>
        <p:blipFill>
          <a:blip r:embed="rId2" cstate="print"/>
          <a:stretch>
            <a:fillRect/>
          </a:stretch>
        </p:blipFill>
        <p:spPr>
          <a:xfrm>
            <a:off x="434442" y="707383"/>
            <a:ext cx="11472530" cy="5816599"/>
          </a:xfrm>
          <a:prstGeom prst="rect">
            <a:avLst/>
          </a:prstGeom>
        </p:spPr>
      </p:pic>
    </p:spTree>
    <p:extLst>
      <p:ext uri="{BB962C8B-B14F-4D97-AF65-F5344CB8AC3E}">
        <p14:creationId xmlns:p14="http://schemas.microsoft.com/office/powerpoint/2010/main" xmlns="" val="16560116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442" y="327031"/>
            <a:ext cx="11782384" cy="315766"/>
          </a:xfrm>
        </p:spPr>
        <p:txBody>
          <a:bodyPr/>
          <a:lstStyle/>
          <a:p>
            <a:r>
              <a:rPr lang="en-US" spc="-5" dirty="0">
                <a:solidFill>
                  <a:srgbClr val="256DBC"/>
                </a:solidFill>
                <a:latin typeface="Arial"/>
                <a:cs typeface="Arial"/>
              </a:rPr>
              <a:t>Cash Flow Statement Notes</a:t>
            </a:r>
            <a:endParaRPr lang="en-ZA" spc="-5" dirty="0">
              <a:solidFill>
                <a:srgbClr val="256DBC"/>
              </a:solidFill>
              <a:latin typeface="Arial"/>
              <a:cs typeface="Arial"/>
            </a:endParaRPr>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6" name="Rectangle 5"/>
          <p:cNvSpPr/>
          <p:nvPr/>
        </p:nvSpPr>
        <p:spPr>
          <a:xfrm>
            <a:off x="106136" y="733246"/>
            <a:ext cx="12360728" cy="5730800"/>
          </a:xfrm>
          <a:prstGeom prst="rect">
            <a:avLst/>
          </a:prstGeom>
        </p:spPr>
        <p:txBody>
          <a:bodyPr wrap="square">
            <a:spAutoFit/>
          </a:bodyPr>
          <a:lstStyle/>
          <a:p>
            <a:pPr marL="0" marR="0" lvl="0" indent="0" algn="l" defTabSz="914400" rtl="0" eaLnBrk="1" fontAlgn="base" latinLnBrk="0" hangingPunct="1">
              <a:lnSpc>
                <a:spcPct val="120000"/>
              </a:lnSpc>
              <a:spcBef>
                <a:spcPts val="1200"/>
              </a:spcBef>
              <a:spcAft>
                <a:spcPts val="0"/>
              </a:spcAft>
              <a:buClrTx/>
              <a:buSzTx/>
              <a:buFontTx/>
              <a:buNone/>
              <a:tabLst/>
              <a:defRPr/>
            </a:pP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Included in the cash balance reflected in the Group Statement of cash flows is </a:t>
            </a:r>
            <a:r>
              <a:rPr kumimoji="0" lang="en-ZA" sz="1300" b="1" i="1" u="none" strike="noStrike" kern="1200" cap="none" spc="0" normalizeH="0" baseline="0" noProof="0" dirty="0">
                <a:ln>
                  <a:noFill/>
                </a:ln>
                <a:solidFill>
                  <a:srgbClr val="004074"/>
                </a:solidFill>
                <a:effectLst/>
                <a:uLnTx/>
                <a:uFillTx/>
                <a:latin typeface="Arial" panose="020B0604020202020204" pitchFamily="34" charset="0"/>
                <a:ea typeface="Calibri" panose="020F0502020204030204" pitchFamily="34" charset="0"/>
                <a:cs typeface="Times New Roman" panose="02020603050405020304" pitchFamily="18" charset="0"/>
              </a:rPr>
              <a:t>restricted cash</a:t>
            </a: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0" marR="0" lvl="0" indent="0" algn="l" defTabSz="914400" rtl="0" eaLnBrk="1" fontAlgn="base" latinLnBrk="0" hangingPunct="1">
              <a:lnSpc>
                <a:spcPct val="120000"/>
              </a:lnSpc>
              <a:spcBef>
                <a:spcPts val="1200"/>
              </a:spcBef>
              <a:spcAft>
                <a:spcPts val="0"/>
              </a:spcAft>
              <a:buClrTx/>
              <a:buSzTx/>
              <a:buFontTx/>
              <a:buNone/>
              <a:tabLst/>
              <a:defRPr/>
            </a:pPr>
            <a:r>
              <a:rPr kumimoji="0" lang="en-ZA" sz="1300" b="1" i="1" u="none" strike="noStrike" kern="1200" cap="none" spc="0" normalizeH="0" baseline="0" noProof="0" dirty="0">
                <a:ln>
                  <a:noFill/>
                </a:ln>
                <a:solidFill>
                  <a:srgbClr val="0061B2"/>
                </a:solidFill>
                <a:effectLst/>
                <a:uLnTx/>
                <a:uFillTx/>
                <a:latin typeface="Arial" panose="020B0604020202020204" pitchFamily="34" charset="0"/>
                <a:ea typeface="Calibri" panose="020F0502020204030204" pitchFamily="34" charset="0"/>
                <a:cs typeface="Arial" panose="020B0604020202020204" pitchFamily="34" charset="0"/>
              </a:rPr>
              <a:t>Cash and cash equivalents</a:t>
            </a:r>
            <a:endParaRPr kumimoji="0" lang="en-ZA" sz="1300" b="1" i="1" u="none" strike="noStrike" kern="1200" cap="none" spc="0" normalizeH="0" baseline="0" noProof="0" dirty="0">
              <a:ln>
                <a:noFill/>
              </a:ln>
              <a:solidFill>
                <a:srgbClr val="0061B2"/>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just" defTabSz="914400" rtl="0" eaLnBrk="1" fontAlgn="base" latinLnBrk="0" hangingPunct="1">
              <a:lnSpc>
                <a:spcPct val="120000"/>
              </a:lnSpc>
              <a:spcBef>
                <a:spcPts val="0"/>
              </a:spcBef>
              <a:spcAft>
                <a:spcPts val="0"/>
              </a:spcAft>
              <a:buClrTx/>
              <a:buSzTx/>
              <a:buFontTx/>
              <a:buNone/>
              <a:tabLst/>
              <a:defRPr/>
            </a:pP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 cash and cash equivalent balance will decrease from R13.7B to R3.7B over the planning period. The cash decrease of R9.6B is due to the increase in investing activities and operating losses incurred in the first two years of the planning period.</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20000"/>
              </a:lnSpc>
              <a:spcBef>
                <a:spcPts val="1200"/>
              </a:spcBef>
              <a:spcAft>
                <a:spcPts val="0"/>
              </a:spcAft>
              <a:buClrTx/>
              <a:buSzTx/>
              <a:buFontTx/>
              <a:buNone/>
              <a:tabLst/>
              <a:defRPr/>
            </a:pPr>
            <a:r>
              <a:rPr kumimoji="0" lang="en-ZA" sz="1300" b="1" i="1" u="none" strike="noStrike" kern="1200" cap="none" spc="0" normalizeH="0" baseline="0" noProof="0" dirty="0">
                <a:ln>
                  <a:noFill/>
                </a:ln>
                <a:solidFill>
                  <a:srgbClr val="0061B2"/>
                </a:solidFill>
                <a:effectLst/>
                <a:uLnTx/>
                <a:uFillTx/>
                <a:latin typeface="Arial" panose="020B0604020202020204" pitchFamily="34" charset="0"/>
                <a:ea typeface="Calibri" panose="020F0502020204030204" pitchFamily="34" charset="0"/>
                <a:cs typeface="Arial" panose="020B0604020202020204" pitchFamily="34" charset="0"/>
              </a:rPr>
              <a:t>Cash flow from operating activities</a:t>
            </a:r>
          </a:p>
          <a:p>
            <a:pPr marL="0" marR="0" lvl="0" indent="0" algn="just" defTabSz="914400" rtl="0" eaLnBrk="1" fontAlgn="base" latinLnBrk="0" hangingPunct="1">
              <a:lnSpc>
                <a:spcPct val="120000"/>
              </a:lnSpc>
              <a:spcBef>
                <a:spcPts val="0"/>
              </a:spcBef>
              <a:spcAft>
                <a:spcPts val="0"/>
              </a:spcAft>
              <a:buClrTx/>
              <a:buSzTx/>
              <a:buFontTx/>
              <a:buNone/>
              <a:tabLst/>
              <a:defRPr/>
            </a:pP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 Group will generate an average negative cash from operations of R900M per annum over the planning period. The negative cash from operations is mainly due to the operating losses generated by the PetroSA, SFF, CEF SOC and iGas.  The cash from operating activities will improve from net cash outflows of R4.6B reported in 2021 to net cash inflows of R543M by the end of the planning period due to the substantial increase in revenue and dividend income.</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20000"/>
              </a:lnSpc>
              <a:spcBef>
                <a:spcPts val="1200"/>
              </a:spcBef>
              <a:spcAft>
                <a:spcPts val="0"/>
              </a:spcAft>
              <a:buClrTx/>
              <a:buSzTx/>
              <a:buFontTx/>
              <a:buNone/>
              <a:tabLst/>
              <a:defRPr/>
            </a:pPr>
            <a:r>
              <a:rPr kumimoji="0" lang="en-ZA" sz="1300" b="1" i="1" u="none" strike="noStrike" kern="1200" cap="none" spc="0" normalizeH="0" baseline="0" noProof="0" dirty="0">
                <a:ln>
                  <a:noFill/>
                </a:ln>
                <a:solidFill>
                  <a:srgbClr val="0061B2"/>
                </a:solidFill>
                <a:effectLst/>
                <a:uLnTx/>
                <a:uFillTx/>
                <a:latin typeface="Arial" panose="020B0604020202020204" pitchFamily="34" charset="0"/>
                <a:ea typeface="Calibri" panose="020F0502020204030204" pitchFamily="34" charset="0"/>
                <a:cs typeface="Arial" panose="020B0604020202020204" pitchFamily="34" charset="0"/>
              </a:rPr>
              <a:t>Cash flow from investing activities</a:t>
            </a:r>
          </a:p>
          <a:p>
            <a:pPr marL="0" marR="0" lvl="0" indent="0" algn="just" defTabSz="914400" rtl="0" eaLnBrk="1" fontAlgn="base" latinLnBrk="0" hangingPunct="1">
              <a:lnSpc>
                <a:spcPct val="120000"/>
              </a:lnSpc>
              <a:spcBef>
                <a:spcPts val="0"/>
              </a:spcBef>
              <a:spcAft>
                <a:spcPts val="0"/>
              </a:spcAft>
              <a:buClrTx/>
              <a:buSzTx/>
              <a:buFontTx/>
              <a:buNone/>
              <a:tabLst/>
              <a:defRPr/>
            </a:pP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uring the planning period, the Group plans to invest R11B. The breakdown of the capital investment is as follows: </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base" latinLnBrk="0" hangingPunct="1">
              <a:lnSpc>
                <a:spcPct val="120000"/>
              </a:lnSpc>
              <a:spcBef>
                <a:spcPts val="1200"/>
              </a:spcBef>
              <a:spcAft>
                <a:spcPts val="0"/>
              </a:spcAft>
              <a:buClr>
                <a:srgbClr val="F18B1B"/>
              </a:buClr>
              <a:buSzTx/>
              <a:buFont typeface="Wingdings" panose="05000000000000000000" pitchFamily="2" charset="2"/>
              <a:buChar char="§"/>
              <a:tabLst/>
              <a:defRPr/>
            </a:pPr>
            <a:r>
              <a:rPr kumimoji="0" lang="en-ZA" sz="1300"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FF will invest R1.3B</a:t>
            </a: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in Milnerton tank refurbishments, LPG pipeline</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base" latinLnBrk="0" hangingPunct="1">
              <a:lnSpc>
                <a:spcPct val="120000"/>
              </a:lnSpc>
              <a:spcBef>
                <a:spcPts val="0"/>
              </a:spcBef>
              <a:spcAft>
                <a:spcPts val="0"/>
              </a:spcAft>
              <a:buClr>
                <a:srgbClr val="F18B1B"/>
              </a:buClr>
              <a:buSzTx/>
              <a:buFont typeface="Wingdings" panose="05000000000000000000" pitchFamily="2" charset="2"/>
              <a:buChar char="§"/>
              <a:tabLst/>
              <a:defRPr/>
            </a:pPr>
            <a:r>
              <a:rPr kumimoji="0" lang="en-ZA" sz="1300"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etroSA will invest R3B</a:t>
            </a: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in commercial projects</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base" latinLnBrk="0" hangingPunct="1">
              <a:lnSpc>
                <a:spcPct val="120000"/>
              </a:lnSpc>
              <a:spcBef>
                <a:spcPts val="0"/>
              </a:spcBef>
              <a:spcAft>
                <a:spcPts val="0"/>
              </a:spcAft>
              <a:buClr>
                <a:srgbClr val="F18B1B"/>
              </a:buClr>
              <a:buSzTx/>
              <a:buFont typeface="Wingdings" panose="05000000000000000000" pitchFamily="2" charset="2"/>
              <a:buChar char="§"/>
              <a:tabLst/>
              <a:defRPr/>
            </a:pPr>
            <a:r>
              <a:rPr kumimoji="0" lang="en-ZA" sz="1300"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EF SOC will invest R1.8B</a:t>
            </a: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into growth projects (acquisitions operating assets), Common IT Platform and Office building refurbishments;</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base" latinLnBrk="0" hangingPunct="1">
              <a:lnSpc>
                <a:spcPct val="120000"/>
              </a:lnSpc>
              <a:spcBef>
                <a:spcPts val="0"/>
              </a:spcBef>
              <a:spcAft>
                <a:spcPts val="0"/>
              </a:spcAft>
              <a:buClr>
                <a:srgbClr val="F18B1B"/>
              </a:buClr>
              <a:buSzTx/>
              <a:buFont typeface="Wingdings" panose="05000000000000000000" pitchFamily="2" charset="2"/>
              <a:buChar char="§"/>
              <a:tabLst/>
              <a:defRPr/>
            </a:pPr>
            <a:r>
              <a:rPr kumimoji="0" lang="en-ZA" sz="1300"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Gas will invest R4.5B into the acquisition of the additional 30% shareholding at ROMPCO; </a:t>
            </a: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nd </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20000"/>
              </a:lnSpc>
              <a:spcBef>
                <a:spcPts val="1200"/>
              </a:spcBef>
              <a:spcAft>
                <a:spcPts val="0"/>
              </a:spcAft>
              <a:buClrTx/>
              <a:buSzTx/>
              <a:buFontTx/>
              <a:buNone/>
              <a:tabLst/>
              <a:defRPr/>
            </a:pPr>
            <a:r>
              <a:rPr kumimoji="0" lang="en-ZA" sz="1300" b="1" i="1" u="none" strike="noStrike" kern="1200" cap="none" spc="0" normalizeH="0" baseline="0" noProof="0" dirty="0">
                <a:ln>
                  <a:noFill/>
                </a:ln>
                <a:solidFill>
                  <a:srgbClr val="0061B2"/>
                </a:solidFill>
                <a:effectLst/>
                <a:uLnTx/>
                <a:uFillTx/>
                <a:latin typeface="Arial" panose="020B0604020202020204" pitchFamily="34" charset="0"/>
                <a:ea typeface="Calibri" panose="020F0502020204030204" pitchFamily="34" charset="0"/>
                <a:cs typeface="Arial" panose="020B0604020202020204" pitchFamily="34" charset="0"/>
              </a:rPr>
              <a:t>Cash flow from financing activities</a:t>
            </a:r>
          </a:p>
          <a:p>
            <a:pPr marL="0" marR="0" lvl="0" indent="0" algn="just" defTabSz="914400" rtl="0" eaLnBrk="1" fontAlgn="base" latinLnBrk="0" hangingPunct="1">
              <a:lnSpc>
                <a:spcPct val="120000"/>
              </a:lnSpc>
              <a:spcBef>
                <a:spcPts val="0"/>
              </a:spcBef>
              <a:spcAft>
                <a:spcPts val="0"/>
              </a:spcAft>
              <a:buClrTx/>
              <a:buSzTx/>
              <a:buFontTx/>
              <a:buNone/>
              <a:tabLst/>
              <a:defRPr/>
            </a:pP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 Group will raise funding through the following:</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base" latinLnBrk="0" hangingPunct="1">
              <a:lnSpc>
                <a:spcPct val="120000"/>
              </a:lnSpc>
              <a:spcBef>
                <a:spcPts val="1200"/>
              </a:spcBef>
              <a:spcAft>
                <a:spcPts val="0"/>
              </a:spcAft>
              <a:buClr>
                <a:srgbClr val="F18B1B"/>
              </a:buClr>
              <a:buSzTx/>
              <a:buFont typeface="Wingdings" panose="05000000000000000000" pitchFamily="2" charset="2"/>
              <a:buChar char="§"/>
              <a:tabLst/>
              <a:defRPr/>
            </a:pPr>
            <a:r>
              <a:rPr kumimoji="0" lang="en-ZA" sz="1300"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External debt of R3.5B</a:t>
            </a: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during the planning period. The debt will be utilised to fund the growth and sustenance projects. The debt will be raised once the projects have bankable business cases. The cost of debt ranges between prime rate and prime rate plus and the repayment period will be linked to life of the project.</a:t>
            </a:r>
            <a:endPar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base" latinLnBrk="0" hangingPunct="1">
              <a:lnSpc>
                <a:spcPct val="120000"/>
              </a:lnSpc>
              <a:spcBef>
                <a:spcPts val="1200"/>
              </a:spcBef>
              <a:spcAft>
                <a:spcPts val="0"/>
              </a:spcAft>
              <a:buClr>
                <a:srgbClr val="F18B1B"/>
              </a:buClr>
              <a:buSzTx/>
              <a:buFont typeface="Wingdings" panose="05000000000000000000" pitchFamily="2" charset="2"/>
              <a:buChar char="§"/>
              <a:tabLst/>
              <a:defRPr/>
            </a:pPr>
            <a:r>
              <a:rPr kumimoji="0" lang="en-ZA" sz="1300"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Grants of R512M</a:t>
            </a:r>
            <a:r>
              <a:rPr kumimoji="0" lang="en-ZA"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PASA expects to receive a grant from National Treasury to fund shale gas and the company’s operations</a:t>
            </a:r>
            <a:endParaRPr kumimoji="0" lang="en-ZA"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xmlns="" val="4037497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467" y="327030"/>
            <a:ext cx="11782384" cy="600075"/>
          </a:xfrm>
          <a:noFill/>
          <a:ln w="9525">
            <a:noFill/>
            <a:miter lim="800000"/>
            <a:headEnd/>
            <a:tailEnd/>
          </a:ln>
        </p:spPr>
        <p:txBody>
          <a:bodyPr vert="horz" wrap="square" lIns="0" tIns="45720" rIns="0" bIns="45720" numCol="1" anchor="ctr" anchorCtr="0" compatLnSpc="1">
            <a:prstTxWarp prst="textNoShape">
              <a:avLst/>
            </a:prstTxWarp>
          </a:bodyPr>
          <a:lstStyle/>
          <a:p>
            <a:r>
              <a:rPr lang="en-ZA" sz="2800" dirty="0">
                <a:solidFill>
                  <a:schemeClr val="accent1"/>
                </a:solidFill>
              </a:rPr>
              <a:t>Table of Content</a:t>
            </a:r>
          </a:p>
        </p:txBody>
      </p:sp>
      <p:sp>
        <p:nvSpPr>
          <p:cNvPr id="3" name="Content Placeholder 2"/>
          <p:cNvSpPr>
            <a:spLocks noGrp="1"/>
          </p:cNvSpPr>
          <p:nvPr>
            <p:ph sz="half" idx="1"/>
          </p:nvPr>
        </p:nvSpPr>
        <p:spPr>
          <a:xfrm>
            <a:off x="336467" y="1328742"/>
            <a:ext cx="12081412" cy="5333315"/>
          </a:xfrm>
        </p:spPr>
        <p:txBody>
          <a:bodyPr/>
          <a:lstStyle/>
          <a:p>
            <a:pPr marL="361950" indent="-361950">
              <a:lnSpc>
                <a:spcPct val="150000"/>
              </a:lnSpc>
            </a:pPr>
            <a:r>
              <a:rPr lang="en-US" sz="2400" b="0" dirty="0"/>
              <a:t>CEF Group Overview and Internal/External Perspective</a:t>
            </a:r>
          </a:p>
          <a:p>
            <a:pPr marL="361950" indent="-361950">
              <a:lnSpc>
                <a:spcPct val="150000"/>
              </a:lnSpc>
            </a:pPr>
            <a:r>
              <a:rPr lang="en-US" sz="2400" b="0" dirty="0"/>
              <a:t>CEF Group Strategic Response &amp;  corporate planning</a:t>
            </a:r>
          </a:p>
          <a:p>
            <a:pPr marL="361950" indent="-361950">
              <a:lnSpc>
                <a:spcPct val="150000"/>
              </a:lnSpc>
            </a:pPr>
            <a:r>
              <a:rPr lang="en-US" sz="2400" b="0" dirty="0"/>
              <a:t>CEF Group Financial Plan</a:t>
            </a:r>
          </a:p>
          <a:p>
            <a:pPr marL="361950" indent="-361950">
              <a:lnSpc>
                <a:spcPct val="150000"/>
              </a:lnSpc>
            </a:pPr>
            <a:r>
              <a:rPr lang="en-US" sz="2400" b="0" dirty="0"/>
              <a:t>Broad Strategic Initiatives &amp; Risks</a:t>
            </a:r>
          </a:p>
          <a:p>
            <a:pPr marL="361950" indent="-361950">
              <a:lnSpc>
                <a:spcPct val="150000"/>
              </a:lnSpc>
            </a:pPr>
            <a:r>
              <a:rPr lang="en-US" sz="2400" b="0" dirty="0"/>
              <a:t>Update on Current Business Performance against predetermined objectives </a:t>
            </a:r>
          </a:p>
          <a:p>
            <a:pPr marL="361950" indent="-361950">
              <a:lnSpc>
                <a:spcPct val="150000"/>
              </a:lnSpc>
            </a:pPr>
            <a:r>
              <a:rPr lang="en-US" sz="2400" b="0" dirty="0"/>
              <a:t>CEF Group Implementation Action Plan to address the findings </a:t>
            </a:r>
            <a:endParaRPr lang="en-US" sz="2400" dirty="0"/>
          </a:p>
          <a:p>
            <a:endParaRPr lang="en-US" dirty="0"/>
          </a:p>
          <a:p>
            <a:endParaRPr lang="en-ZA" dirty="0"/>
          </a:p>
        </p:txBody>
      </p:sp>
      <p:sp>
        <p:nvSpPr>
          <p:cNvPr id="5" name="Slide Number Placeholder 4"/>
          <p:cNvSpPr>
            <a:spLocks noGrp="1"/>
          </p:cNvSpPr>
          <p:nvPr>
            <p:ph type="sldNum" sz="quarter" idx="4"/>
          </p:nvPr>
        </p:nvSpPr>
        <p:spPr/>
        <p:txBody>
          <a:bodyPr/>
          <a:lstStyle/>
          <a:p>
            <a:fld id="{F667033A-4247-4ED4-8A21-2B1E2D674746}" type="slidenum">
              <a:rPr lang="en-ZA" smtClean="0"/>
              <a:pPr/>
              <a:t>2</a:t>
            </a:fld>
            <a:endParaRPr lang="en-ZA" dirty="0"/>
          </a:p>
        </p:txBody>
      </p:sp>
    </p:spTree>
    <p:extLst>
      <p:ext uri="{BB962C8B-B14F-4D97-AF65-F5344CB8AC3E}">
        <p14:creationId xmlns:p14="http://schemas.microsoft.com/office/powerpoint/2010/main" xmlns="" val="42629017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667033A-4247-4ED4-8A21-2B1E2D674746}" type="slidenum">
              <a:rPr lang="en-ZA" smtClean="0"/>
              <a:pPr/>
              <a:t>20</a:t>
            </a:fld>
            <a:endParaRPr lang="en-ZA" dirty="0"/>
          </a:p>
        </p:txBody>
      </p:sp>
      <p:sp>
        <p:nvSpPr>
          <p:cNvPr id="3" name="TextBox 2"/>
          <p:cNvSpPr txBox="1"/>
          <p:nvPr/>
        </p:nvSpPr>
        <p:spPr>
          <a:xfrm>
            <a:off x="1453243" y="1918607"/>
            <a:ext cx="10303328" cy="2554545"/>
          </a:xfrm>
          <a:prstGeom prst="rect">
            <a:avLst/>
          </a:prstGeom>
          <a:noFill/>
        </p:spPr>
        <p:txBody>
          <a:bodyPr wrap="square" rtlCol="0">
            <a:spAutoFit/>
          </a:bodyPr>
          <a:lstStyle/>
          <a:p>
            <a:pPr algn="ctr" defTabSz="914362" fontAlgn="auto">
              <a:spcAft>
                <a:spcPts val="0"/>
              </a:spcAft>
              <a:defRPr/>
            </a:pPr>
            <a:r>
              <a:rPr lang="en-US" sz="8000" b="1" dirty="0">
                <a:solidFill>
                  <a:srgbClr val="4F81BD"/>
                </a:solidFill>
                <a:effectLst>
                  <a:outerShdw blurRad="38100" dist="38100" dir="2700000" algn="tl">
                    <a:srgbClr val="000000">
                      <a:alpha val="43137"/>
                    </a:srgbClr>
                  </a:outerShdw>
                </a:effectLst>
                <a:latin typeface="Eras Bold ITC" panose="020B0907030504020204" pitchFamily="34" charset="0"/>
                <a:ea typeface="Verdana" panose="020B0604030504040204" pitchFamily="34" charset="0"/>
                <a:cs typeface="+mj-cs"/>
              </a:rPr>
              <a:t>Broad Strategic Initiatives &amp; Risks</a:t>
            </a:r>
            <a:endParaRPr lang="en-ZA" sz="8000" b="1" dirty="0">
              <a:solidFill>
                <a:srgbClr val="4F81BD"/>
              </a:solidFill>
              <a:effectLst>
                <a:outerShdw blurRad="38100" dist="38100" dir="2700000" algn="tl">
                  <a:srgbClr val="000000">
                    <a:alpha val="43137"/>
                  </a:srgbClr>
                </a:outerShdw>
              </a:effectLst>
              <a:latin typeface="Eras Bold ITC" panose="020B0907030504020204" pitchFamily="34" charset="0"/>
              <a:ea typeface="Verdana" panose="020B0604030504040204" pitchFamily="34" charset="0"/>
              <a:cs typeface="+mj-cs"/>
            </a:endParaRPr>
          </a:p>
        </p:txBody>
      </p:sp>
    </p:spTree>
    <p:extLst>
      <p:ext uri="{BB962C8B-B14F-4D97-AF65-F5344CB8AC3E}">
        <p14:creationId xmlns:p14="http://schemas.microsoft.com/office/powerpoint/2010/main" xmlns="" val="29523139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txBox="1">
            <a:spLocks/>
          </p:cNvSpPr>
          <p:nvPr/>
        </p:nvSpPr>
        <p:spPr>
          <a:xfrm>
            <a:off x="188200" y="210142"/>
            <a:ext cx="10329244" cy="340247"/>
          </a:xfrm>
          <a:prstGeom prst="rect">
            <a:avLst/>
          </a:prstGeom>
        </p:spPr>
        <p:txBody>
          <a:bodyPr/>
          <a:lstStyle>
            <a:lvl1pPr algn="l" rtl="0" eaLnBrk="0" fontAlgn="base" hangingPunct="0">
              <a:lnSpc>
                <a:spcPct val="95000"/>
              </a:lnSpc>
              <a:spcBef>
                <a:spcPct val="0"/>
              </a:spcBef>
              <a:spcAft>
                <a:spcPct val="0"/>
              </a:spcAft>
              <a:defRPr sz="2400" b="1">
                <a:solidFill>
                  <a:schemeClr val="tx1"/>
                </a:solidFill>
                <a:latin typeface="+mj-lt"/>
                <a:ea typeface="+mj-ea"/>
                <a:cs typeface="+mj-cs"/>
              </a:defRPr>
            </a:lvl1pPr>
            <a:lvl2pPr algn="l" rtl="0" eaLnBrk="0" fontAlgn="base" hangingPunct="0">
              <a:lnSpc>
                <a:spcPct val="95000"/>
              </a:lnSpc>
              <a:spcBef>
                <a:spcPct val="0"/>
              </a:spcBef>
              <a:spcAft>
                <a:spcPct val="0"/>
              </a:spcAft>
              <a:defRPr sz="2400" b="1">
                <a:solidFill>
                  <a:schemeClr val="tx1"/>
                </a:solidFill>
                <a:latin typeface="Arial" charset="0"/>
              </a:defRPr>
            </a:lvl2pPr>
            <a:lvl3pPr algn="l" rtl="0" eaLnBrk="0" fontAlgn="base" hangingPunct="0">
              <a:lnSpc>
                <a:spcPct val="95000"/>
              </a:lnSpc>
              <a:spcBef>
                <a:spcPct val="0"/>
              </a:spcBef>
              <a:spcAft>
                <a:spcPct val="0"/>
              </a:spcAft>
              <a:defRPr sz="2400" b="1">
                <a:solidFill>
                  <a:schemeClr val="tx1"/>
                </a:solidFill>
                <a:latin typeface="Arial" charset="0"/>
              </a:defRPr>
            </a:lvl3pPr>
            <a:lvl4pPr algn="l" rtl="0" eaLnBrk="0" fontAlgn="base" hangingPunct="0">
              <a:lnSpc>
                <a:spcPct val="95000"/>
              </a:lnSpc>
              <a:spcBef>
                <a:spcPct val="0"/>
              </a:spcBef>
              <a:spcAft>
                <a:spcPct val="0"/>
              </a:spcAft>
              <a:defRPr sz="2400" b="1">
                <a:solidFill>
                  <a:schemeClr val="tx1"/>
                </a:solidFill>
                <a:latin typeface="Arial" charset="0"/>
              </a:defRPr>
            </a:lvl4pPr>
            <a:lvl5pPr algn="l" rtl="0" eaLnBrk="0" fontAlgn="base" hangingPunct="0">
              <a:lnSpc>
                <a:spcPct val="95000"/>
              </a:lnSpc>
              <a:spcBef>
                <a:spcPct val="0"/>
              </a:spcBef>
              <a:spcAft>
                <a:spcPct val="0"/>
              </a:spcAft>
              <a:defRPr sz="2400" b="1">
                <a:solidFill>
                  <a:schemeClr val="tx1"/>
                </a:solidFill>
                <a:latin typeface="Arial" charset="0"/>
              </a:defRPr>
            </a:lvl5pPr>
            <a:lvl6pPr marL="457200" algn="l" rtl="0" eaLnBrk="0" fontAlgn="base" hangingPunct="0">
              <a:lnSpc>
                <a:spcPct val="95000"/>
              </a:lnSpc>
              <a:spcBef>
                <a:spcPct val="0"/>
              </a:spcBef>
              <a:spcAft>
                <a:spcPct val="0"/>
              </a:spcAft>
              <a:defRPr sz="2400" b="1">
                <a:solidFill>
                  <a:schemeClr val="tx1"/>
                </a:solidFill>
                <a:latin typeface="Arial" charset="0"/>
              </a:defRPr>
            </a:lvl6pPr>
            <a:lvl7pPr marL="914400" algn="l" rtl="0" eaLnBrk="0" fontAlgn="base" hangingPunct="0">
              <a:lnSpc>
                <a:spcPct val="95000"/>
              </a:lnSpc>
              <a:spcBef>
                <a:spcPct val="0"/>
              </a:spcBef>
              <a:spcAft>
                <a:spcPct val="0"/>
              </a:spcAft>
              <a:defRPr sz="2400" b="1">
                <a:solidFill>
                  <a:schemeClr val="tx1"/>
                </a:solidFill>
                <a:latin typeface="Arial" charset="0"/>
              </a:defRPr>
            </a:lvl7pPr>
            <a:lvl8pPr marL="1371600" algn="l" rtl="0" eaLnBrk="0" fontAlgn="base" hangingPunct="0">
              <a:lnSpc>
                <a:spcPct val="95000"/>
              </a:lnSpc>
              <a:spcBef>
                <a:spcPct val="0"/>
              </a:spcBef>
              <a:spcAft>
                <a:spcPct val="0"/>
              </a:spcAft>
              <a:defRPr sz="2400" b="1">
                <a:solidFill>
                  <a:schemeClr val="tx1"/>
                </a:solidFill>
                <a:latin typeface="Arial" charset="0"/>
              </a:defRPr>
            </a:lvl8pPr>
            <a:lvl9pPr marL="1828800" algn="l" rtl="0" eaLnBrk="0" fontAlgn="base" hangingPunct="0">
              <a:lnSpc>
                <a:spcPct val="95000"/>
              </a:lnSpc>
              <a:spcBef>
                <a:spcPct val="0"/>
              </a:spcBef>
              <a:spcAft>
                <a:spcPct val="0"/>
              </a:spcAft>
              <a:defRPr sz="2400" b="1">
                <a:solidFill>
                  <a:schemeClr val="tx1"/>
                </a:solidFill>
                <a:latin typeface="Arial" charset="0"/>
              </a:defRPr>
            </a:lvl9pPr>
          </a:lstStyle>
          <a:p>
            <a:pPr>
              <a:defRPr/>
            </a:pPr>
            <a:r>
              <a:rPr lang="en-ZA" sz="1800" kern="0" dirty="0">
                <a:solidFill>
                  <a:srgbClr val="256DBC"/>
                </a:solidFill>
                <a:latin typeface="Arial" panose="020B0604020202020204" pitchFamily="34" charset="0"/>
                <a:ea typeface="+mn-ea"/>
                <a:cs typeface="Arial" panose="020B0604020202020204" pitchFamily="34" charset="0"/>
              </a:rPr>
              <a:t>CEF Group 5-Year Transformation Map</a:t>
            </a:r>
          </a:p>
        </p:txBody>
      </p:sp>
      <p:grpSp>
        <p:nvGrpSpPr>
          <p:cNvPr id="5" name="Group 4"/>
          <p:cNvGrpSpPr/>
          <p:nvPr/>
        </p:nvGrpSpPr>
        <p:grpSpPr>
          <a:xfrm>
            <a:off x="465291" y="672860"/>
            <a:ext cx="11588107" cy="6083943"/>
            <a:chOff x="430478" y="672860"/>
            <a:chExt cx="11588107" cy="6083943"/>
          </a:xfrm>
        </p:grpSpPr>
        <p:grpSp>
          <p:nvGrpSpPr>
            <p:cNvPr id="6" name="Group 5"/>
            <p:cNvGrpSpPr/>
            <p:nvPr/>
          </p:nvGrpSpPr>
          <p:grpSpPr>
            <a:xfrm>
              <a:off x="430478" y="672860"/>
              <a:ext cx="11588107" cy="6083943"/>
              <a:chOff x="380649" y="747466"/>
              <a:chExt cx="11588107" cy="6083943"/>
            </a:xfrm>
          </p:grpSpPr>
          <p:grpSp>
            <p:nvGrpSpPr>
              <p:cNvPr id="13" name="Group 12"/>
              <p:cNvGrpSpPr/>
              <p:nvPr/>
            </p:nvGrpSpPr>
            <p:grpSpPr>
              <a:xfrm>
                <a:off x="380649" y="747466"/>
                <a:ext cx="11588107" cy="6083943"/>
                <a:chOff x="256239" y="581541"/>
                <a:chExt cx="11588107" cy="6083943"/>
              </a:xfrm>
            </p:grpSpPr>
            <p:sp>
              <p:nvSpPr>
                <p:cNvPr id="19" name="Freeform: Shape 646">
                  <a:extLst>
                    <a:ext uri="{FF2B5EF4-FFF2-40B4-BE49-F238E27FC236}">
                      <a16:creationId xmlns:a16="http://schemas.microsoft.com/office/drawing/2014/main" xmlns="" id="{9E1CB5A8-B147-47AA-B840-62E7198929F2}"/>
                    </a:ext>
                  </a:extLst>
                </p:cNvPr>
                <p:cNvSpPr/>
                <p:nvPr/>
              </p:nvSpPr>
              <p:spPr>
                <a:xfrm>
                  <a:off x="770138" y="900731"/>
                  <a:ext cx="11039600" cy="5444261"/>
                </a:xfrm>
                <a:custGeom>
                  <a:avLst/>
                  <a:gdLst>
                    <a:gd name="connsiteX0" fmla="*/ 598044 w 10554844"/>
                    <a:gd name="connsiteY0" fmla="*/ 0 h 5430149"/>
                    <a:gd name="connsiteX1" fmla="*/ 2310542 w 10554844"/>
                    <a:gd name="connsiteY1" fmla="*/ 0 h 5430149"/>
                    <a:gd name="connsiteX2" fmla="*/ 2310542 w 10554844"/>
                    <a:gd name="connsiteY2" fmla="*/ 1 h 5430149"/>
                    <a:gd name="connsiteX3" fmla="*/ 10298024 w 10554844"/>
                    <a:gd name="connsiteY3" fmla="*/ 5337325 h 5430149"/>
                    <a:gd name="connsiteX4" fmla="*/ 10554844 w 10554844"/>
                    <a:gd name="connsiteY4" fmla="*/ 5326808 h 5430149"/>
                    <a:gd name="connsiteX5" fmla="*/ 10554844 w 10554844"/>
                    <a:gd name="connsiteY5" fmla="*/ 5430149 h 5430149"/>
                    <a:gd name="connsiteX6" fmla="*/ 8742934 w 10554844"/>
                    <a:gd name="connsiteY6" fmla="*/ 5425440 h 5430149"/>
                    <a:gd name="connsiteX7" fmla="*/ 7819953 w 10554844"/>
                    <a:gd name="connsiteY7" fmla="*/ 5425440 h 5430149"/>
                    <a:gd name="connsiteX8" fmla="*/ 7819952 w 10554844"/>
                    <a:gd name="connsiteY8" fmla="*/ 5425440 h 5430149"/>
                    <a:gd name="connsiteX9" fmla="*/ 5673653 w 10554844"/>
                    <a:gd name="connsiteY9" fmla="*/ 5425440 h 5430149"/>
                    <a:gd name="connsiteX10" fmla="*/ 606883 w 10554844"/>
                    <a:gd name="connsiteY10" fmla="*/ 5425440 h 5430149"/>
                    <a:gd name="connsiteX11" fmla="*/ 606883 w 10554844"/>
                    <a:gd name="connsiteY11" fmla="*/ 5430149 h 5430149"/>
                    <a:gd name="connsiteX12" fmla="*/ 0 w 10554844"/>
                    <a:gd name="connsiteY12" fmla="*/ 5430149 h 5430149"/>
                    <a:gd name="connsiteX13" fmla="*/ 0 w 10554844"/>
                    <a:gd name="connsiteY13" fmla="*/ 7180 h 5430149"/>
                    <a:gd name="connsiteX14" fmla="*/ 598044 w 10554844"/>
                    <a:gd name="connsiteY14" fmla="*/ 7180 h 5430149"/>
                    <a:gd name="connsiteX0" fmla="*/ 598044 w 10554844"/>
                    <a:gd name="connsiteY0" fmla="*/ 7180 h 5430149"/>
                    <a:gd name="connsiteX1" fmla="*/ 2310542 w 10554844"/>
                    <a:gd name="connsiteY1" fmla="*/ 0 h 5430149"/>
                    <a:gd name="connsiteX2" fmla="*/ 2310542 w 10554844"/>
                    <a:gd name="connsiteY2" fmla="*/ 1 h 5430149"/>
                    <a:gd name="connsiteX3" fmla="*/ 10298024 w 10554844"/>
                    <a:gd name="connsiteY3" fmla="*/ 5337325 h 5430149"/>
                    <a:gd name="connsiteX4" fmla="*/ 10554844 w 10554844"/>
                    <a:gd name="connsiteY4" fmla="*/ 5326808 h 5430149"/>
                    <a:gd name="connsiteX5" fmla="*/ 10554844 w 10554844"/>
                    <a:gd name="connsiteY5" fmla="*/ 5430149 h 5430149"/>
                    <a:gd name="connsiteX6" fmla="*/ 8742934 w 10554844"/>
                    <a:gd name="connsiteY6" fmla="*/ 5425440 h 5430149"/>
                    <a:gd name="connsiteX7" fmla="*/ 7819953 w 10554844"/>
                    <a:gd name="connsiteY7" fmla="*/ 5425440 h 5430149"/>
                    <a:gd name="connsiteX8" fmla="*/ 7819952 w 10554844"/>
                    <a:gd name="connsiteY8" fmla="*/ 5425440 h 5430149"/>
                    <a:gd name="connsiteX9" fmla="*/ 5673653 w 10554844"/>
                    <a:gd name="connsiteY9" fmla="*/ 5425440 h 5430149"/>
                    <a:gd name="connsiteX10" fmla="*/ 606883 w 10554844"/>
                    <a:gd name="connsiteY10" fmla="*/ 5425440 h 5430149"/>
                    <a:gd name="connsiteX11" fmla="*/ 606883 w 10554844"/>
                    <a:gd name="connsiteY11" fmla="*/ 5430149 h 5430149"/>
                    <a:gd name="connsiteX12" fmla="*/ 0 w 10554844"/>
                    <a:gd name="connsiteY12" fmla="*/ 5430149 h 5430149"/>
                    <a:gd name="connsiteX13" fmla="*/ 0 w 10554844"/>
                    <a:gd name="connsiteY13" fmla="*/ 7180 h 5430149"/>
                    <a:gd name="connsiteX14" fmla="*/ 598044 w 10554844"/>
                    <a:gd name="connsiteY14" fmla="*/ 7180 h 5430149"/>
                    <a:gd name="connsiteX0" fmla="*/ 0 w 10554844"/>
                    <a:gd name="connsiteY0" fmla="*/ 7180 h 5430149"/>
                    <a:gd name="connsiteX1" fmla="*/ 2310542 w 10554844"/>
                    <a:gd name="connsiteY1" fmla="*/ 0 h 5430149"/>
                    <a:gd name="connsiteX2" fmla="*/ 2310542 w 10554844"/>
                    <a:gd name="connsiteY2" fmla="*/ 1 h 5430149"/>
                    <a:gd name="connsiteX3" fmla="*/ 10298024 w 10554844"/>
                    <a:gd name="connsiteY3" fmla="*/ 5337325 h 5430149"/>
                    <a:gd name="connsiteX4" fmla="*/ 10554844 w 10554844"/>
                    <a:gd name="connsiteY4" fmla="*/ 5326808 h 5430149"/>
                    <a:gd name="connsiteX5" fmla="*/ 10554844 w 10554844"/>
                    <a:gd name="connsiteY5" fmla="*/ 5430149 h 5430149"/>
                    <a:gd name="connsiteX6" fmla="*/ 8742934 w 10554844"/>
                    <a:gd name="connsiteY6" fmla="*/ 5425440 h 5430149"/>
                    <a:gd name="connsiteX7" fmla="*/ 7819953 w 10554844"/>
                    <a:gd name="connsiteY7" fmla="*/ 5425440 h 5430149"/>
                    <a:gd name="connsiteX8" fmla="*/ 7819952 w 10554844"/>
                    <a:gd name="connsiteY8" fmla="*/ 5425440 h 5430149"/>
                    <a:gd name="connsiteX9" fmla="*/ 5673653 w 10554844"/>
                    <a:gd name="connsiteY9" fmla="*/ 5425440 h 5430149"/>
                    <a:gd name="connsiteX10" fmla="*/ 606883 w 10554844"/>
                    <a:gd name="connsiteY10" fmla="*/ 5425440 h 5430149"/>
                    <a:gd name="connsiteX11" fmla="*/ 606883 w 10554844"/>
                    <a:gd name="connsiteY11" fmla="*/ 5430149 h 5430149"/>
                    <a:gd name="connsiteX12" fmla="*/ 0 w 10554844"/>
                    <a:gd name="connsiteY12" fmla="*/ 5430149 h 5430149"/>
                    <a:gd name="connsiteX13" fmla="*/ 0 w 10554844"/>
                    <a:gd name="connsiteY13" fmla="*/ 7180 h 5430149"/>
                    <a:gd name="connsiteX0" fmla="*/ 0 w 10554844"/>
                    <a:gd name="connsiteY0" fmla="*/ 0 h 5430589"/>
                    <a:gd name="connsiteX1" fmla="*/ 2310542 w 10554844"/>
                    <a:gd name="connsiteY1" fmla="*/ 440 h 5430589"/>
                    <a:gd name="connsiteX2" fmla="*/ 2310542 w 10554844"/>
                    <a:gd name="connsiteY2" fmla="*/ 441 h 5430589"/>
                    <a:gd name="connsiteX3" fmla="*/ 10298024 w 10554844"/>
                    <a:gd name="connsiteY3" fmla="*/ 5337765 h 5430589"/>
                    <a:gd name="connsiteX4" fmla="*/ 10554844 w 10554844"/>
                    <a:gd name="connsiteY4" fmla="*/ 5327248 h 5430589"/>
                    <a:gd name="connsiteX5" fmla="*/ 10554844 w 10554844"/>
                    <a:gd name="connsiteY5" fmla="*/ 5430589 h 5430589"/>
                    <a:gd name="connsiteX6" fmla="*/ 8742934 w 10554844"/>
                    <a:gd name="connsiteY6" fmla="*/ 5425880 h 5430589"/>
                    <a:gd name="connsiteX7" fmla="*/ 7819953 w 10554844"/>
                    <a:gd name="connsiteY7" fmla="*/ 5425880 h 5430589"/>
                    <a:gd name="connsiteX8" fmla="*/ 7819952 w 10554844"/>
                    <a:gd name="connsiteY8" fmla="*/ 5425880 h 5430589"/>
                    <a:gd name="connsiteX9" fmla="*/ 5673653 w 10554844"/>
                    <a:gd name="connsiteY9" fmla="*/ 5425880 h 5430589"/>
                    <a:gd name="connsiteX10" fmla="*/ 606883 w 10554844"/>
                    <a:gd name="connsiteY10" fmla="*/ 5425880 h 5430589"/>
                    <a:gd name="connsiteX11" fmla="*/ 606883 w 10554844"/>
                    <a:gd name="connsiteY11" fmla="*/ 5430589 h 5430589"/>
                    <a:gd name="connsiteX12" fmla="*/ 0 w 10554844"/>
                    <a:gd name="connsiteY12" fmla="*/ 5430589 h 5430589"/>
                    <a:gd name="connsiteX13" fmla="*/ 0 w 10554844"/>
                    <a:gd name="connsiteY13" fmla="*/ 0 h 5430589"/>
                    <a:gd name="connsiteX0" fmla="*/ 0 w 10554844"/>
                    <a:gd name="connsiteY0" fmla="*/ 0 h 5430589"/>
                    <a:gd name="connsiteX1" fmla="*/ 2310542 w 10554844"/>
                    <a:gd name="connsiteY1" fmla="*/ 440 h 5430589"/>
                    <a:gd name="connsiteX2" fmla="*/ 2310542 w 10554844"/>
                    <a:gd name="connsiteY2" fmla="*/ 441 h 5430589"/>
                    <a:gd name="connsiteX3" fmla="*/ 10298024 w 10554844"/>
                    <a:gd name="connsiteY3" fmla="*/ 5337765 h 5430589"/>
                    <a:gd name="connsiteX4" fmla="*/ 10554844 w 10554844"/>
                    <a:gd name="connsiteY4" fmla="*/ 5327248 h 5430589"/>
                    <a:gd name="connsiteX5" fmla="*/ 10554844 w 10554844"/>
                    <a:gd name="connsiteY5" fmla="*/ 5430589 h 5430589"/>
                    <a:gd name="connsiteX6" fmla="*/ 8742934 w 10554844"/>
                    <a:gd name="connsiteY6" fmla="*/ 5425880 h 5430589"/>
                    <a:gd name="connsiteX7" fmla="*/ 7819953 w 10554844"/>
                    <a:gd name="connsiteY7" fmla="*/ 5425880 h 5430589"/>
                    <a:gd name="connsiteX8" fmla="*/ 7819952 w 10554844"/>
                    <a:gd name="connsiteY8" fmla="*/ 5425880 h 5430589"/>
                    <a:gd name="connsiteX9" fmla="*/ 5673653 w 10554844"/>
                    <a:gd name="connsiteY9" fmla="*/ 5425880 h 5430589"/>
                    <a:gd name="connsiteX10" fmla="*/ 606883 w 10554844"/>
                    <a:gd name="connsiteY10" fmla="*/ 5425880 h 5430589"/>
                    <a:gd name="connsiteX11" fmla="*/ 0 w 10554844"/>
                    <a:gd name="connsiteY11" fmla="*/ 5430589 h 5430589"/>
                    <a:gd name="connsiteX12" fmla="*/ 0 w 10554844"/>
                    <a:gd name="connsiteY12" fmla="*/ 0 h 5430589"/>
                    <a:gd name="connsiteX0" fmla="*/ 0 w 10554844"/>
                    <a:gd name="connsiteY0" fmla="*/ 0 h 5430589"/>
                    <a:gd name="connsiteX1" fmla="*/ 2310542 w 10554844"/>
                    <a:gd name="connsiteY1" fmla="*/ 440 h 5430589"/>
                    <a:gd name="connsiteX2" fmla="*/ 2310542 w 10554844"/>
                    <a:gd name="connsiteY2" fmla="*/ 441 h 5430589"/>
                    <a:gd name="connsiteX3" fmla="*/ 10298024 w 10554844"/>
                    <a:gd name="connsiteY3" fmla="*/ 5337765 h 5430589"/>
                    <a:gd name="connsiteX4" fmla="*/ 10554844 w 10554844"/>
                    <a:gd name="connsiteY4" fmla="*/ 5327248 h 5430589"/>
                    <a:gd name="connsiteX5" fmla="*/ 10554844 w 10554844"/>
                    <a:gd name="connsiteY5" fmla="*/ 5430589 h 5430589"/>
                    <a:gd name="connsiteX6" fmla="*/ 8742934 w 10554844"/>
                    <a:gd name="connsiteY6" fmla="*/ 5425880 h 5430589"/>
                    <a:gd name="connsiteX7" fmla="*/ 7819953 w 10554844"/>
                    <a:gd name="connsiteY7" fmla="*/ 5425880 h 5430589"/>
                    <a:gd name="connsiteX8" fmla="*/ 7819952 w 10554844"/>
                    <a:gd name="connsiteY8" fmla="*/ 5425880 h 5430589"/>
                    <a:gd name="connsiteX9" fmla="*/ 5673653 w 10554844"/>
                    <a:gd name="connsiteY9" fmla="*/ 5425880 h 5430589"/>
                    <a:gd name="connsiteX10" fmla="*/ 0 w 10554844"/>
                    <a:gd name="connsiteY10" fmla="*/ 5430589 h 5430589"/>
                    <a:gd name="connsiteX11" fmla="*/ 0 w 10554844"/>
                    <a:gd name="connsiteY11" fmla="*/ 0 h 5430589"/>
                    <a:gd name="connsiteX0" fmla="*/ 0 w 10554844"/>
                    <a:gd name="connsiteY0" fmla="*/ 0 h 5430589"/>
                    <a:gd name="connsiteX1" fmla="*/ 2310542 w 10554844"/>
                    <a:gd name="connsiteY1" fmla="*/ 440 h 5430589"/>
                    <a:gd name="connsiteX2" fmla="*/ 2310542 w 10554844"/>
                    <a:gd name="connsiteY2" fmla="*/ 441 h 5430589"/>
                    <a:gd name="connsiteX3" fmla="*/ 10298024 w 10554844"/>
                    <a:gd name="connsiteY3" fmla="*/ 5337765 h 5430589"/>
                    <a:gd name="connsiteX4" fmla="*/ 10530375 w 10554844"/>
                    <a:gd name="connsiteY4" fmla="*/ 5030914 h 5430589"/>
                    <a:gd name="connsiteX5" fmla="*/ 10554844 w 10554844"/>
                    <a:gd name="connsiteY5" fmla="*/ 5430589 h 5430589"/>
                    <a:gd name="connsiteX6" fmla="*/ 8742934 w 10554844"/>
                    <a:gd name="connsiteY6" fmla="*/ 5425880 h 5430589"/>
                    <a:gd name="connsiteX7" fmla="*/ 7819953 w 10554844"/>
                    <a:gd name="connsiteY7" fmla="*/ 5425880 h 5430589"/>
                    <a:gd name="connsiteX8" fmla="*/ 7819952 w 10554844"/>
                    <a:gd name="connsiteY8" fmla="*/ 5425880 h 5430589"/>
                    <a:gd name="connsiteX9" fmla="*/ 5673653 w 10554844"/>
                    <a:gd name="connsiteY9" fmla="*/ 5425880 h 5430589"/>
                    <a:gd name="connsiteX10" fmla="*/ 0 w 10554844"/>
                    <a:gd name="connsiteY10" fmla="*/ 5430589 h 5430589"/>
                    <a:gd name="connsiteX11" fmla="*/ 0 w 10554844"/>
                    <a:gd name="connsiteY11" fmla="*/ 0 h 5430589"/>
                    <a:gd name="connsiteX0" fmla="*/ 0 w 10554844"/>
                    <a:gd name="connsiteY0" fmla="*/ 0 h 5430589"/>
                    <a:gd name="connsiteX1" fmla="*/ 2310542 w 10554844"/>
                    <a:gd name="connsiteY1" fmla="*/ 440 h 5430589"/>
                    <a:gd name="connsiteX2" fmla="*/ 2310542 w 10554844"/>
                    <a:gd name="connsiteY2" fmla="*/ 441 h 5430589"/>
                    <a:gd name="connsiteX3" fmla="*/ 10208304 w 10554844"/>
                    <a:gd name="connsiteY3" fmla="*/ 5075298 h 5430589"/>
                    <a:gd name="connsiteX4" fmla="*/ 10530375 w 10554844"/>
                    <a:gd name="connsiteY4" fmla="*/ 5030914 h 5430589"/>
                    <a:gd name="connsiteX5" fmla="*/ 10554844 w 10554844"/>
                    <a:gd name="connsiteY5" fmla="*/ 5430589 h 5430589"/>
                    <a:gd name="connsiteX6" fmla="*/ 8742934 w 10554844"/>
                    <a:gd name="connsiteY6" fmla="*/ 5425880 h 5430589"/>
                    <a:gd name="connsiteX7" fmla="*/ 7819953 w 10554844"/>
                    <a:gd name="connsiteY7" fmla="*/ 5425880 h 5430589"/>
                    <a:gd name="connsiteX8" fmla="*/ 7819952 w 10554844"/>
                    <a:gd name="connsiteY8" fmla="*/ 5425880 h 5430589"/>
                    <a:gd name="connsiteX9" fmla="*/ 5673653 w 10554844"/>
                    <a:gd name="connsiteY9" fmla="*/ 5425880 h 5430589"/>
                    <a:gd name="connsiteX10" fmla="*/ 0 w 10554844"/>
                    <a:gd name="connsiteY10" fmla="*/ 5430589 h 5430589"/>
                    <a:gd name="connsiteX11" fmla="*/ 0 w 10554844"/>
                    <a:gd name="connsiteY11" fmla="*/ 0 h 5430589"/>
                    <a:gd name="connsiteX0" fmla="*/ 0 w 10554844"/>
                    <a:gd name="connsiteY0" fmla="*/ 0 h 5430589"/>
                    <a:gd name="connsiteX1" fmla="*/ 2310542 w 10554844"/>
                    <a:gd name="connsiteY1" fmla="*/ 440 h 5430589"/>
                    <a:gd name="connsiteX2" fmla="*/ 2310542 w 10554844"/>
                    <a:gd name="connsiteY2" fmla="*/ 441 h 5430589"/>
                    <a:gd name="connsiteX3" fmla="*/ 10208304 w 10554844"/>
                    <a:gd name="connsiteY3" fmla="*/ 5075298 h 5430589"/>
                    <a:gd name="connsiteX4" fmla="*/ 10497882 w 10554844"/>
                    <a:gd name="connsiteY4" fmla="*/ 4861940 h 5430589"/>
                    <a:gd name="connsiteX5" fmla="*/ 10554844 w 10554844"/>
                    <a:gd name="connsiteY5" fmla="*/ 5430589 h 5430589"/>
                    <a:gd name="connsiteX6" fmla="*/ 8742934 w 10554844"/>
                    <a:gd name="connsiteY6" fmla="*/ 5425880 h 5430589"/>
                    <a:gd name="connsiteX7" fmla="*/ 7819953 w 10554844"/>
                    <a:gd name="connsiteY7" fmla="*/ 5425880 h 5430589"/>
                    <a:gd name="connsiteX8" fmla="*/ 7819952 w 10554844"/>
                    <a:gd name="connsiteY8" fmla="*/ 5425880 h 5430589"/>
                    <a:gd name="connsiteX9" fmla="*/ 5673653 w 10554844"/>
                    <a:gd name="connsiteY9" fmla="*/ 5425880 h 5430589"/>
                    <a:gd name="connsiteX10" fmla="*/ 0 w 10554844"/>
                    <a:gd name="connsiteY10" fmla="*/ 5430589 h 5430589"/>
                    <a:gd name="connsiteX11" fmla="*/ 0 w 10554844"/>
                    <a:gd name="connsiteY11" fmla="*/ 0 h 5430589"/>
                    <a:gd name="connsiteX0" fmla="*/ 0 w 10554844"/>
                    <a:gd name="connsiteY0" fmla="*/ 0 h 5430589"/>
                    <a:gd name="connsiteX1" fmla="*/ 2310542 w 10554844"/>
                    <a:gd name="connsiteY1" fmla="*/ 440 h 5430589"/>
                    <a:gd name="connsiteX2" fmla="*/ 2310542 w 10554844"/>
                    <a:gd name="connsiteY2" fmla="*/ 441 h 5430589"/>
                    <a:gd name="connsiteX3" fmla="*/ 10175811 w 10554844"/>
                    <a:gd name="connsiteY3" fmla="*/ 4703556 h 5430589"/>
                    <a:gd name="connsiteX4" fmla="*/ 10497882 w 10554844"/>
                    <a:gd name="connsiteY4" fmla="*/ 4861940 h 5430589"/>
                    <a:gd name="connsiteX5" fmla="*/ 10554844 w 10554844"/>
                    <a:gd name="connsiteY5" fmla="*/ 5430589 h 5430589"/>
                    <a:gd name="connsiteX6" fmla="*/ 8742934 w 10554844"/>
                    <a:gd name="connsiteY6" fmla="*/ 5425880 h 5430589"/>
                    <a:gd name="connsiteX7" fmla="*/ 7819953 w 10554844"/>
                    <a:gd name="connsiteY7" fmla="*/ 5425880 h 5430589"/>
                    <a:gd name="connsiteX8" fmla="*/ 7819952 w 10554844"/>
                    <a:gd name="connsiteY8" fmla="*/ 5425880 h 5430589"/>
                    <a:gd name="connsiteX9" fmla="*/ 5673653 w 10554844"/>
                    <a:gd name="connsiteY9" fmla="*/ 5425880 h 5430589"/>
                    <a:gd name="connsiteX10" fmla="*/ 0 w 10554844"/>
                    <a:gd name="connsiteY10" fmla="*/ 5430589 h 5430589"/>
                    <a:gd name="connsiteX11" fmla="*/ 0 w 10554844"/>
                    <a:gd name="connsiteY11" fmla="*/ 0 h 5430589"/>
                    <a:gd name="connsiteX0" fmla="*/ 0 w 10514229"/>
                    <a:gd name="connsiteY0" fmla="*/ 0 h 5430589"/>
                    <a:gd name="connsiteX1" fmla="*/ 2310542 w 10514229"/>
                    <a:gd name="connsiteY1" fmla="*/ 440 h 5430589"/>
                    <a:gd name="connsiteX2" fmla="*/ 2310542 w 10514229"/>
                    <a:gd name="connsiteY2" fmla="*/ 441 h 5430589"/>
                    <a:gd name="connsiteX3" fmla="*/ 10175811 w 10514229"/>
                    <a:gd name="connsiteY3" fmla="*/ 4703556 h 5430589"/>
                    <a:gd name="connsiteX4" fmla="*/ 10497882 w 10514229"/>
                    <a:gd name="connsiteY4" fmla="*/ 4861940 h 5430589"/>
                    <a:gd name="connsiteX5" fmla="*/ 10514229 w 10514229"/>
                    <a:gd name="connsiteY5" fmla="*/ 5430589 h 5430589"/>
                    <a:gd name="connsiteX6" fmla="*/ 8742934 w 10514229"/>
                    <a:gd name="connsiteY6" fmla="*/ 5425880 h 5430589"/>
                    <a:gd name="connsiteX7" fmla="*/ 7819953 w 10514229"/>
                    <a:gd name="connsiteY7" fmla="*/ 5425880 h 5430589"/>
                    <a:gd name="connsiteX8" fmla="*/ 7819952 w 10514229"/>
                    <a:gd name="connsiteY8" fmla="*/ 5425880 h 5430589"/>
                    <a:gd name="connsiteX9" fmla="*/ 5673653 w 10514229"/>
                    <a:gd name="connsiteY9" fmla="*/ 5425880 h 5430589"/>
                    <a:gd name="connsiteX10" fmla="*/ 0 w 10514229"/>
                    <a:gd name="connsiteY10" fmla="*/ 5430589 h 5430589"/>
                    <a:gd name="connsiteX11" fmla="*/ 0 w 10514229"/>
                    <a:gd name="connsiteY11" fmla="*/ 0 h 5430589"/>
                    <a:gd name="connsiteX0" fmla="*/ 0 w 10497882"/>
                    <a:gd name="connsiteY0" fmla="*/ 0 h 5430589"/>
                    <a:gd name="connsiteX1" fmla="*/ 2310542 w 10497882"/>
                    <a:gd name="connsiteY1" fmla="*/ 440 h 5430589"/>
                    <a:gd name="connsiteX2" fmla="*/ 2310542 w 10497882"/>
                    <a:gd name="connsiteY2" fmla="*/ 441 h 5430589"/>
                    <a:gd name="connsiteX3" fmla="*/ 10175811 w 10497882"/>
                    <a:gd name="connsiteY3" fmla="*/ 4703556 h 5430589"/>
                    <a:gd name="connsiteX4" fmla="*/ 10497882 w 10497882"/>
                    <a:gd name="connsiteY4" fmla="*/ 4861940 h 5430589"/>
                    <a:gd name="connsiteX5" fmla="*/ 10481737 w 10497882"/>
                    <a:gd name="connsiteY5" fmla="*/ 5430589 h 5430589"/>
                    <a:gd name="connsiteX6" fmla="*/ 8742934 w 10497882"/>
                    <a:gd name="connsiteY6" fmla="*/ 5425880 h 5430589"/>
                    <a:gd name="connsiteX7" fmla="*/ 7819953 w 10497882"/>
                    <a:gd name="connsiteY7" fmla="*/ 5425880 h 5430589"/>
                    <a:gd name="connsiteX8" fmla="*/ 7819952 w 10497882"/>
                    <a:gd name="connsiteY8" fmla="*/ 5425880 h 5430589"/>
                    <a:gd name="connsiteX9" fmla="*/ 5673653 w 10497882"/>
                    <a:gd name="connsiteY9" fmla="*/ 5425880 h 5430589"/>
                    <a:gd name="connsiteX10" fmla="*/ 0 w 10497882"/>
                    <a:gd name="connsiteY10" fmla="*/ 5430589 h 5430589"/>
                    <a:gd name="connsiteX11" fmla="*/ 0 w 10497882"/>
                    <a:gd name="connsiteY11" fmla="*/ 0 h 5430589"/>
                    <a:gd name="connsiteX0" fmla="*/ 0 w 10497882"/>
                    <a:gd name="connsiteY0" fmla="*/ 0 h 5430589"/>
                    <a:gd name="connsiteX1" fmla="*/ 2310542 w 10497882"/>
                    <a:gd name="connsiteY1" fmla="*/ 440 h 5430589"/>
                    <a:gd name="connsiteX2" fmla="*/ 2310542 w 10497882"/>
                    <a:gd name="connsiteY2" fmla="*/ 441 h 5430589"/>
                    <a:gd name="connsiteX3" fmla="*/ 10183934 w 10497882"/>
                    <a:gd name="connsiteY3" fmla="*/ 4796491 h 5430589"/>
                    <a:gd name="connsiteX4" fmla="*/ 10497882 w 10497882"/>
                    <a:gd name="connsiteY4" fmla="*/ 4861940 h 5430589"/>
                    <a:gd name="connsiteX5" fmla="*/ 10481737 w 10497882"/>
                    <a:gd name="connsiteY5" fmla="*/ 5430589 h 5430589"/>
                    <a:gd name="connsiteX6" fmla="*/ 8742934 w 10497882"/>
                    <a:gd name="connsiteY6" fmla="*/ 5425880 h 5430589"/>
                    <a:gd name="connsiteX7" fmla="*/ 7819953 w 10497882"/>
                    <a:gd name="connsiteY7" fmla="*/ 5425880 h 5430589"/>
                    <a:gd name="connsiteX8" fmla="*/ 7819952 w 10497882"/>
                    <a:gd name="connsiteY8" fmla="*/ 5425880 h 5430589"/>
                    <a:gd name="connsiteX9" fmla="*/ 5673653 w 10497882"/>
                    <a:gd name="connsiteY9" fmla="*/ 5425880 h 5430589"/>
                    <a:gd name="connsiteX10" fmla="*/ 0 w 10497882"/>
                    <a:gd name="connsiteY10" fmla="*/ 5430589 h 5430589"/>
                    <a:gd name="connsiteX11" fmla="*/ 0 w 10497882"/>
                    <a:gd name="connsiteY11" fmla="*/ 0 h 543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97882" h="5430589">
                      <a:moveTo>
                        <a:pt x="0" y="0"/>
                      </a:moveTo>
                      <a:lnTo>
                        <a:pt x="2310542" y="440"/>
                      </a:lnTo>
                      <a:lnTo>
                        <a:pt x="2310542" y="441"/>
                      </a:lnTo>
                      <a:cubicBezTo>
                        <a:pt x="2684951" y="4652865"/>
                        <a:pt x="7284655" y="4888018"/>
                        <a:pt x="10183934" y="4796491"/>
                      </a:cubicBezTo>
                      <a:lnTo>
                        <a:pt x="10497882" y="4861940"/>
                      </a:lnTo>
                      <a:lnTo>
                        <a:pt x="10481737" y="5430589"/>
                      </a:lnTo>
                      <a:lnTo>
                        <a:pt x="8742934" y="5425880"/>
                      </a:lnTo>
                      <a:lnTo>
                        <a:pt x="7819953" y="5425880"/>
                      </a:lnTo>
                      <a:lnTo>
                        <a:pt x="7819952" y="5425880"/>
                      </a:lnTo>
                      <a:lnTo>
                        <a:pt x="5673653" y="5425880"/>
                      </a:lnTo>
                      <a:lnTo>
                        <a:pt x="0" y="5430589"/>
                      </a:lnTo>
                      <a:lnTo>
                        <a:pt x="0" y="0"/>
                      </a:lnTo>
                      <a:close/>
                    </a:path>
                  </a:pathLst>
                </a:custGeom>
                <a:solidFill>
                  <a:srgbClr val="98D8AA"/>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 name="Freeform: Shape 647">
                  <a:extLst>
                    <a:ext uri="{FF2B5EF4-FFF2-40B4-BE49-F238E27FC236}">
                      <a16:creationId xmlns:a16="http://schemas.microsoft.com/office/drawing/2014/main" xmlns="" id="{FE097345-0DEA-46AF-B314-7EFDF40E5939}"/>
                    </a:ext>
                  </a:extLst>
                </p:cNvPr>
                <p:cNvSpPr/>
                <p:nvPr/>
              </p:nvSpPr>
              <p:spPr>
                <a:xfrm>
                  <a:off x="1905000" y="900731"/>
                  <a:ext cx="9904738" cy="5057686"/>
                </a:xfrm>
                <a:custGeom>
                  <a:avLst/>
                  <a:gdLst>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6709036 w 8249514"/>
                    <a:gd name="connsiteY12" fmla="*/ 5185368 h 5274245"/>
                    <a:gd name="connsiteX13" fmla="*/ 6662481 w 8249514"/>
                    <a:gd name="connsiteY13" fmla="*/ 5178862 h 5274245"/>
                    <a:gd name="connsiteX14" fmla="*/ 6225646 w 8249514"/>
                    <a:gd name="connsiteY14" fmla="*/ 5117814 h 5274245"/>
                    <a:gd name="connsiteX15" fmla="*/ 6123397 w 8249514"/>
                    <a:gd name="connsiteY15" fmla="*/ 5099724 h 5274245"/>
                    <a:gd name="connsiteX16" fmla="*/ 6123396 w 8249514"/>
                    <a:gd name="connsiteY16" fmla="*/ 5099724 h 5274245"/>
                    <a:gd name="connsiteX17" fmla="*/ 5846840 w 8249514"/>
                    <a:gd name="connsiteY17" fmla="*/ 5050796 h 5274245"/>
                    <a:gd name="connsiteX18" fmla="*/ 4497272 w 8249514"/>
                    <a:gd name="connsiteY18" fmla="*/ 4702147 h 5274245"/>
                    <a:gd name="connsiteX19" fmla="*/ 4136669 w 8249514"/>
                    <a:gd name="connsiteY19" fmla="*/ 4575278 h 5274245"/>
                    <a:gd name="connsiteX20" fmla="*/ 4075242 w 8249514"/>
                    <a:gd name="connsiteY20" fmla="*/ 4553666 h 5274245"/>
                    <a:gd name="connsiteX21" fmla="*/ 2550688 w 8249514"/>
                    <a:gd name="connsiteY21" fmla="*/ 3814152 h 5274245"/>
                    <a:gd name="connsiteX22" fmla="*/ 2524617 w 8249514"/>
                    <a:gd name="connsiteY22" fmla="*/ 3797389 h 5274245"/>
                    <a:gd name="connsiteX23" fmla="*/ 2524618 w 8249514"/>
                    <a:gd name="connsiteY23" fmla="*/ 3797389 h 5274245"/>
                    <a:gd name="connsiteX24" fmla="*/ 2280583 w 8249514"/>
                    <a:gd name="connsiteY24" fmla="*/ 3640486 h 5274245"/>
                    <a:gd name="connsiteX25" fmla="*/ 2023174 w 8249514"/>
                    <a:gd name="connsiteY25" fmla="*/ 3458937 h 5274245"/>
                    <a:gd name="connsiteX26" fmla="*/ 1973170 w 8249514"/>
                    <a:gd name="connsiteY26" fmla="*/ 3420217 h 5274245"/>
                    <a:gd name="connsiteX27" fmla="*/ 1778930 w 8249514"/>
                    <a:gd name="connsiteY27" fmla="*/ 3269806 h 5274245"/>
                    <a:gd name="connsiteX28" fmla="*/ 616210 w 8249514"/>
                    <a:gd name="connsiteY28" fmla="*/ 1992737 h 5274245"/>
                    <a:gd name="connsiteX29" fmla="*/ 579826 w 8249514"/>
                    <a:gd name="connsiteY29" fmla="*/ 1931533 h 5274245"/>
                    <a:gd name="connsiteX30" fmla="*/ 477258 w 8249514"/>
                    <a:gd name="connsiteY30" fmla="*/ 1758997 h 5274245"/>
                    <a:gd name="connsiteX31" fmla="*/ 15245 w 8249514"/>
                    <a:gd name="connsiteY31" fmla="*/ 258673 h 5274245"/>
                    <a:gd name="connsiteX32" fmla="*/ 0 w 8249514"/>
                    <a:gd name="connsiteY32"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6709036 w 8249514"/>
                    <a:gd name="connsiteY12" fmla="*/ 5185368 h 5274245"/>
                    <a:gd name="connsiteX13" fmla="*/ 6225646 w 8249514"/>
                    <a:gd name="connsiteY13" fmla="*/ 5117814 h 5274245"/>
                    <a:gd name="connsiteX14" fmla="*/ 6123397 w 8249514"/>
                    <a:gd name="connsiteY14" fmla="*/ 5099724 h 5274245"/>
                    <a:gd name="connsiteX15" fmla="*/ 6123396 w 8249514"/>
                    <a:gd name="connsiteY15" fmla="*/ 5099724 h 5274245"/>
                    <a:gd name="connsiteX16" fmla="*/ 5846840 w 8249514"/>
                    <a:gd name="connsiteY16" fmla="*/ 5050796 h 5274245"/>
                    <a:gd name="connsiteX17" fmla="*/ 4497272 w 8249514"/>
                    <a:gd name="connsiteY17" fmla="*/ 4702147 h 5274245"/>
                    <a:gd name="connsiteX18" fmla="*/ 4136669 w 8249514"/>
                    <a:gd name="connsiteY18" fmla="*/ 4575278 h 5274245"/>
                    <a:gd name="connsiteX19" fmla="*/ 4075242 w 8249514"/>
                    <a:gd name="connsiteY19" fmla="*/ 4553666 h 5274245"/>
                    <a:gd name="connsiteX20" fmla="*/ 2550688 w 8249514"/>
                    <a:gd name="connsiteY20" fmla="*/ 3814152 h 5274245"/>
                    <a:gd name="connsiteX21" fmla="*/ 2524617 w 8249514"/>
                    <a:gd name="connsiteY21" fmla="*/ 3797389 h 5274245"/>
                    <a:gd name="connsiteX22" fmla="*/ 2524618 w 8249514"/>
                    <a:gd name="connsiteY22" fmla="*/ 3797389 h 5274245"/>
                    <a:gd name="connsiteX23" fmla="*/ 2280583 w 8249514"/>
                    <a:gd name="connsiteY23" fmla="*/ 3640486 h 5274245"/>
                    <a:gd name="connsiteX24" fmla="*/ 2023174 w 8249514"/>
                    <a:gd name="connsiteY24" fmla="*/ 3458937 h 5274245"/>
                    <a:gd name="connsiteX25" fmla="*/ 1973170 w 8249514"/>
                    <a:gd name="connsiteY25" fmla="*/ 3420217 h 5274245"/>
                    <a:gd name="connsiteX26" fmla="*/ 1778930 w 8249514"/>
                    <a:gd name="connsiteY26" fmla="*/ 3269806 h 5274245"/>
                    <a:gd name="connsiteX27" fmla="*/ 616210 w 8249514"/>
                    <a:gd name="connsiteY27" fmla="*/ 1992737 h 5274245"/>
                    <a:gd name="connsiteX28" fmla="*/ 579826 w 8249514"/>
                    <a:gd name="connsiteY28" fmla="*/ 1931533 h 5274245"/>
                    <a:gd name="connsiteX29" fmla="*/ 477258 w 8249514"/>
                    <a:gd name="connsiteY29" fmla="*/ 1758997 h 5274245"/>
                    <a:gd name="connsiteX30" fmla="*/ 15245 w 8249514"/>
                    <a:gd name="connsiteY30" fmla="*/ 258673 h 5274245"/>
                    <a:gd name="connsiteX31" fmla="*/ 0 w 8249514"/>
                    <a:gd name="connsiteY31"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6225646 w 8249514"/>
                    <a:gd name="connsiteY12" fmla="*/ 5117814 h 5274245"/>
                    <a:gd name="connsiteX13" fmla="*/ 6123397 w 8249514"/>
                    <a:gd name="connsiteY13" fmla="*/ 5099724 h 5274245"/>
                    <a:gd name="connsiteX14" fmla="*/ 6123396 w 8249514"/>
                    <a:gd name="connsiteY14" fmla="*/ 5099724 h 5274245"/>
                    <a:gd name="connsiteX15" fmla="*/ 5846840 w 8249514"/>
                    <a:gd name="connsiteY15" fmla="*/ 5050796 h 5274245"/>
                    <a:gd name="connsiteX16" fmla="*/ 4497272 w 8249514"/>
                    <a:gd name="connsiteY16" fmla="*/ 4702147 h 5274245"/>
                    <a:gd name="connsiteX17" fmla="*/ 4136669 w 8249514"/>
                    <a:gd name="connsiteY17" fmla="*/ 4575278 h 5274245"/>
                    <a:gd name="connsiteX18" fmla="*/ 4075242 w 8249514"/>
                    <a:gd name="connsiteY18" fmla="*/ 4553666 h 5274245"/>
                    <a:gd name="connsiteX19" fmla="*/ 2550688 w 8249514"/>
                    <a:gd name="connsiteY19" fmla="*/ 3814152 h 5274245"/>
                    <a:gd name="connsiteX20" fmla="*/ 2524617 w 8249514"/>
                    <a:gd name="connsiteY20" fmla="*/ 3797389 h 5274245"/>
                    <a:gd name="connsiteX21" fmla="*/ 2524618 w 8249514"/>
                    <a:gd name="connsiteY21" fmla="*/ 3797389 h 5274245"/>
                    <a:gd name="connsiteX22" fmla="*/ 2280583 w 8249514"/>
                    <a:gd name="connsiteY22" fmla="*/ 3640486 h 5274245"/>
                    <a:gd name="connsiteX23" fmla="*/ 2023174 w 8249514"/>
                    <a:gd name="connsiteY23" fmla="*/ 3458937 h 5274245"/>
                    <a:gd name="connsiteX24" fmla="*/ 1973170 w 8249514"/>
                    <a:gd name="connsiteY24" fmla="*/ 3420217 h 5274245"/>
                    <a:gd name="connsiteX25" fmla="*/ 1778930 w 8249514"/>
                    <a:gd name="connsiteY25" fmla="*/ 3269806 h 5274245"/>
                    <a:gd name="connsiteX26" fmla="*/ 616210 w 8249514"/>
                    <a:gd name="connsiteY26" fmla="*/ 1992737 h 5274245"/>
                    <a:gd name="connsiteX27" fmla="*/ 579826 w 8249514"/>
                    <a:gd name="connsiteY27" fmla="*/ 1931533 h 5274245"/>
                    <a:gd name="connsiteX28" fmla="*/ 477258 w 8249514"/>
                    <a:gd name="connsiteY28" fmla="*/ 1758997 h 5274245"/>
                    <a:gd name="connsiteX29" fmla="*/ 15245 w 8249514"/>
                    <a:gd name="connsiteY29" fmla="*/ 258673 h 5274245"/>
                    <a:gd name="connsiteX30" fmla="*/ 0 w 8249514"/>
                    <a:gd name="connsiteY30"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6225646 w 8249514"/>
                    <a:gd name="connsiteY12" fmla="*/ 5117814 h 5274245"/>
                    <a:gd name="connsiteX13" fmla="*/ 6123397 w 8249514"/>
                    <a:gd name="connsiteY13" fmla="*/ 5099724 h 5274245"/>
                    <a:gd name="connsiteX14" fmla="*/ 5846840 w 8249514"/>
                    <a:gd name="connsiteY14" fmla="*/ 5050796 h 5274245"/>
                    <a:gd name="connsiteX15" fmla="*/ 4497272 w 8249514"/>
                    <a:gd name="connsiteY15" fmla="*/ 4702147 h 5274245"/>
                    <a:gd name="connsiteX16" fmla="*/ 4136669 w 8249514"/>
                    <a:gd name="connsiteY16" fmla="*/ 4575278 h 5274245"/>
                    <a:gd name="connsiteX17" fmla="*/ 4075242 w 8249514"/>
                    <a:gd name="connsiteY17" fmla="*/ 4553666 h 5274245"/>
                    <a:gd name="connsiteX18" fmla="*/ 2550688 w 8249514"/>
                    <a:gd name="connsiteY18" fmla="*/ 3814152 h 5274245"/>
                    <a:gd name="connsiteX19" fmla="*/ 2524617 w 8249514"/>
                    <a:gd name="connsiteY19" fmla="*/ 3797389 h 5274245"/>
                    <a:gd name="connsiteX20" fmla="*/ 2524618 w 8249514"/>
                    <a:gd name="connsiteY20" fmla="*/ 3797389 h 5274245"/>
                    <a:gd name="connsiteX21" fmla="*/ 2280583 w 8249514"/>
                    <a:gd name="connsiteY21" fmla="*/ 3640486 h 5274245"/>
                    <a:gd name="connsiteX22" fmla="*/ 2023174 w 8249514"/>
                    <a:gd name="connsiteY22" fmla="*/ 3458937 h 5274245"/>
                    <a:gd name="connsiteX23" fmla="*/ 1973170 w 8249514"/>
                    <a:gd name="connsiteY23" fmla="*/ 3420217 h 5274245"/>
                    <a:gd name="connsiteX24" fmla="*/ 1778930 w 8249514"/>
                    <a:gd name="connsiteY24" fmla="*/ 3269806 h 5274245"/>
                    <a:gd name="connsiteX25" fmla="*/ 616210 w 8249514"/>
                    <a:gd name="connsiteY25" fmla="*/ 1992737 h 5274245"/>
                    <a:gd name="connsiteX26" fmla="*/ 579826 w 8249514"/>
                    <a:gd name="connsiteY26" fmla="*/ 1931533 h 5274245"/>
                    <a:gd name="connsiteX27" fmla="*/ 477258 w 8249514"/>
                    <a:gd name="connsiteY27" fmla="*/ 1758997 h 5274245"/>
                    <a:gd name="connsiteX28" fmla="*/ 15245 w 8249514"/>
                    <a:gd name="connsiteY28" fmla="*/ 258673 h 5274245"/>
                    <a:gd name="connsiteX29" fmla="*/ 0 w 8249514"/>
                    <a:gd name="connsiteY29"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6225646 w 8249514"/>
                    <a:gd name="connsiteY12" fmla="*/ 5117814 h 5274245"/>
                    <a:gd name="connsiteX13" fmla="*/ 6123397 w 8249514"/>
                    <a:gd name="connsiteY13" fmla="*/ 5099724 h 5274245"/>
                    <a:gd name="connsiteX14" fmla="*/ 4497272 w 8249514"/>
                    <a:gd name="connsiteY14" fmla="*/ 4702147 h 5274245"/>
                    <a:gd name="connsiteX15" fmla="*/ 4136669 w 8249514"/>
                    <a:gd name="connsiteY15" fmla="*/ 4575278 h 5274245"/>
                    <a:gd name="connsiteX16" fmla="*/ 4075242 w 8249514"/>
                    <a:gd name="connsiteY16" fmla="*/ 4553666 h 5274245"/>
                    <a:gd name="connsiteX17" fmla="*/ 2550688 w 8249514"/>
                    <a:gd name="connsiteY17" fmla="*/ 3814152 h 5274245"/>
                    <a:gd name="connsiteX18" fmla="*/ 2524617 w 8249514"/>
                    <a:gd name="connsiteY18" fmla="*/ 3797389 h 5274245"/>
                    <a:gd name="connsiteX19" fmla="*/ 2524618 w 8249514"/>
                    <a:gd name="connsiteY19" fmla="*/ 3797389 h 5274245"/>
                    <a:gd name="connsiteX20" fmla="*/ 2280583 w 8249514"/>
                    <a:gd name="connsiteY20" fmla="*/ 3640486 h 5274245"/>
                    <a:gd name="connsiteX21" fmla="*/ 2023174 w 8249514"/>
                    <a:gd name="connsiteY21" fmla="*/ 3458937 h 5274245"/>
                    <a:gd name="connsiteX22" fmla="*/ 1973170 w 8249514"/>
                    <a:gd name="connsiteY22" fmla="*/ 3420217 h 5274245"/>
                    <a:gd name="connsiteX23" fmla="*/ 1778930 w 8249514"/>
                    <a:gd name="connsiteY23" fmla="*/ 3269806 h 5274245"/>
                    <a:gd name="connsiteX24" fmla="*/ 616210 w 8249514"/>
                    <a:gd name="connsiteY24" fmla="*/ 1992737 h 5274245"/>
                    <a:gd name="connsiteX25" fmla="*/ 579826 w 8249514"/>
                    <a:gd name="connsiteY25" fmla="*/ 1931533 h 5274245"/>
                    <a:gd name="connsiteX26" fmla="*/ 477258 w 8249514"/>
                    <a:gd name="connsiteY26" fmla="*/ 1758997 h 5274245"/>
                    <a:gd name="connsiteX27" fmla="*/ 15245 w 8249514"/>
                    <a:gd name="connsiteY27" fmla="*/ 258673 h 5274245"/>
                    <a:gd name="connsiteX28" fmla="*/ 0 w 8249514"/>
                    <a:gd name="connsiteY28"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6225646 w 8249514"/>
                    <a:gd name="connsiteY12" fmla="*/ 5117814 h 5274245"/>
                    <a:gd name="connsiteX13" fmla="*/ 4497272 w 8249514"/>
                    <a:gd name="connsiteY13" fmla="*/ 4702147 h 5274245"/>
                    <a:gd name="connsiteX14" fmla="*/ 4136669 w 8249514"/>
                    <a:gd name="connsiteY14" fmla="*/ 4575278 h 5274245"/>
                    <a:gd name="connsiteX15" fmla="*/ 4075242 w 8249514"/>
                    <a:gd name="connsiteY15" fmla="*/ 4553666 h 5274245"/>
                    <a:gd name="connsiteX16" fmla="*/ 2550688 w 8249514"/>
                    <a:gd name="connsiteY16" fmla="*/ 3814152 h 5274245"/>
                    <a:gd name="connsiteX17" fmla="*/ 2524617 w 8249514"/>
                    <a:gd name="connsiteY17" fmla="*/ 3797389 h 5274245"/>
                    <a:gd name="connsiteX18" fmla="*/ 2524618 w 8249514"/>
                    <a:gd name="connsiteY18" fmla="*/ 3797389 h 5274245"/>
                    <a:gd name="connsiteX19" fmla="*/ 2280583 w 8249514"/>
                    <a:gd name="connsiteY19" fmla="*/ 3640486 h 5274245"/>
                    <a:gd name="connsiteX20" fmla="*/ 2023174 w 8249514"/>
                    <a:gd name="connsiteY20" fmla="*/ 3458937 h 5274245"/>
                    <a:gd name="connsiteX21" fmla="*/ 1973170 w 8249514"/>
                    <a:gd name="connsiteY21" fmla="*/ 3420217 h 5274245"/>
                    <a:gd name="connsiteX22" fmla="*/ 1778930 w 8249514"/>
                    <a:gd name="connsiteY22" fmla="*/ 3269806 h 5274245"/>
                    <a:gd name="connsiteX23" fmla="*/ 616210 w 8249514"/>
                    <a:gd name="connsiteY23" fmla="*/ 1992737 h 5274245"/>
                    <a:gd name="connsiteX24" fmla="*/ 579826 w 8249514"/>
                    <a:gd name="connsiteY24" fmla="*/ 1931533 h 5274245"/>
                    <a:gd name="connsiteX25" fmla="*/ 477258 w 8249514"/>
                    <a:gd name="connsiteY25" fmla="*/ 1758997 h 5274245"/>
                    <a:gd name="connsiteX26" fmla="*/ 15245 w 8249514"/>
                    <a:gd name="connsiteY26" fmla="*/ 258673 h 5274245"/>
                    <a:gd name="connsiteX27" fmla="*/ 0 w 8249514"/>
                    <a:gd name="connsiteY27"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4497272 w 8249514"/>
                    <a:gd name="connsiteY12" fmla="*/ 4702147 h 5274245"/>
                    <a:gd name="connsiteX13" fmla="*/ 4136669 w 8249514"/>
                    <a:gd name="connsiteY13" fmla="*/ 4575278 h 5274245"/>
                    <a:gd name="connsiteX14" fmla="*/ 4075242 w 8249514"/>
                    <a:gd name="connsiteY14" fmla="*/ 4553666 h 5274245"/>
                    <a:gd name="connsiteX15" fmla="*/ 2550688 w 8249514"/>
                    <a:gd name="connsiteY15" fmla="*/ 3814152 h 5274245"/>
                    <a:gd name="connsiteX16" fmla="*/ 2524617 w 8249514"/>
                    <a:gd name="connsiteY16" fmla="*/ 3797389 h 5274245"/>
                    <a:gd name="connsiteX17" fmla="*/ 2524618 w 8249514"/>
                    <a:gd name="connsiteY17" fmla="*/ 3797389 h 5274245"/>
                    <a:gd name="connsiteX18" fmla="*/ 2280583 w 8249514"/>
                    <a:gd name="connsiteY18" fmla="*/ 3640486 h 5274245"/>
                    <a:gd name="connsiteX19" fmla="*/ 2023174 w 8249514"/>
                    <a:gd name="connsiteY19" fmla="*/ 3458937 h 5274245"/>
                    <a:gd name="connsiteX20" fmla="*/ 1973170 w 8249514"/>
                    <a:gd name="connsiteY20" fmla="*/ 3420217 h 5274245"/>
                    <a:gd name="connsiteX21" fmla="*/ 1778930 w 8249514"/>
                    <a:gd name="connsiteY21" fmla="*/ 3269806 h 5274245"/>
                    <a:gd name="connsiteX22" fmla="*/ 616210 w 8249514"/>
                    <a:gd name="connsiteY22" fmla="*/ 1992737 h 5274245"/>
                    <a:gd name="connsiteX23" fmla="*/ 579826 w 8249514"/>
                    <a:gd name="connsiteY23" fmla="*/ 1931533 h 5274245"/>
                    <a:gd name="connsiteX24" fmla="*/ 477258 w 8249514"/>
                    <a:gd name="connsiteY24" fmla="*/ 1758997 h 5274245"/>
                    <a:gd name="connsiteX25" fmla="*/ 15245 w 8249514"/>
                    <a:gd name="connsiteY25" fmla="*/ 258673 h 5274245"/>
                    <a:gd name="connsiteX26" fmla="*/ 0 w 8249514"/>
                    <a:gd name="connsiteY26"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4136669 w 8249514"/>
                    <a:gd name="connsiteY12" fmla="*/ 4575278 h 5274245"/>
                    <a:gd name="connsiteX13" fmla="*/ 4075242 w 8249514"/>
                    <a:gd name="connsiteY13" fmla="*/ 4553666 h 5274245"/>
                    <a:gd name="connsiteX14" fmla="*/ 2550688 w 8249514"/>
                    <a:gd name="connsiteY14" fmla="*/ 3814152 h 5274245"/>
                    <a:gd name="connsiteX15" fmla="*/ 2524617 w 8249514"/>
                    <a:gd name="connsiteY15" fmla="*/ 3797389 h 5274245"/>
                    <a:gd name="connsiteX16" fmla="*/ 2524618 w 8249514"/>
                    <a:gd name="connsiteY16" fmla="*/ 3797389 h 5274245"/>
                    <a:gd name="connsiteX17" fmla="*/ 2280583 w 8249514"/>
                    <a:gd name="connsiteY17" fmla="*/ 3640486 h 5274245"/>
                    <a:gd name="connsiteX18" fmla="*/ 2023174 w 8249514"/>
                    <a:gd name="connsiteY18" fmla="*/ 3458937 h 5274245"/>
                    <a:gd name="connsiteX19" fmla="*/ 1973170 w 8249514"/>
                    <a:gd name="connsiteY19" fmla="*/ 3420217 h 5274245"/>
                    <a:gd name="connsiteX20" fmla="*/ 1778930 w 8249514"/>
                    <a:gd name="connsiteY20" fmla="*/ 3269806 h 5274245"/>
                    <a:gd name="connsiteX21" fmla="*/ 616210 w 8249514"/>
                    <a:gd name="connsiteY21" fmla="*/ 1992737 h 5274245"/>
                    <a:gd name="connsiteX22" fmla="*/ 579826 w 8249514"/>
                    <a:gd name="connsiteY22" fmla="*/ 1931533 h 5274245"/>
                    <a:gd name="connsiteX23" fmla="*/ 477258 w 8249514"/>
                    <a:gd name="connsiteY23" fmla="*/ 1758997 h 5274245"/>
                    <a:gd name="connsiteX24" fmla="*/ 15245 w 8249514"/>
                    <a:gd name="connsiteY24" fmla="*/ 258673 h 5274245"/>
                    <a:gd name="connsiteX25" fmla="*/ 0 w 8249514"/>
                    <a:gd name="connsiteY25"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4136669 w 8249514"/>
                    <a:gd name="connsiteY12" fmla="*/ 4575278 h 5274245"/>
                    <a:gd name="connsiteX13" fmla="*/ 2550688 w 8249514"/>
                    <a:gd name="connsiteY13" fmla="*/ 3814152 h 5274245"/>
                    <a:gd name="connsiteX14" fmla="*/ 2524617 w 8249514"/>
                    <a:gd name="connsiteY14" fmla="*/ 3797389 h 5274245"/>
                    <a:gd name="connsiteX15" fmla="*/ 2524618 w 8249514"/>
                    <a:gd name="connsiteY15" fmla="*/ 3797389 h 5274245"/>
                    <a:gd name="connsiteX16" fmla="*/ 2280583 w 8249514"/>
                    <a:gd name="connsiteY16" fmla="*/ 3640486 h 5274245"/>
                    <a:gd name="connsiteX17" fmla="*/ 2023174 w 8249514"/>
                    <a:gd name="connsiteY17" fmla="*/ 3458937 h 5274245"/>
                    <a:gd name="connsiteX18" fmla="*/ 1973170 w 8249514"/>
                    <a:gd name="connsiteY18" fmla="*/ 3420217 h 5274245"/>
                    <a:gd name="connsiteX19" fmla="*/ 1778930 w 8249514"/>
                    <a:gd name="connsiteY19" fmla="*/ 3269806 h 5274245"/>
                    <a:gd name="connsiteX20" fmla="*/ 616210 w 8249514"/>
                    <a:gd name="connsiteY20" fmla="*/ 1992737 h 5274245"/>
                    <a:gd name="connsiteX21" fmla="*/ 579826 w 8249514"/>
                    <a:gd name="connsiteY21" fmla="*/ 1931533 h 5274245"/>
                    <a:gd name="connsiteX22" fmla="*/ 477258 w 8249514"/>
                    <a:gd name="connsiteY22" fmla="*/ 1758997 h 5274245"/>
                    <a:gd name="connsiteX23" fmla="*/ 15245 w 8249514"/>
                    <a:gd name="connsiteY23" fmla="*/ 258673 h 5274245"/>
                    <a:gd name="connsiteX24" fmla="*/ 0 w 8249514"/>
                    <a:gd name="connsiteY24"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524617 w 8249514"/>
                    <a:gd name="connsiteY13" fmla="*/ 3797389 h 5274245"/>
                    <a:gd name="connsiteX14" fmla="*/ 2524618 w 8249514"/>
                    <a:gd name="connsiteY14" fmla="*/ 3797389 h 5274245"/>
                    <a:gd name="connsiteX15" fmla="*/ 2280583 w 8249514"/>
                    <a:gd name="connsiteY15" fmla="*/ 3640486 h 5274245"/>
                    <a:gd name="connsiteX16" fmla="*/ 2023174 w 8249514"/>
                    <a:gd name="connsiteY16" fmla="*/ 3458937 h 5274245"/>
                    <a:gd name="connsiteX17" fmla="*/ 1973170 w 8249514"/>
                    <a:gd name="connsiteY17" fmla="*/ 3420217 h 5274245"/>
                    <a:gd name="connsiteX18" fmla="*/ 1778930 w 8249514"/>
                    <a:gd name="connsiteY18" fmla="*/ 3269806 h 5274245"/>
                    <a:gd name="connsiteX19" fmla="*/ 616210 w 8249514"/>
                    <a:gd name="connsiteY19" fmla="*/ 1992737 h 5274245"/>
                    <a:gd name="connsiteX20" fmla="*/ 579826 w 8249514"/>
                    <a:gd name="connsiteY20" fmla="*/ 1931533 h 5274245"/>
                    <a:gd name="connsiteX21" fmla="*/ 477258 w 8249514"/>
                    <a:gd name="connsiteY21" fmla="*/ 1758997 h 5274245"/>
                    <a:gd name="connsiteX22" fmla="*/ 15245 w 8249514"/>
                    <a:gd name="connsiteY22" fmla="*/ 258673 h 5274245"/>
                    <a:gd name="connsiteX23" fmla="*/ 0 w 8249514"/>
                    <a:gd name="connsiteY23"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524617 w 8249514"/>
                    <a:gd name="connsiteY13" fmla="*/ 3797389 h 5274245"/>
                    <a:gd name="connsiteX14" fmla="*/ 2280583 w 8249514"/>
                    <a:gd name="connsiteY14" fmla="*/ 3640486 h 5274245"/>
                    <a:gd name="connsiteX15" fmla="*/ 2023174 w 8249514"/>
                    <a:gd name="connsiteY15" fmla="*/ 3458937 h 5274245"/>
                    <a:gd name="connsiteX16" fmla="*/ 1973170 w 8249514"/>
                    <a:gd name="connsiteY16" fmla="*/ 3420217 h 5274245"/>
                    <a:gd name="connsiteX17" fmla="*/ 1778930 w 8249514"/>
                    <a:gd name="connsiteY17" fmla="*/ 3269806 h 5274245"/>
                    <a:gd name="connsiteX18" fmla="*/ 616210 w 8249514"/>
                    <a:gd name="connsiteY18" fmla="*/ 1992737 h 5274245"/>
                    <a:gd name="connsiteX19" fmla="*/ 579826 w 8249514"/>
                    <a:gd name="connsiteY19" fmla="*/ 1931533 h 5274245"/>
                    <a:gd name="connsiteX20" fmla="*/ 477258 w 8249514"/>
                    <a:gd name="connsiteY20" fmla="*/ 1758997 h 5274245"/>
                    <a:gd name="connsiteX21" fmla="*/ 15245 w 8249514"/>
                    <a:gd name="connsiteY21" fmla="*/ 258673 h 5274245"/>
                    <a:gd name="connsiteX22" fmla="*/ 0 w 8249514"/>
                    <a:gd name="connsiteY22"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280583 w 8249514"/>
                    <a:gd name="connsiteY13" fmla="*/ 3640486 h 5274245"/>
                    <a:gd name="connsiteX14" fmla="*/ 2023174 w 8249514"/>
                    <a:gd name="connsiteY14" fmla="*/ 3458937 h 5274245"/>
                    <a:gd name="connsiteX15" fmla="*/ 1973170 w 8249514"/>
                    <a:gd name="connsiteY15" fmla="*/ 3420217 h 5274245"/>
                    <a:gd name="connsiteX16" fmla="*/ 1778930 w 8249514"/>
                    <a:gd name="connsiteY16" fmla="*/ 3269806 h 5274245"/>
                    <a:gd name="connsiteX17" fmla="*/ 616210 w 8249514"/>
                    <a:gd name="connsiteY17" fmla="*/ 1992737 h 5274245"/>
                    <a:gd name="connsiteX18" fmla="*/ 579826 w 8249514"/>
                    <a:gd name="connsiteY18" fmla="*/ 1931533 h 5274245"/>
                    <a:gd name="connsiteX19" fmla="*/ 477258 w 8249514"/>
                    <a:gd name="connsiteY19" fmla="*/ 1758997 h 5274245"/>
                    <a:gd name="connsiteX20" fmla="*/ 15245 w 8249514"/>
                    <a:gd name="connsiteY20" fmla="*/ 258673 h 5274245"/>
                    <a:gd name="connsiteX21" fmla="*/ 0 w 8249514"/>
                    <a:gd name="connsiteY21"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023174 w 8249514"/>
                    <a:gd name="connsiteY13" fmla="*/ 3458937 h 5274245"/>
                    <a:gd name="connsiteX14" fmla="*/ 1973170 w 8249514"/>
                    <a:gd name="connsiteY14" fmla="*/ 3420217 h 5274245"/>
                    <a:gd name="connsiteX15" fmla="*/ 1778930 w 8249514"/>
                    <a:gd name="connsiteY15" fmla="*/ 3269806 h 5274245"/>
                    <a:gd name="connsiteX16" fmla="*/ 616210 w 8249514"/>
                    <a:gd name="connsiteY16" fmla="*/ 1992737 h 5274245"/>
                    <a:gd name="connsiteX17" fmla="*/ 579826 w 8249514"/>
                    <a:gd name="connsiteY17" fmla="*/ 1931533 h 5274245"/>
                    <a:gd name="connsiteX18" fmla="*/ 477258 w 8249514"/>
                    <a:gd name="connsiteY18" fmla="*/ 1758997 h 5274245"/>
                    <a:gd name="connsiteX19" fmla="*/ 15245 w 8249514"/>
                    <a:gd name="connsiteY19" fmla="*/ 258673 h 5274245"/>
                    <a:gd name="connsiteX20" fmla="*/ 0 w 8249514"/>
                    <a:gd name="connsiteY20"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023174 w 8249514"/>
                    <a:gd name="connsiteY13" fmla="*/ 3458937 h 5274245"/>
                    <a:gd name="connsiteX14" fmla="*/ 1778930 w 8249514"/>
                    <a:gd name="connsiteY14" fmla="*/ 3269806 h 5274245"/>
                    <a:gd name="connsiteX15" fmla="*/ 616210 w 8249514"/>
                    <a:gd name="connsiteY15" fmla="*/ 1992737 h 5274245"/>
                    <a:gd name="connsiteX16" fmla="*/ 579826 w 8249514"/>
                    <a:gd name="connsiteY16" fmla="*/ 1931533 h 5274245"/>
                    <a:gd name="connsiteX17" fmla="*/ 477258 w 8249514"/>
                    <a:gd name="connsiteY17" fmla="*/ 1758997 h 5274245"/>
                    <a:gd name="connsiteX18" fmla="*/ 15245 w 8249514"/>
                    <a:gd name="connsiteY18" fmla="*/ 258673 h 5274245"/>
                    <a:gd name="connsiteX19" fmla="*/ 0 w 8249514"/>
                    <a:gd name="connsiteY19"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023174 w 8249514"/>
                    <a:gd name="connsiteY13" fmla="*/ 3458937 h 5274245"/>
                    <a:gd name="connsiteX14" fmla="*/ 616210 w 8249514"/>
                    <a:gd name="connsiteY14" fmla="*/ 1992737 h 5274245"/>
                    <a:gd name="connsiteX15" fmla="*/ 579826 w 8249514"/>
                    <a:gd name="connsiteY15" fmla="*/ 1931533 h 5274245"/>
                    <a:gd name="connsiteX16" fmla="*/ 477258 w 8249514"/>
                    <a:gd name="connsiteY16" fmla="*/ 1758997 h 5274245"/>
                    <a:gd name="connsiteX17" fmla="*/ 15245 w 8249514"/>
                    <a:gd name="connsiteY17" fmla="*/ 258673 h 5274245"/>
                    <a:gd name="connsiteX18" fmla="*/ 0 w 8249514"/>
                    <a:gd name="connsiteY18" fmla="*/ 0 h 5274245"/>
                    <a:gd name="connsiteX0" fmla="*/ 35465 w 8284979"/>
                    <a:gd name="connsiteY0" fmla="*/ 0 h 5274245"/>
                    <a:gd name="connsiteX1" fmla="*/ 1594482 w 8284979"/>
                    <a:gd name="connsiteY1" fmla="*/ 0 h 5274245"/>
                    <a:gd name="connsiteX2" fmla="*/ 1598149 w 8284979"/>
                    <a:gd name="connsiteY2" fmla="*/ 18100 h 5274245"/>
                    <a:gd name="connsiteX3" fmla="*/ 1612397 w 8284979"/>
                    <a:gd name="connsiteY3" fmla="*/ 67997 h 5274245"/>
                    <a:gd name="connsiteX4" fmla="*/ 1642992 w 8284979"/>
                    <a:gd name="connsiteY4" fmla="*/ 197439 h 5274245"/>
                    <a:gd name="connsiteX5" fmla="*/ 7232569 w 8284979"/>
                    <a:gd name="connsiteY5" fmla="*/ 3922017 h 5274245"/>
                    <a:gd name="connsiteX6" fmla="*/ 7526678 w 8284979"/>
                    <a:gd name="connsiteY6" fmla="*/ 3949075 h 5274245"/>
                    <a:gd name="connsiteX7" fmla="*/ 7595242 w 8284979"/>
                    <a:gd name="connsiteY7" fmla="*/ 3959937 h 5274245"/>
                    <a:gd name="connsiteX8" fmla="*/ 8091957 w 8284979"/>
                    <a:gd name="connsiteY8" fmla="*/ 4016161 h 5274245"/>
                    <a:gd name="connsiteX9" fmla="*/ 8284979 w 8284979"/>
                    <a:gd name="connsiteY9" fmla="*/ 4031359 h 5274245"/>
                    <a:gd name="connsiteX10" fmla="*/ 8284979 w 8284979"/>
                    <a:gd name="connsiteY10" fmla="*/ 5273704 h 5274245"/>
                    <a:gd name="connsiteX11" fmla="*/ 8251765 w 8284979"/>
                    <a:gd name="connsiteY11" fmla="*/ 5274245 h 5274245"/>
                    <a:gd name="connsiteX12" fmla="*/ 2586153 w 8284979"/>
                    <a:gd name="connsiteY12" fmla="*/ 3814152 h 5274245"/>
                    <a:gd name="connsiteX13" fmla="*/ 2058639 w 8284979"/>
                    <a:gd name="connsiteY13" fmla="*/ 3458937 h 5274245"/>
                    <a:gd name="connsiteX14" fmla="*/ 651675 w 8284979"/>
                    <a:gd name="connsiteY14" fmla="*/ 1992737 h 5274245"/>
                    <a:gd name="connsiteX15" fmla="*/ 615291 w 8284979"/>
                    <a:gd name="connsiteY15" fmla="*/ 1931533 h 5274245"/>
                    <a:gd name="connsiteX16" fmla="*/ 512723 w 8284979"/>
                    <a:gd name="connsiteY16" fmla="*/ 1758997 h 5274245"/>
                    <a:gd name="connsiteX17" fmla="*/ 35465 w 8284979"/>
                    <a:gd name="connsiteY17"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023174 w 8249514"/>
                    <a:gd name="connsiteY13" fmla="*/ 3458937 h 5274245"/>
                    <a:gd name="connsiteX14" fmla="*/ 616210 w 8249514"/>
                    <a:gd name="connsiteY14" fmla="*/ 1992737 h 5274245"/>
                    <a:gd name="connsiteX15" fmla="*/ 579826 w 8249514"/>
                    <a:gd name="connsiteY15" fmla="*/ 1931533 h 5274245"/>
                    <a:gd name="connsiteX16" fmla="*/ 0 w 8249514"/>
                    <a:gd name="connsiteY16"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023174 w 8249514"/>
                    <a:gd name="connsiteY13" fmla="*/ 3458937 h 5274245"/>
                    <a:gd name="connsiteX14" fmla="*/ 579826 w 8249514"/>
                    <a:gd name="connsiteY14" fmla="*/ 1931533 h 5274245"/>
                    <a:gd name="connsiteX15" fmla="*/ 0 w 8249514"/>
                    <a:gd name="connsiteY15"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2023174 w 8249514"/>
                    <a:gd name="connsiteY13" fmla="*/ 3458937 h 5274245"/>
                    <a:gd name="connsiteX14" fmla="*/ 0 w 8249514"/>
                    <a:gd name="connsiteY14"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2550688 w 8249514"/>
                    <a:gd name="connsiteY12" fmla="*/ 3814152 h 5274245"/>
                    <a:gd name="connsiteX13" fmla="*/ 0 w 8249514"/>
                    <a:gd name="connsiteY13"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197104 w 8249514"/>
                    <a:gd name="connsiteY5" fmla="*/ 3922017 h 5274245"/>
                    <a:gd name="connsiteX6" fmla="*/ 7491213 w 8249514"/>
                    <a:gd name="connsiteY6" fmla="*/ 3949075 h 5274245"/>
                    <a:gd name="connsiteX7" fmla="*/ 7559777 w 8249514"/>
                    <a:gd name="connsiteY7" fmla="*/ 3959937 h 5274245"/>
                    <a:gd name="connsiteX8" fmla="*/ 8056492 w 8249514"/>
                    <a:gd name="connsiteY8" fmla="*/ 4016161 h 5274245"/>
                    <a:gd name="connsiteX9" fmla="*/ 8249514 w 8249514"/>
                    <a:gd name="connsiteY9" fmla="*/ 4031359 h 5274245"/>
                    <a:gd name="connsiteX10" fmla="*/ 8249514 w 8249514"/>
                    <a:gd name="connsiteY10" fmla="*/ 5273704 h 5274245"/>
                    <a:gd name="connsiteX11" fmla="*/ 8216300 w 8249514"/>
                    <a:gd name="connsiteY11" fmla="*/ 5274245 h 5274245"/>
                    <a:gd name="connsiteX12" fmla="*/ 0 w 8249514"/>
                    <a:gd name="connsiteY12"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491213 w 8249514"/>
                    <a:gd name="connsiteY5" fmla="*/ 3949075 h 5274245"/>
                    <a:gd name="connsiteX6" fmla="*/ 7559777 w 8249514"/>
                    <a:gd name="connsiteY6" fmla="*/ 3959937 h 5274245"/>
                    <a:gd name="connsiteX7" fmla="*/ 8056492 w 8249514"/>
                    <a:gd name="connsiteY7" fmla="*/ 4016161 h 5274245"/>
                    <a:gd name="connsiteX8" fmla="*/ 8249514 w 8249514"/>
                    <a:gd name="connsiteY8" fmla="*/ 4031359 h 5274245"/>
                    <a:gd name="connsiteX9" fmla="*/ 8249514 w 8249514"/>
                    <a:gd name="connsiteY9" fmla="*/ 5273704 h 5274245"/>
                    <a:gd name="connsiteX10" fmla="*/ 8216300 w 8249514"/>
                    <a:gd name="connsiteY10" fmla="*/ 5274245 h 5274245"/>
                    <a:gd name="connsiteX11" fmla="*/ 0 w 8249514"/>
                    <a:gd name="connsiteY11"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7491213 w 8249514"/>
                    <a:gd name="connsiteY5" fmla="*/ 3949075 h 5274245"/>
                    <a:gd name="connsiteX6" fmla="*/ 8056492 w 8249514"/>
                    <a:gd name="connsiteY6" fmla="*/ 4016161 h 5274245"/>
                    <a:gd name="connsiteX7" fmla="*/ 8249514 w 8249514"/>
                    <a:gd name="connsiteY7" fmla="*/ 4031359 h 5274245"/>
                    <a:gd name="connsiteX8" fmla="*/ 8249514 w 8249514"/>
                    <a:gd name="connsiteY8" fmla="*/ 5273704 h 5274245"/>
                    <a:gd name="connsiteX9" fmla="*/ 8216300 w 8249514"/>
                    <a:gd name="connsiteY9" fmla="*/ 5274245 h 5274245"/>
                    <a:gd name="connsiteX10" fmla="*/ 0 w 8249514"/>
                    <a:gd name="connsiteY10"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8056492 w 8249514"/>
                    <a:gd name="connsiteY5" fmla="*/ 4016161 h 5274245"/>
                    <a:gd name="connsiteX6" fmla="*/ 8249514 w 8249514"/>
                    <a:gd name="connsiteY6" fmla="*/ 4031359 h 5274245"/>
                    <a:gd name="connsiteX7" fmla="*/ 8249514 w 8249514"/>
                    <a:gd name="connsiteY7" fmla="*/ 5273704 h 5274245"/>
                    <a:gd name="connsiteX8" fmla="*/ 8216300 w 8249514"/>
                    <a:gd name="connsiteY8" fmla="*/ 5274245 h 5274245"/>
                    <a:gd name="connsiteX9" fmla="*/ 0 w 8249514"/>
                    <a:gd name="connsiteY9"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8249514 w 8249514"/>
                    <a:gd name="connsiteY5" fmla="*/ 4031359 h 5274245"/>
                    <a:gd name="connsiteX6" fmla="*/ 8249514 w 8249514"/>
                    <a:gd name="connsiteY6" fmla="*/ 5273704 h 5274245"/>
                    <a:gd name="connsiteX7" fmla="*/ 8216300 w 8249514"/>
                    <a:gd name="connsiteY7" fmla="*/ 5274245 h 5274245"/>
                    <a:gd name="connsiteX8" fmla="*/ 0 w 8249514"/>
                    <a:gd name="connsiteY8" fmla="*/ 0 h 5274245"/>
                    <a:gd name="connsiteX0" fmla="*/ 0 w 8249514"/>
                    <a:gd name="connsiteY0" fmla="*/ 0 h 5274245"/>
                    <a:gd name="connsiteX1" fmla="*/ 1559017 w 8249514"/>
                    <a:gd name="connsiteY1" fmla="*/ 0 h 5274245"/>
                    <a:gd name="connsiteX2" fmla="*/ 1562684 w 8249514"/>
                    <a:gd name="connsiteY2" fmla="*/ 18100 h 5274245"/>
                    <a:gd name="connsiteX3" fmla="*/ 1576932 w 8249514"/>
                    <a:gd name="connsiteY3" fmla="*/ 67997 h 5274245"/>
                    <a:gd name="connsiteX4" fmla="*/ 1607527 w 8249514"/>
                    <a:gd name="connsiteY4" fmla="*/ 197439 h 5274245"/>
                    <a:gd name="connsiteX5" fmla="*/ 8249514 w 8249514"/>
                    <a:gd name="connsiteY5" fmla="*/ 4031359 h 5274245"/>
                    <a:gd name="connsiteX6" fmla="*/ 8249514 w 8249514"/>
                    <a:gd name="connsiteY6" fmla="*/ 5273704 h 5274245"/>
                    <a:gd name="connsiteX7" fmla="*/ 8216300 w 8249514"/>
                    <a:gd name="connsiteY7" fmla="*/ 5274245 h 5274245"/>
                    <a:gd name="connsiteX8" fmla="*/ 0 w 8249514"/>
                    <a:gd name="connsiteY8" fmla="*/ 0 h 5274245"/>
                    <a:gd name="connsiteX0" fmla="*/ 90 w 8249604"/>
                    <a:gd name="connsiteY0" fmla="*/ 0 h 5274245"/>
                    <a:gd name="connsiteX1" fmla="*/ 1559107 w 8249604"/>
                    <a:gd name="connsiteY1" fmla="*/ 0 h 5274245"/>
                    <a:gd name="connsiteX2" fmla="*/ 1562774 w 8249604"/>
                    <a:gd name="connsiteY2" fmla="*/ 18100 h 5274245"/>
                    <a:gd name="connsiteX3" fmla="*/ 1577022 w 8249604"/>
                    <a:gd name="connsiteY3" fmla="*/ 67997 h 5274245"/>
                    <a:gd name="connsiteX4" fmla="*/ 1607617 w 8249604"/>
                    <a:gd name="connsiteY4" fmla="*/ 197439 h 5274245"/>
                    <a:gd name="connsiteX5" fmla="*/ 8249604 w 8249604"/>
                    <a:gd name="connsiteY5" fmla="*/ 4031359 h 5274245"/>
                    <a:gd name="connsiteX6" fmla="*/ 8249604 w 8249604"/>
                    <a:gd name="connsiteY6" fmla="*/ 5273704 h 5274245"/>
                    <a:gd name="connsiteX7" fmla="*/ 8216390 w 8249604"/>
                    <a:gd name="connsiteY7" fmla="*/ 5274245 h 5274245"/>
                    <a:gd name="connsiteX8" fmla="*/ 90 w 8249604"/>
                    <a:gd name="connsiteY8" fmla="*/ 0 h 5274245"/>
                    <a:gd name="connsiteX0" fmla="*/ 90 w 8249604"/>
                    <a:gd name="connsiteY0" fmla="*/ 0 h 5274245"/>
                    <a:gd name="connsiteX1" fmla="*/ 1559107 w 8249604"/>
                    <a:gd name="connsiteY1" fmla="*/ 0 h 5274245"/>
                    <a:gd name="connsiteX2" fmla="*/ 1562774 w 8249604"/>
                    <a:gd name="connsiteY2" fmla="*/ 18100 h 5274245"/>
                    <a:gd name="connsiteX3" fmla="*/ 1577022 w 8249604"/>
                    <a:gd name="connsiteY3" fmla="*/ 67997 h 5274245"/>
                    <a:gd name="connsiteX4" fmla="*/ 8249604 w 8249604"/>
                    <a:gd name="connsiteY4" fmla="*/ 4031359 h 5274245"/>
                    <a:gd name="connsiteX5" fmla="*/ 8249604 w 8249604"/>
                    <a:gd name="connsiteY5" fmla="*/ 5273704 h 5274245"/>
                    <a:gd name="connsiteX6" fmla="*/ 8216390 w 8249604"/>
                    <a:gd name="connsiteY6" fmla="*/ 5274245 h 5274245"/>
                    <a:gd name="connsiteX7" fmla="*/ 90 w 8249604"/>
                    <a:gd name="connsiteY7" fmla="*/ 0 h 5274245"/>
                    <a:gd name="connsiteX0" fmla="*/ 90 w 8249604"/>
                    <a:gd name="connsiteY0" fmla="*/ 0 h 5274245"/>
                    <a:gd name="connsiteX1" fmla="*/ 1559107 w 8249604"/>
                    <a:gd name="connsiteY1" fmla="*/ 0 h 5274245"/>
                    <a:gd name="connsiteX2" fmla="*/ 1562774 w 8249604"/>
                    <a:gd name="connsiteY2" fmla="*/ 18100 h 5274245"/>
                    <a:gd name="connsiteX3" fmla="*/ 8249604 w 8249604"/>
                    <a:gd name="connsiteY3" fmla="*/ 4031359 h 5274245"/>
                    <a:gd name="connsiteX4" fmla="*/ 8249604 w 8249604"/>
                    <a:gd name="connsiteY4" fmla="*/ 5273704 h 5274245"/>
                    <a:gd name="connsiteX5" fmla="*/ 8216390 w 8249604"/>
                    <a:gd name="connsiteY5" fmla="*/ 5274245 h 5274245"/>
                    <a:gd name="connsiteX6" fmla="*/ 90 w 8249604"/>
                    <a:gd name="connsiteY6" fmla="*/ 0 h 5274245"/>
                    <a:gd name="connsiteX0" fmla="*/ 90 w 8249604"/>
                    <a:gd name="connsiteY0" fmla="*/ 0 h 5274245"/>
                    <a:gd name="connsiteX1" fmla="*/ 1559107 w 8249604"/>
                    <a:gd name="connsiteY1" fmla="*/ 0 h 5274245"/>
                    <a:gd name="connsiteX2" fmla="*/ 8249604 w 8249604"/>
                    <a:gd name="connsiteY2" fmla="*/ 4031359 h 5274245"/>
                    <a:gd name="connsiteX3" fmla="*/ 8249604 w 8249604"/>
                    <a:gd name="connsiteY3" fmla="*/ 5273704 h 5274245"/>
                    <a:gd name="connsiteX4" fmla="*/ 8216390 w 8249604"/>
                    <a:gd name="connsiteY4" fmla="*/ 5274245 h 5274245"/>
                    <a:gd name="connsiteX5" fmla="*/ 90 w 8249604"/>
                    <a:gd name="connsiteY5" fmla="*/ 0 h 5274245"/>
                    <a:gd name="connsiteX0" fmla="*/ 90 w 8249604"/>
                    <a:gd name="connsiteY0" fmla="*/ 0 h 5274245"/>
                    <a:gd name="connsiteX1" fmla="*/ 1559107 w 8249604"/>
                    <a:gd name="connsiteY1" fmla="*/ 0 h 5274245"/>
                    <a:gd name="connsiteX2" fmla="*/ 8249604 w 8249604"/>
                    <a:gd name="connsiteY2" fmla="*/ 4031359 h 5274245"/>
                    <a:gd name="connsiteX3" fmla="*/ 8249604 w 8249604"/>
                    <a:gd name="connsiteY3" fmla="*/ 5273704 h 5274245"/>
                    <a:gd name="connsiteX4" fmla="*/ 8216390 w 8249604"/>
                    <a:gd name="connsiteY4" fmla="*/ 5274245 h 5274245"/>
                    <a:gd name="connsiteX5" fmla="*/ 90 w 8249604"/>
                    <a:gd name="connsiteY5" fmla="*/ 0 h 5274245"/>
                    <a:gd name="connsiteX0" fmla="*/ 90 w 8249604"/>
                    <a:gd name="connsiteY0" fmla="*/ 0 h 5274245"/>
                    <a:gd name="connsiteX1" fmla="*/ 1559107 w 8249604"/>
                    <a:gd name="connsiteY1" fmla="*/ 0 h 5274245"/>
                    <a:gd name="connsiteX2" fmla="*/ 8249604 w 8249604"/>
                    <a:gd name="connsiteY2" fmla="*/ 4031359 h 5274245"/>
                    <a:gd name="connsiteX3" fmla="*/ 8249604 w 8249604"/>
                    <a:gd name="connsiteY3" fmla="*/ 5273704 h 5274245"/>
                    <a:gd name="connsiteX4" fmla="*/ 8216390 w 8249604"/>
                    <a:gd name="connsiteY4" fmla="*/ 5274245 h 5274245"/>
                    <a:gd name="connsiteX5" fmla="*/ 90 w 8249604"/>
                    <a:gd name="connsiteY5" fmla="*/ 0 h 5274245"/>
                    <a:gd name="connsiteX0" fmla="*/ 90 w 8249604"/>
                    <a:gd name="connsiteY0" fmla="*/ 0 h 5274245"/>
                    <a:gd name="connsiteX1" fmla="*/ 1559107 w 8249604"/>
                    <a:gd name="connsiteY1" fmla="*/ 0 h 5274245"/>
                    <a:gd name="connsiteX2" fmla="*/ 8249604 w 8249604"/>
                    <a:gd name="connsiteY2" fmla="*/ 4031359 h 5274245"/>
                    <a:gd name="connsiteX3" fmla="*/ 8249604 w 8249604"/>
                    <a:gd name="connsiteY3" fmla="*/ 5273704 h 5274245"/>
                    <a:gd name="connsiteX4" fmla="*/ 8216390 w 8249604"/>
                    <a:gd name="connsiteY4" fmla="*/ 5274245 h 5274245"/>
                    <a:gd name="connsiteX5" fmla="*/ 90 w 8249604"/>
                    <a:gd name="connsiteY5" fmla="*/ 0 h 5274245"/>
                    <a:gd name="connsiteX0" fmla="*/ 0 w 8249514"/>
                    <a:gd name="connsiteY0" fmla="*/ 0 h 5274245"/>
                    <a:gd name="connsiteX1" fmla="*/ 1559017 w 8249514"/>
                    <a:gd name="connsiteY1" fmla="*/ 0 h 5274245"/>
                    <a:gd name="connsiteX2" fmla="*/ 8249514 w 8249514"/>
                    <a:gd name="connsiteY2" fmla="*/ 4031359 h 5274245"/>
                    <a:gd name="connsiteX3" fmla="*/ 8249514 w 8249514"/>
                    <a:gd name="connsiteY3" fmla="*/ 5273704 h 5274245"/>
                    <a:gd name="connsiteX4" fmla="*/ 8216300 w 8249514"/>
                    <a:gd name="connsiteY4" fmla="*/ 5274245 h 5274245"/>
                    <a:gd name="connsiteX5" fmla="*/ 0 w 8249514"/>
                    <a:gd name="connsiteY5" fmla="*/ 0 h 5274245"/>
                    <a:gd name="connsiteX0" fmla="*/ 0 w 8249514"/>
                    <a:gd name="connsiteY0" fmla="*/ 0 h 5282238"/>
                    <a:gd name="connsiteX1" fmla="*/ 1559017 w 8249514"/>
                    <a:gd name="connsiteY1" fmla="*/ 0 h 5282238"/>
                    <a:gd name="connsiteX2" fmla="*/ 8249514 w 8249514"/>
                    <a:gd name="connsiteY2" fmla="*/ 4031359 h 5282238"/>
                    <a:gd name="connsiteX3" fmla="*/ 8249514 w 8249514"/>
                    <a:gd name="connsiteY3" fmla="*/ 5273704 h 5282238"/>
                    <a:gd name="connsiteX4" fmla="*/ 8216300 w 8249514"/>
                    <a:gd name="connsiteY4" fmla="*/ 5274245 h 5282238"/>
                    <a:gd name="connsiteX5" fmla="*/ 0 w 8249514"/>
                    <a:gd name="connsiteY5" fmla="*/ 0 h 5282238"/>
                    <a:gd name="connsiteX0" fmla="*/ 0 w 8249514"/>
                    <a:gd name="connsiteY0" fmla="*/ 0 h 5282238"/>
                    <a:gd name="connsiteX1" fmla="*/ 1559017 w 8249514"/>
                    <a:gd name="connsiteY1" fmla="*/ 0 h 5282238"/>
                    <a:gd name="connsiteX2" fmla="*/ 8247133 w 8249514"/>
                    <a:gd name="connsiteY2" fmla="*/ 4028978 h 5282238"/>
                    <a:gd name="connsiteX3" fmla="*/ 8249514 w 8249514"/>
                    <a:gd name="connsiteY3" fmla="*/ 5273704 h 5282238"/>
                    <a:gd name="connsiteX4" fmla="*/ 8216300 w 8249514"/>
                    <a:gd name="connsiteY4" fmla="*/ 5274245 h 5282238"/>
                    <a:gd name="connsiteX5" fmla="*/ 0 w 8249514"/>
                    <a:gd name="connsiteY5" fmla="*/ 0 h 5282238"/>
                    <a:gd name="connsiteX0" fmla="*/ 0 w 8249743"/>
                    <a:gd name="connsiteY0" fmla="*/ 0 h 5282238"/>
                    <a:gd name="connsiteX1" fmla="*/ 1559017 w 8249743"/>
                    <a:gd name="connsiteY1" fmla="*/ 0 h 5282238"/>
                    <a:gd name="connsiteX2" fmla="*/ 8249514 w 8249743"/>
                    <a:gd name="connsiteY2" fmla="*/ 4028978 h 5282238"/>
                    <a:gd name="connsiteX3" fmla="*/ 8249514 w 8249743"/>
                    <a:gd name="connsiteY3" fmla="*/ 5273704 h 5282238"/>
                    <a:gd name="connsiteX4" fmla="*/ 8216300 w 8249743"/>
                    <a:gd name="connsiteY4" fmla="*/ 5274245 h 5282238"/>
                    <a:gd name="connsiteX5" fmla="*/ 0 w 8249743"/>
                    <a:gd name="connsiteY5" fmla="*/ 0 h 5282238"/>
                    <a:gd name="connsiteX0" fmla="*/ 0 w 8249743"/>
                    <a:gd name="connsiteY0" fmla="*/ 0 h 5282238"/>
                    <a:gd name="connsiteX1" fmla="*/ 1559017 w 8249743"/>
                    <a:gd name="connsiteY1" fmla="*/ 0 h 5282238"/>
                    <a:gd name="connsiteX2" fmla="*/ 8249514 w 8249743"/>
                    <a:gd name="connsiteY2" fmla="*/ 4021358 h 5282238"/>
                    <a:gd name="connsiteX3" fmla="*/ 8249514 w 8249743"/>
                    <a:gd name="connsiteY3" fmla="*/ 5273704 h 5282238"/>
                    <a:gd name="connsiteX4" fmla="*/ 8216300 w 8249743"/>
                    <a:gd name="connsiteY4" fmla="*/ 5274245 h 5282238"/>
                    <a:gd name="connsiteX5" fmla="*/ 0 w 8249743"/>
                    <a:gd name="connsiteY5" fmla="*/ 0 h 5282238"/>
                    <a:gd name="connsiteX0" fmla="*/ 0 w 8249743"/>
                    <a:gd name="connsiteY0" fmla="*/ 0 h 5320919"/>
                    <a:gd name="connsiteX1" fmla="*/ 1559017 w 8249743"/>
                    <a:gd name="connsiteY1" fmla="*/ 0 h 5320919"/>
                    <a:gd name="connsiteX2" fmla="*/ 8249514 w 8249743"/>
                    <a:gd name="connsiteY2" fmla="*/ 4021358 h 5320919"/>
                    <a:gd name="connsiteX3" fmla="*/ 8249514 w 8249743"/>
                    <a:gd name="connsiteY3" fmla="*/ 5273704 h 5320919"/>
                    <a:gd name="connsiteX4" fmla="*/ 8216300 w 8249743"/>
                    <a:gd name="connsiteY4" fmla="*/ 5274245 h 5320919"/>
                    <a:gd name="connsiteX5" fmla="*/ 0 w 8249743"/>
                    <a:gd name="connsiteY5" fmla="*/ 0 h 5320919"/>
                    <a:gd name="connsiteX0" fmla="*/ 0 w 8249743"/>
                    <a:gd name="connsiteY0" fmla="*/ 0 h 5320919"/>
                    <a:gd name="connsiteX1" fmla="*/ 1559017 w 8249743"/>
                    <a:gd name="connsiteY1" fmla="*/ 0 h 5320919"/>
                    <a:gd name="connsiteX2" fmla="*/ 8249514 w 8249743"/>
                    <a:gd name="connsiteY2" fmla="*/ 4021358 h 5320919"/>
                    <a:gd name="connsiteX3" fmla="*/ 8249514 w 8249743"/>
                    <a:gd name="connsiteY3" fmla="*/ 5273704 h 5320919"/>
                    <a:gd name="connsiteX4" fmla="*/ 8216300 w 8249743"/>
                    <a:gd name="connsiteY4" fmla="*/ 5274245 h 5320919"/>
                    <a:gd name="connsiteX5" fmla="*/ 0 w 8249743"/>
                    <a:gd name="connsiteY5" fmla="*/ 0 h 5320919"/>
                    <a:gd name="connsiteX0" fmla="*/ 0 w 8249743"/>
                    <a:gd name="connsiteY0" fmla="*/ 0 h 5365227"/>
                    <a:gd name="connsiteX1" fmla="*/ 1559017 w 8249743"/>
                    <a:gd name="connsiteY1" fmla="*/ 0 h 5365227"/>
                    <a:gd name="connsiteX2" fmla="*/ 8249514 w 8249743"/>
                    <a:gd name="connsiteY2" fmla="*/ 4021358 h 5365227"/>
                    <a:gd name="connsiteX3" fmla="*/ 8249514 w 8249743"/>
                    <a:gd name="connsiteY3" fmla="*/ 5273704 h 5365227"/>
                    <a:gd name="connsiteX4" fmla="*/ 8216300 w 8249743"/>
                    <a:gd name="connsiteY4" fmla="*/ 5274245 h 5365227"/>
                    <a:gd name="connsiteX5" fmla="*/ 0 w 8249743"/>
                    <a:gd name="connsiteY5" fmla="*/ 0 h 5365227"/>
                    <a:gd name="connsiteX0" fmla="*/ 0 w 8249743"/>
                    <a:gd name="connsiteY0" fmla="*/ 0 h 5365227"/>
                    <a:gd name="connsiteX1" fmla="*/ 1559017 w 8249743"/>
                    <a:gd name="connsiteY1" fmla="*/ 0 h 5365227"/>
                    <a:gd name="connsiteX2" fmla="*/ 8249514 w 8249743"/>
                    <a:gd name="connsiteY2" fmla="*/ 4021358 h 5365227"/>
                    <a:gd name="connsiteX3" fmla="*/ 8249514 w 8249743"/>
                    <a:gd name="connsiteY3" fmla="*/ 5273704 h 5365227"/>
                    <a:gd name="connsiteX4" fmla="*/ 8216300 w 8249743"/>
                    <a:gd name="connsiteY4" fmla="*/ 5274245 h 5365227"/>
                    <a:gd name="connsiteX5" fmla="*/ 0 w 8249743"/>
                    <a:gd name="connsiteY5" fmla="*/ 0 h 5365227"/>
                    <a:gd name="connsiteX0" fmla="*/ 0 w 8249743"/>
                    <a:gd name="connsiteY0" fmla="*/ 0 h 5365227"/>
                    <a:gd name="connsiteX1" fmla="*/ 1559017 w 8249743"/>
                    <a:gd name="connsiteY1" fmla="*/ 0 h 5365227"/>
                    <a:gd name="connsiteX2" fmla="*/ 8249514 w 8249743"/>
                    <a:gd name="connsiteY2" fmla="*/ 4021358 h 5365227"/>
                    <a:gd name="connsiteX3" fmla="*/ 8249514 w 8249743"/>
                    <a:gd name="connsiteY3" fmla="*/ 5273704 h 5365227"/>
                    <a:gd name="connsiteX4" fmla="*/ 8216300 w 8249743"/>
                    <a:gd name="connsiteY4" fmla="*/ 5274245 h 5365227"/>
                    <a:gd name="connsiteX5" fmla="*/ 0 w 8249743"/>
                    <a:gd name="connsiteY5" fmla="*/ 0 h 5365227"/>
                    <a:gd name="connsiteX0" fmla="*/ 0 w 8251895"/>
                    <a:gd name="connsiteY0" fmla="*/ 0 h 5365227"/>
                    <a:gd name="connsiteX1" fmla="*/ 1559017 w 8251895"/>
                    <a:gd name="connsiteY1" fmla="*/ 0 h 5365227"/>
                    <a:gd name="connsiteX2" fmla="*/ 8249514 w 8251895"/>
                    <a:gd name="connsiteY2" fmla="*/ 4021358 h 5365227"/>
                    <a:gd name="connsiteX3" fmla="*/ 8251895 w 8251895"/>
                    <a:gd name="connsiteY3" fmla="*/ 5326091 h 5365227"/>
                    <a:gd name="connsiteX4" fmla="*/ 8216300 w 8251895"/>
                    <a:gd name="connsiteY4" fmla="*/ 5274245 h 5365227"/>
                    <a:gd name="connsiteX5" fmla="*/ 0 w 8251895"/>
                    <a:gd name="connsiteY5" fmla="*/ 0 h 5365227"/>
                    <a:gd name="connsiteX0" fmla="*/ 0 w 8249743"/>
                    <a:gd name="connsiteY0" fmla="*/ 0 h 5365227"/>
                    <a:gd name="connsiteX1" fmla="*/ 1559017 w 8249743"/>
                    <a:gd name="connsiteY1" fmla="*/ 0 h 5365227"/>
                    <a:gd name="connsiteX2" fmla="*/ 8249514 w 8249743"/>
                    <a:gd name="connsiteY2" fmla="*/ 4021358 h 5365227"/>
                    <a:gd name="connsiteX3" fmla="*/ 8249514 w 8249743"/>
                    <a:gd name="connsiteY3" fmla="*/ 5328472 h 5365227"/>
                    <a:gd name="connsiteX4" fmla="*/ 8216300 w 8249743"/>
                    <a:gd name="connsiteY4" fmla="*/ 5274245 h 5365227"/>
                    <a:gd name="connsiteX5" fmla="*/ 0 w 8249743"/>
                    <a:gd name="connsiteY5" fmla="*/ 0 h 5365227"/>
                    <a:gd name="connsiteX0" fmla="*/ 0 w 8249743"/>
                    <a:gd name="connsiteY0" fmla="*/ 0 h 5328472"/>
                    <a:gd name="connsiteX1" fmla="*/ 1559017 w 8249743"/>
                    <a:gd name="connsiteY1" fmla="*/ 0 h 5328472"/>
                    <a:gd name="connsiteX2" fmla="*/ 8249514 w 8249743"/>
                    <a:gd name="connsiteY2" fmla="*/ 4021358 h 5328472"/>
                    <a:gd name="connsiteX3" fmla="*/ 8249514 w 8249743"/>
                    <a:gd name="connsiteY3" fmla="*/ 5328472 h 5328472"/>
                    <a:gd name="connsiteX4" fmla="*/ 0 w 8249743"/>
                    <a:gd name="connsiteY4" fmla="*/ 0 h 5328472"/>
                    <a:gd name="connsiteX0" fmla="*/ 0 w 8249743"/>
                    <a:gd name="connsiteY0" fmla="*/ 0 h 5350523"/>
                    <a:gd name="connsiteX1" fmla="*/ 1559017 w 8249743"/>
                    <a:gd name="connsiteY1" fmla="*/ 0 h 5350523"/>
                    <a:gd name="connsiteX2" fmla="*/ 8249514 w 8249743"/>
                    <a:gd name="connsiteY2" fmla="*/ 4021358 h 5350523"/>
                    <a:gd name="connsiteX3" fmla="*/ 8249514 w 8249743"/>
                    <a:gd name="connsiteY3" fmla="*/ 5328472 h 5350523"/>
                    <a:gd name="connsiteX4" fmla="*/ 0 w 8249743"/>
                    <a:gd name="connsiteY4" fmla="*/ 0 h 5350523"/>
                    <a:gd name="connsiteX0" fmla="*/ 0 w 8249743"/>
                    <a:gd name="connsiteY0" fmla="*/ 0 h 5369954"/>
                    <a:gd name="connsiteX1" fmla="*/ 1559017 w 8249743"/>
                    <a:gd name="connsiteY1" fmla="*/ 0 h 5369954"/>
                    <a:gd name="connsiteX2" fmla="*/ 8249514 w 8249743"/>
                    <a:gd name="connsiteY2" fmla="*/ 4021358 h 5369954"/>
                    <a:gd name="connsiteX3" fmla="*/ 8249514 w 8249743"/>
                    <a:gd name="connsiteY3" fmla="*/ 5328472 h 5369954"/>
                    <a:gd name="connsiteX4" fmla="*/ 0 w 8249743"/>
                    <a:gd name="connsiteY4" fmla="*/ 0 h 5369954"/>
                    <a:gd name="connsiteX0" fmla="*/ 63 w 8249806"/>
                    <a:gd name="connsiteY0" fmla="*/ 0 h 5372025"/>
                    <a:gd name="connsiteX1" fmla="*/ 1559080 w 8249806"/>
                    <a:gd name="connsiteY1" fmla="*/ 0 h 5372025"/>
                    <a:gd name="connsiteX2" fmla="*/ 8249577 w 8249806"/>
                    <a:gd name="connsiteY2" fmla="*/ 4021358 h 5372025"/>
                    <a:gd name="connsiteX3" fmla="*/ 8249577 w 8249806"/>
                    <a:gd name="connsiteY3" fmla="*/ 5328472 h 5372025"/>
                    <a:gd name="connsiteX4" fmla="*/ 63 w 8249806"/>
                    <a:gd name="connsiteY4" fmla="*/ 0 h 5372025"/>
                    <a:gd name="connsiteX0" fmla="*/ 64 w 8249807"/>
                    <a:gd name="connsiteY0" fmla="*/ 0 h 5360641"/>
                    <a:gd name="connsiteX1" fmla="*/ 1559081 w 8249807"/>
                    <a:gd name="connsiteY1" fmla="*/ 0 h 5360641"/>
                    <a:gd name="connsiteX2" fmla="*/ 8249578 w 8249807"/>
                    <a:gd name="connsiteY2" fmla="*/ 4021358 h 5360641"/>
                    <a:gd name="connsiteX3" fmla="*/ 8249578 w 8249807"/>
                    <a:gd name="connsiteY3" fmla="*/ 5328472 h 5360641"/>
                    <a:gd name="connsiteX4" fmla="*/ 64 w 8249807"/>
                    <a:gd name="connsiteY4" fmla="*/ 0 h 5360641"/>
                    <a:gd name="connsiteX0" fmla="*/ 64 w 8249807"/>
                    <a:gd name="connsiteY0" fmla="*/ 0 h 5360641"/>
                    <a:gd name="connsiteX1" fmla="*/ 1559081 w 8249807"/>
                    <a:gd name="connsiteY1" fmla="*/ 0 h 5360641"/>
                    <a:gd name="connsiteX2" fmla="*/ 8249578 w 8249807"/>
                    <a:gd name="connsiteY2" fmla="*/ 4166138 h 5360641"/>
                    <a:gd name="connsiteX3" fmla="*/ 8249578 w 8249807"/>
                    <a:gd name="connsiteY3" fmla="*/ 5328472 h 5360641"/>
                    <a:gd name="connsiteX4" fmla="*/ 64 w 8249807"/>
                    <a:gd name="connsiteY4" fmla="*/ 0 h 5360641"/>
                    <a:gd name="connsiteX0" fmla="*/ 64 w 8249807"/>
                    <a:gd name="connsiteY0" fmla="*/ 0 h 5360641"/>
                    <a:gd name="connsiteX1" fmla="*/ 1559081 w 8249807"/>
                    <a:gd name="connsiteY1" fmla="*/ 0 h 5360641"/>
                    <a:gd name="connsiteX2" fmla="*/ 8249578 w 8249807"/>
                    <a:gd name="connsiteY2" fmla="*/ 4166138 h 5360641"/>
                    <a:gd name="connsiteX3" fmla="*/ 8249578 w 8249807"/>
                    <a:gd name="connsiteY3" fmla="*/ 5328472 h 5360641"/>
                    <a:gd name="connsiteX4" fmla="*/ 64 w 8249807"/>
                    <a:gd name="connsiteY4" fmla="*/ 0 h 5360641"/>
                    <a:gd name="connsiteX0" fmla="*/ 0 w 8249743"/>
                    <a:gd name="connsiteY0" fmla="*/ 0 h 5361756"/>
                    <a:gd name="connsiteX1" fmla="*/ 1559017 w 8249743"/>
                    <a:gd name="connsiteY1" fmla="*/ 0 h 5361756"/>
                    <a:gd name="connsiteX2" fmla="*/ 8249514 w 8249743"/>
                    <a:gd name="connsiteY2" fmla="*/ 4166138 h 5361756"/>
                    <a:gd name="connsiteX3" fmla="*/ 8249514 w 8249743"/>
                    <a:gd name="connsiteY3" fmla="*/ 5328472 h 5361756"/>
                    <a:gd name="connsiteX4" fmla="*/ 0 w 8249743"/>
                    <a:gd name="connsiteY4" fmla="*/ 0 h 5361756"/>
                    <a:gd name="connsiteX0" fmla="*/ 0 w 8257460"/>
                    <a:gd name="connsiteY0" fmla="*/ 0 h 5361756"/>
                    <a:gd name="connsiteX1" fmla="*/ 1559017 w 8257460"/>
                    <a:gd name="connsiteY1" fmla="*/ 0 h 5361756"/>
                    <a:gd name="connsiteX2" fmla="*/ 8257413 w 8257460"/>
                    <a:gd name="connsiteY2" fmla="*/ 3957097 h 5361756"/>
                    <a:gd name="connsiteX3" fmla="*/ 8249514 w 8257460"/>
                    <a:gd name="connsiteY3" fmla="*/ 5328472 h 5361756"/>
                    <a:gd name="connsiteX4" fmla="*/ 0 w 8257460"/>
                    <a:gd name="connsiteY4" fmla="*/ 0 h 5361756"/>
                    <a:gd name="connsiteX0" fmla="*/ 0 w 8257460"/>
                    <a:gd name="connsiteY0" fmla="*/ 0 h 5361756"/>
                    <a:gd name="connsiteX1" fmla="*/ 2152008 w 8257460"/>
                    <a:gd name="connsiteY1" fmla="*/ 0 h 5361756"/>
                    <a:gd name="connsiteX2" fmla="*/ 8257413 w 8257460"/>
                    <a:gd name="connsiteY2" fmla="*/ 3957097 h 5361756"/>
                    <a:gd name="connsiteX3" fmla="*/ 8249514 w 8257460"/>
                    <a:gd name="connsiteY3" fmla="*/ 5328472 h 5361756"/>
                    <a:gd name="connsiteX4" fmla="*/ 0 w 8257460"/>
                    <a:gd name="connsiteY4" fmla="*/ 0 h 5361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57460" h="5361756">
                      <a:moveTo>
                        <a:pt x="0" y="0"/>
                      </a:moveTo>
                      <a:lnTo>
                        <a:pt x="2152008" y="0"/>
                      </a:lnTo>
                      <a:cubicBezTo>
                        <a:pt x="2582403" y="1561501"/>
                        <a:pt x="3230707" y="4390585"/>
                        <a:pt x="8257413" y="3957097"/>
                      </a:cubicBezTo>
                      <a:cubicBezTo>
                        <a:pt x="8258207" y="4372006"/>
                        <a:pt x="8248720" y="4913563"/>
                        <a:pt x="8249514" y="5328472"/>
                      </a:cubicBezTo>
                      <a:cubicBezTo>
                        <a:pt x="4034096" y="5621145"/>
                        <a:pt x="271523" y="3995028"/>
                        <a:pt x="0" y="0"/>
                      </a:cubicBezTo>
                      <a:close/>
                    </a:path>
                  </a:pathLst>
                </a:custGeom>
                <a:solidFill>
                  <a:srgbClr val="6CC688"/>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1" name="Freeform: Shape 648">
                  <a:extLst>
                    <a:ext uri="{FF2B5EF4-FFF2-40B4-BE49-F238E27FC236}">
                      <a16:creationId xmlns:a16="http://schemas.microsoft.com/office/drawing/2014/main" xmlns="" id="{B712EB1E-7B43-43A9-9E01-225EE797EA21}"/>
                    </a:ext>
                  </a:extLst>
                </p:cNvPr>
                <p:cNvSpPr/>
                <p:nvPr/>
              </p:nvSpPr>
              <p:spPr>
                <a:xfrm>
                  <a:off x="4380464" y="900731"/>
                  <a:ext cx="7420476" cy="3942215"/>
                </a:xfrm>
                <a:custGeom>
                  <a:avLst/>
                  <a:gdLst>
                    <a:gd name="connsiteX0" fmla="*/ 0 w 6688653"/>
                    <a:gd name="connsiteY0" fmla="*/ 0 h 3985876"/>
                    <a:gd name="connsiteX1" fmla="*/ 1695204 w 6688653"/>
                    <a:gd name="connsiteY1" fmla="*/ 0 h 3985876"/>
                    <a:gd name="connsiteX2" fmla="*/ 6232766 w 6688653"/>
                    <a:gd name="connsiteY2" fmla="*/ 2935084 h 3985876"/>
                    <a:gd name="connsiteX3" fmla="*/ 6576832 w 6688653"/>
                    <a:gd name="connsiteY3" fmla="*/ 3012341 h 3985876"/>
                    <a:gd name="connsiteX4" fmla="*/ 6688653 w 6688653"/>
                    <a:gd name="connsiteY4" fmla="*/ 3034796 h 3985876"/>
                    <a:gd name="connsiteX5" fmla="*/ 6688653 w 6688653"/>
                    <a:gd name="connsiteY5" fmla="*/ 3985876 h 3985876"/>
                    <a:gd name="connsiteX6" fmla="*/ 0 w 6688653"/>
                    <a:gd name="connsiteY6" fmla="*/ 0 h 3985876"/>
                    <a:gd name="connsiteX0" fmla="*/ 0 w 6688653"/>
                    <a:gd name="connsiteY0" fmla="*/ 0 h 3985876"/>
                    <a:gd name="connsiteX1" fmla="*/ 1695204 w 6688653"/>
                    <a:gd name="connsiteY1" fmla="*/ 0 h 3985876"/>
                    <a:gd name="connsiteX2" fmla="*/ 6232766 w 6688653"/>
                    <a:gd name="connsiteY2" fmla="*/ 2935084 h 3985876"/>
                    <a:gd name="connsiteX3" fmla="*/ 6576832 w 6688653"/>
                    <a:gd name="connsiteY3" fmla="*/ 3012341 h 3985876"/>
                    <a:gd name="connsiteX4" fmla="*/ 6688653 w 6688653"/>
                    <a:gd name="connsiteY4" fmla="*/ 3034796 h 3985876"/>
                    <a:gd name="connsiteX5" fmla="*/ 6688653 w 6688653"/>
                    <a:gd name="connsiteY5" fmla="*/ 3985876 h 3985876"/>
                    <a:gd name="connsiteX6" fmla="*/ 0 w 6688653"/>
                    <a:gd name="connsiteY6" fmla="*/ 0 h 3985876"/>
                    <a:gd name="connsiteX0" fmla="*/ 0 w 6688653"/>
                    <a:gd name="connsiteY0" fmla="*/ 0 h 4029419"/>
                    <a:gd name="connsiteX1" fmla="*/ 1695204 w 6688653"/>
                    <a:gd name="connsiteY1" fmla="*/ 0 h 4029419"/>
                    <a:gd name="connsiteX2" fmla="*/ 6232766 w 6688653"/>
                    <a:gd name="connsiteY2" fmla="*/ 2935084 h 4029419"/>
                    <a:gd name="connsiteX3" fmla="*/ 6576832 w 6688653"/>
                    <a:gd name="connsiteY3" fmla="*/ 3012341 h 4029419"/>
                    <a:gd name="connsiteX4" fmla="*/ 6688653 w 6688653"/>
                    <a:gd name="connsiteY4" fmla="*/ 3034796 h 4029419"/>
                    <a:gd name="connsiteX5" fmla="*/ 6688653 w 6688653"/>
                    <a:gd name="connsiteY5" fmla="*/ 4029419 h 4029419"/>
                    <a:gd name="connsiteX6" fmla="*/ 0 w 6688653"/>
                    <a:gd name="connsiteY6" fmla="*/ 0 h 4029419"/>
                    <a:gd name="connsiteX0" fmla="*/ 0 w 6744308"/>
                    <a:gd name="connsiteY0" fmla="*/ 0 h 4029419"/>
                    <a:gd name="connsiteX1" fmla="*/ 1695204 w 6744308"/>
                    <a:gd name="connsiteY1" fmla="*/ 0 h 4029419"/>
                    <a:gd name="connsiteX2" fmla="*/ 6232766 w 6744308"/>
                    <a:gd name="connsiteY2" fmla="*/ 2935084 h 4029419"/>
                    <a:gd name="connsiteX3" fmla="*/ 6688653 w 6744308"/>
                    <a:gd name="connsiteY3" fmla="*/ 3034796 h 4029419"/>
                    <a:gd name="connsiteX4" fmla="*/ 6688653 w 6744308"/>
                    <a:gd name="connsiteY4" fmla="*/ 4029419 h 4029419"/>
                    <a:gd name="connsiteX5" fmla="*/ 0 w 6744308"/>
                    <a:gd name="connsiteY5" fmla="*/ 0 h 4029419"/>
                    <a:gd name="connsiteX0" fmla="*/ 0 w 6688653"/>
                    <a:gd name="connsiteY0" fmla="*/ 0 h 4029419"/>
                    <a:gd name="connsiteX1" fmla="*/ 1695204 w 6688653"/>
                    <a:gd name="connsiteY1" fmla="*/ 0 h 4029419"/>
                    <a:gd name="connsiteX2" fmla="*/ 6688653 w 6688653"/>
                    <a:gd name="connsiteY2" fmla="*/ 3034796 h 4029419"/>
                    <a:gd name="connsiteX3" fmla="*/ 6688653 w 6688653"/>
                    <a:gd name="connsiteY3" fmla="*/ 4029419 h 4029419"/>
                    <a:gd name="connsiteX4" fmla="*/ 0 w 6688653"/>
                    <a:gd name="connsiteY4" fmla="*/ 0 h 4029419"/>
                    <a:gd name="connsiteX0" fmla="*/ 0 w 6688653"/>
                    <a:gd name="connsiteY0" fmla="*/ 0 h 4029419"/>
                    <a:gd name="connsiteX1" fmla="*/ 1695204 w 6688653"/>
                    <a:gd name="connsiteY1" fmla="*/ 0 h 4029419"/>
                    <a:gd name="connsiteX2" fmla="*/ 6688653 w 6688653"/>
                    <a:gd name="connsiteY2" fmla="*/ 2642910 h 4029419"/>
                    <a:gd name="connsiteX3" fmla="*/ 6688653 w 6688653"/>
                    <a:gd name="connsiteY3" fmla="*/ 4029419 h 4029419"/>
                    <a:gd name="connsiteX4" fmla="*/ 0 w 6688653"/>
                    <a:gd name="connsiteY4" fmla="*/ 0 h 4029419"/>
                    <a:gd name="connsiteX0" fmla="*/ 0 w 6688653"/>
                    <a:gd name="connsiteY0" fmla="*/ 0 h 4029419"/>
                    <a:gd name="connsiteX1" fmla="*/ 1695204 w 6688653"/>
                    <a:gd name="connsiteY1" fmla="*/ 0 h 4029419"/>
                    <a:gd name="connsiteX2" fmla="*/ 6688653 w 6688653"/>
                    <a:gd name="connsiteY2" fmla="*/ 2642910 h 4029419"/>
                    <a:gd name="connsiteX3" fmla="*/ 6688653 w 6688653"/>
                    <a:gd name="connsiteY3" fmla="*/ 4029419 h 4029419"/>
                    <a:gd name="connsiteX4" fmla="*/ 0 w 6688653"/>
                    <a:gd name="connsiteY4" fmla="*/ 0 h 4029419"/>
                    <a:gd name="connsiteX0" fmla="*/ 0 w 6688653"/>
                    <a:gd name="connsiteY0" fmla="*/ 0 h 4029419"/>
                    <a:gd name="connsiteX1" fmla="*/ 1695204 w 6688653"/>
                    <a:gd name="connsiteY1" fmla="*/ 0 h 4029419"/>
                    <a:gd name="connsiteX2" fmla="*/ 6688653 w 6688653"/>
                    <a:gd name="connsiteY2" fmla="*/ 2642910 h 4029419"/>
                    <a:gd name="connsiteX3" fmla="*/ 6688653 w 6688653"/>
                    <a:gd name="connsiteY3" fmla="*/ 4029419 h 4029419"/>
                    <a:gd name="connsiteX4" fmla="*/ 0 w 6688653"/>
                    <a:gd name="connsiteY4" fmla="*/ 0 h 4029419"/>
                    <a:gd name="connsiteX0" fmla="*/ 0 w 6688653"/>
                    <a:gd name="connsiteY0" fmla="*/ 0 h 4029419"/>
                    <a:gd name="connsiteX1" fmla="*/ 1695204 w 6688653"/>
                    <a:gd name="connsiteY1" fmla="*/ 0 h 4029419"/>
                    <a:gd name="connsiteX2" fmla="*/ 6688653 w 6688653"/>
                    <a:gd name="connsiteY2" fmla="*/ 2642910 h 4029419"/>
                    <a:gd name="connsiteX3" fmla="*/ 6688653 w 6688653"/>
                    <a:gd name="connsiteY3" fmla="*/ 4029419 h 4029419"/>
                    <a:gd name="connsiteX4" fmla="*/ 0 w 6688653"/>
                    <a:gd name="connsiteY4" fmla="*/ 0 h 4029419"/>
                    <a:gd name="connsiteX0" fmla="*/ 0 w 6688653"/>
                    <a:gd name="connsiteY0" fmla="*/ 0 h 4029419"/>
                    <a:gd name="connsiteX1" fmla="*/ 1695204 w 6688653"/>
                    <a:gd name="connsiteY1" fmla="*/ 0 h 4029419"/>
                    <a:gd name="connsiteX2" fmla="*/ 6688653 w 6688653"/>
                    <a:gd name="connsiteY2" fmla="*/ 2642910 h 4029419"/>
                    <a:gd name="connsiteX3" fmla="*/ 6688653 w 6688653"/>
                    <a:gd name="connsiteY3" fmla="*/ 4029419 h 4029419"/>
                    <a:gd name="connsiteX4" fmla="*/ 0 w 6688653"/>
                    <a:gd name="connsiteY4" fmla="*/ 0 h 4029419"/>
                    <a:gd name="connsiteX0" fmla="*/ 0 w 6688653"/>
                    <a:gd name="connsiteY0" fmla="*/ 0 h 4029419"/>
                    <a:gd name="connsiteX1" fmla="*/ 1695204 w 6688653"/>
                    <a:gd name="connsiteY1" fmla="*/ 0 h 4029419"/>
                    <a:gd name="connsiteX2" fmla="*/ 6688653 w 6688653"/>
                    <a:gd name="connsiteY2" fmla="*/ 2918681 h 4029419"/>
                    <a:gd name="connsiteX3" fmla="*/ 6688653 w 6688653"/>
                    <a:gd name="connsiteY3" fmla="*/ 4029419 h 4029419"/>
                    <a:gd name="connsiteX4" fmla="*/ 0 w 6688653"/>
                    <a:gd name="connsiteY4" fmla="*/ 0 h 4029419"/>
                    <a:gd name="connsiteX0" fmla="*/ 0 w 6688653"/>
                    <a:gd name="connsiteY0" fmla="*/ 0 h 4029419"/>
                    <a:gd name="connsiteX1" fmla="*/ 1695204 w 6688653"/>
                    <a:gd name="connsiteY1" fmla="*/ 0 h 4029419"/>
                    <a:gd name="connsiteX2" fmla="*/ 6688653 w 6688653"/>
                    <a:gd name="connsiteY2" fmla="*/ 2918681 h 4029419"/>
                    <a:gd name="connsiteX3" fmla="*/ 6688653 w 6688653"/>
                    <a:gd name="connsiteY3" fmla="*/ 4029419 h 4029419"/>
                    <a:gd name="connsiteX4" fmla="*/ 0 w 6688653"/>
                    <a:gd name="connsiteY4" fmla="*/ 0 h 4029419"/>
                    <a:gd name="connsiteX0" fmla="*/ 0 w 6688653"/>
                    <a:gd name="connsiteY0" fmla="*/ 0 h 4029419"/>
                    <a:gd name="connsiteX1" fmla="*/ 1695204 w 6688653"/>
                    <a:gd name="connsiteY1" fmla="*/ 0 h 4029419"/>
                    <a:gd name="connsiteX2" fmla="*/ 6688653 w 6688653"/>
                    <a:gd name="connsiteY2" fmla="*/ 2918681 h 4029419"/>
                    <a:gd name="connsiteX3" fmla="*/ 6688653 w 6688653"/>
                    <a:gd name="connsiteY3" fmla="*/ 4029419 h 4029419"/>
                    <a:gd name="connsiteX4" fmla="*/ 0 w 6688653"/>
                    <a:gd name="connsiteY4" fmla="*/ 0 h 4029419"/>
                    <a:gd name="connsiteX0" fmla="*/ 0 w 6688653"/>
                    <a:gd name="connsiteY0" fmla="*/ 0 h 4075264"/>
                    <a:gd name="connsiteX1" fmla="*/ 1695204 w 6688653"/>
                    <a:gd name="connsiteY1" fmla="*/ 0 h 4075264"/>
                    <a:gd name="connsiteX2" fmla="*/ 6688653 w 6688653"/>
                    <a:gd name="connsiteY2" fmla="*/ 2918681 h 4075264"/>
                    <a:gd name="connsiteX3" fmla="*/ 6688653 w 6688653"/>
                    <a:gd name="connsiteY3" fmla="*/ 4029419 h 4075264"/>
                    <a:gd name="connsiteX4" fmla="*/ 0 w 6688653"/>
                    <a:gd name="connsiteY4" fmla="*/ 0 h 4075264"/>
                    <a:gd name="connsiteX0" fmla="*/ 0 w 6688653"/>
                    <a:gd name="connsiteY0" fmla="*/ 0 h 4075264"/>
                    <a:gd name="connsiteX1" fmla="*/ 1695204 w 6688653"/>
                    <a:gd name="connsiteY1" fmla="*/ 0 h 4075264"/>
                    <a:gd name="connsiteX2" fmla="*/ 6688653 w 6688653"/>
                    <a:gd name="connsiteY2" fmla="*/ 2918681 h 4075264"/>
                    <a:gd name="connsiteX3" fmla="*/ 6688653 w 6688653"/>
                    <a:gd name="connsiteY3" fmla="*/ 4029419 h 4075264"/>
                    <a:gd name="connsiteX4" fmla="*/ 0 w 6688653"/>
                    <a:gd name="connsiteY4" fmla="*/ 0 h 4075264"/>
                    <a:gd name="connsiteX0" fmla="*/ 0 w 6688653"/>
                    <a:gd name="connsiteY0" fmla="*/ 0 h 4075264"/>
                    <a:gd name="connsiteX1" fmla="*/ 1695204 w 6688653"/>
                    <a:gd name="connsiteY1" fmla="*/ 0 h 4075264"/>
                    <a:gd name="connsiteX2" fmla="*/ 6688653 w 6688653"/>
                    <a:gd name="connsiteY2" fmla="*/ 2918681 h 4075264"/>
                    <a:gd name="connsiteX3" fmla="*/ 6688653 w 6688653"/>
                    <a:gd name="connsiteY3" fmla="*/ 4029419 h 4075264"/>
                    <a:gd name="connsiteX4" fmla="*/ 0 w 6688653"/>
                    <a:gd name="connsiteY4" fmla="*/ 0 h 4075264"/>
                    <a:gd name="connsiteX0" fmla="*/ 0 w 6688653"/>
                    <a:gd name="connsiteY0" fmla="*/ 0 h 4075264"/>
                    <a:gd name="connsiteX1" fmla="*/ 1695204 w 6688653"/>
                    <a:gd name="connsiteY1" fmla="*/ 0 h 4075264"/>
                    <a:gd name="connsiteX2" fmla="*/ 6688653 w 6688653"/>
                    <a:gd name="connsiteY2" fmla="*/ 2918681 h 4075264"/>
                    <a:gd name="connsiteX3" fmla="*/ 6688653 w 6688653"/>
                    <a:gd name="connsiteY3" fmla="*/ 4029419 h 4075264"/>
                    <a:gd name="connsiteX4" fmla="*/ 0 w 6688653"/>
                    <a:gd name="connsiteY4" fmla="*/ 0 h 4075264"/>
                    <a:gd name="connsiteX0" fmla="*/ 0 w 6688653"/>
                    <a:gd name="connsiteY0" fmla="*/ 0 h 4107003"/>
                    <a:gd name="connsiteX1" fmla="*/ 1695204 w 6688653"/>
                    <a:gd name="connsiteY1" fmla="*/ 0 h 4107003"/>
                    <a:gd name="connsiteX2" fmla="*/ 6688653 w 6688653"/>
                    <a:gd name="connsiteY2" fmla="*/ 2918681 h 4107003"/>
                    <a:gd name="connsiteX3" fmla="*/ 6688653 w 6688653"/>
                    <a:gd name="connsiteY3" fmla="*/ 4029419 h 4107003"/>
                    <a:gd name="connsiteX4" fmla="*/ 0 w 6688653"/>
                    <a:gd name="connsiteY4" fmla="*/ 0 h 4107003"/>
                    <a:gd name="connsiteX0" fmla="*/ 0 w 6688653"/>
                    <a:gd name="connsiteY0" fmla="*/ 0 h 4107003"/>
                    <a:gd name="connsiteX1" fmla="*/ 1695204 w 6688653"/>
                    <a:gd name="connsiteY1" fmla="*/ 0 h 4107003"/>
                    <a:gd name="connsiteX2" fmla="*/ 6688653 w 6688653"/>
                    <a:gd name="connsiteY2" fmla="*/ 2918681 h 4107003"/>
                    <a:gd name="connsiteX3" fmla="*/ 6688653 w 6688653"/>
                    <a:gd name="connsiteY3" fmla="*/ 4029419 h 4107003"/>
                    <a:gd name="connsiteX4" fmla="*/ 0 w 6688653"/>
                    <a:gd name="connsiteY4" fmla="*/ 0 h 4107003"/>
                    <a:gd name="connsiteX0" fmla="*/ 0 w 6688653"/>
                    <a:gd name="connsiteY0" fmla="*/ 0 h 4107003"/>
                    <a:gd name="connsiteX1" fmla="*/ 1695204 w 6688653"/>
                    <a:gd name="connsiteY1" fmla="*/ 0 h 4107003"/>
                    <a:gd name="connsiteX2" fmla="*/ 6688653 w 6688653"/>
                    <a:gd name="connsiteY2" fmla="*/ 2918681 h 4107003"/>
                    <a:gd name="connsiteX3" fmla="*/ 6688653 w 6688653"/>
                    <a:gd name="connsiteY3" fmla="*/ 4029419 h 4107003"/>
                    <a:gd name="connsiteX4" fmla="*/ 0 w 6688653"/>
                    <a:gd name="connsiteY4" fmla="*/ 0 h 4107003"/>
                    <a:gd name="connsiteX0" fmla="*/ 0 w 6688653"/>
                    <a:gd name="connsiteY0" fmla="*/ 0 h 4117544"/>
                    <a:gd name="connsiteX1" fmla="*/ 1695204 w 6688653"/>
                    <a:gd name="connsiteY1" fmla="*/ 0 h 4117544"/>
                    <a:gd name="connsiteX2" fmla="*/ 6688653 w 6688653"/>
                    <a:gd name="connsiteY2" fmla="*/ 2918681 h 4117544"/>
                    <a:gd name="connsiteX3" fmla="*/ 6688653 w 6688653"/>
                    <a:gd name="connsiteY3" fmla="*/ 4029419 h 4117544"/>
                    <a:gd name="connsiteX4" fmla="*/ 0 w 6688653"/>
                    <a:gd name="connsiteY4" fmla="*/ 0 h 4117544"/>
                    <a:gd name="connsiteX0" fmla="*/ 0 w 6688653"/>
                    <a:gd name="connsiteY0" fmla="*/ 0 h 4273131"/>
                    <a:gd name="connsiteX1" fmla="*/ 1695204 w 6688653"/>
                    <a:gd name="connsiteY1" fmla="*/ 0 h 4273131"/>
                    <a:gd name="connsiteX2" fmla="*/ 6688653 w 6688653"/>
                    <a:gd name="connsiteY2" fmla="*/ 2918681 h 4273131"/>
                    <a:gd name="connsiteX3" fmla="*/ 6688653 w 6688653"/>
                    <a:gd name="connsiteY3" fmla="*/ 4189439 h 4273131"/>
                    <a:gd name="connsiteX4" fmla="*/ 0 w 6688653"/>
                    <a:gd name="connsiteY4" fmla="*/ 0 h 4273131"/>
                    <a:gd name="connsiteX0" fmla="*/ 0 w 6688653"/>
                    <a:gd name="connsiteY0" fmla="*/ 0 h 4224051"/>
                    <a:gd name="connsiteX1" fmla="*/ 1695204 w 6688653"/>
                    <a:gd name="connsiteY1" fmla="*/ 0 h 4224051"/>
                    <a:gd name="connsiteX2" fmla="*/ 6688653 w 6688653"/>
                    <a:gd name="connsiteY2" fmla="*/ 2918681 h 4224051"/>
                    <a:gd name="connsiteX3" fmla="*/ 6688653 w 6688653"/>
                    <a:gd name="connsiteY3" fmla="*/ 4189439 h 4224051"/>
                    <a:gd name="connsiteX4" fmla="*/ 0 w 6688653"/>
                    <a:gd name="connsiteY4" fmla="*/ 0 h 4224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8653" h="4224051">
                      <a:moveTo>
                        <a:pt x="0" y="0"/>
                      </a:moveTo>
                      <a:lnTo>
                        <a:pt x="1695204" y="0"/>
                      </a:lnTo>
                      <a:cubicBezTo>
                        <a:pt x="2546887" y="2521084"/>
                        <a:pt x="4692979" y="2814885"/>
                        <a:pt x="6688653" y="2918681"/>
                      </a:cubicBezTo>
                      <a:lnTo>
                        <a:pt x="6688653" y="4189439"/>
                      </a:lnTo>
                      <a:cubicBezTo>
                        <a:pt x="2176005" y="4540480"/>
                        <a:pt x="458808" y="2155939"/>
                        <a:pt x="0" y="0"/>
                      </a:cubicBezTo>
                      <a:close/>
                    </a:path>
                  </a:pathLst>
                </a:custGeom>
                <a:solidFill>
                  <a:srgbClr val="46B468"/>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2" name="Freeform: Shape 650">
                  <a:extLst>
                    <a:ext uri="{FF2B5EF4-FFF2-40B4-BE49-F238E27FC236}">
                      <a16:creationId xmlns:a16="http://schemas.microsoft.com/office/drawing/2014/main" xmlns="" id="{BBD7B46E-54F1-4F20-8B96-4F98C5B54D54}"/>
                    </a:ext>
                  </a:extLst>
                </p:cNvPr>
                <p:cNvSpPr/>
                <p:nvPr/>
              </p:nvSpPr>
              <p:spPr>
                <a:xfrm>
                  <a:off x="6085416" y="900731"/>
                  <a:ext cx="5711444" cy="2862695"/>
                </a:xfrm>
                <a:custGeom>
                  <a:avLst/>
                  <a:gdLst>
                    <a:gd name="connsiteX0" fmla="*/ 0 w 4992919"/>
                    <a:gd name="connsiteY0" fmla="*/ 0 h 2923179"/>
                    <a:gd name="connsiteX1" fmla="*/ 1718222 w 4992919"/>
                    <a:gd name="connsiteY1" fmla="*/ 0 h 2923179"/>
                    <a:gd name="connsiteX2" fmla="*/ 4754838 w 4992919"/>
                    <a:gd name="connsiteY2" fmla="*/ 1773725 h 2923179"/>
                    <a:gd name="connsiteX3" fmla="*/ 4992919 w 4992919"/>
                    <a:gd name="connsiteY3" fmla="*/ 1789193 h 2923179"/>
                    <a:gd name="connsiteX4" fmla="*/ 4992919 w 4992919"/>
                    <a:gd name="connsiteY4" fmla="*/ 2922649 h 2923179"/>
                    <a:gd name="connsiteX5" fmla="*/ 4866875 w 4992919"/>
                    <a:gd name="connsiteY5" fmla="*/ 2923179 h 2923179"/>
                    <a:gd name="connsiteX6" fmla="*/ 0 w 4992919"/>
                    <a:gd name="connsiteY6" fmla="*/ 0 h 292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2919" h="2923179">
                      <a:moveTo>
                        <a:pt x="0" y="0"/>
                      </a:moveTo>
                      <a:lnTo>
                        <a:pt x="1718222" y="0"/>
                      </a:lnTo>
                      <a:cubicBezTo>
                        <a:pt x="2363685" y="1219085"/>
                        <a:pt x="3559579" y="1673168"/>
                        <a:pt x="4754838" y="1773725"/>
                      </a:cubicBezTo>
                      <a:lnTo>
                        <a:pt x="4992919" y="1789193"/>
                      </a:lnTo>
                      <a:lnTo>
                        <a:pt x="4992919" y="2922649"/>
                      </a:lnTo>
                      <a:lnTo>
                        <a:pt x="4866875" y="2923179"/>
                      </a:lnTo>
                      <a:cubicBezTo>
                        <a:pt x="3502518" y="2921412"/>
                        <a:pt x="702075" y="2669750"/>
                        <a:pt x="0" y="0"/>
                      </a:cubicBezTo>
                      <a:close/>
                    </a:path>
                  </a:pathLst>
                </a:custGeom>
                <a:solidFill>
                  <a:srgbClr val="225833"/>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xmlns="" id="{C1F86F3A-8E36-423B-9988-B7B5485B653A}"/>
                    </a:ext>
                  </a:extLst>
                </p:cNvPr>
                <p:cNvSpPr txBox="1"/>
                <p:nvPr/>
              </p:nvSpPr>
              <p:spPr>
                <a:xfrm>
                  <a:off x="718850" y="1583667"/>
                  <a:ext cx="1203771"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Biofuels Programme</a:t>
                  </a:r>
                </a:p>
              </p:txBody>
            </p:sp>
            <p:sp>
              <p:nvSpPr>
                <p:cNvPr id="24" name="TextBox 23">
                  <a:extLst>
                    <a:ext uri="{FF2B5EF4-FFF2-40B4-BE49-F238E27FC236}">
                      <a16:creationId xmlns:a16="http://schemas.microsoft.com/office/drawing/2014/main" xmlns="" id="{C1F86F3A-8E36-423B-9988-B7B5485B653A}"/>
                    </a:ext>
                  </a:extLst>
                </p:cNvPr>
                <p:cNvSpPr txBox="1"/>
                <p:nvPr/>
              </p:nvSpPr>
              <p:spPr>
                <a:xfrm>
                  <a:off x="5883747" y="2805517"/>
                  <a:ext cx="1535493"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latin typeface="Arial" panose="020B0604020202020204" pitchFamily="34" charset="0"/>
                      <a:cs typeface="Arial" panose="020B0604020202020204" pitchFamily="34" charset="0"/>
                    </a:rPr>
                    <a:t>Midstream – LNG </a:t>
                  </a:r>
                  <a:r>
                    <a:rPr lang="en-ZA" sz="900" kern="0" dirty="0">
                      <a:latin typeface="Arial" panose="020B0604020202020204" pitchFamily="34" charset="0"/>
                      <a:cs typeface="Arial" panose="020B0604020202020204" pitchFamily="34" charset="0"/>
                    </a:rPr>
                    <a:t>(construction)</a:t>
                  </a:r>
                </a:p>
              </p:txBody>
            </p:sp>
            <p:sp>
              <p:nvSpPr>
                <p:cNvPr id="25" name="TextBox 24">
                  <a:extLst>
                    <a:ext uri="{FF2B5EF4-FFF2-40B4-BE49-F238E27FC236}">
                      <a16:creationId xmlns:a16="http://schemas.microsoft.com/office/drawing/2014/main" xmlns="" id="{C1F86F3A-8E36-423B-9988-B7B5485B653A}"/>
                    </a:ext>
                  </a:extLst>
                </p:cNvPr>
                <p:cNvSpPr txBox="1"/>
                <p:nvPr/>
              </p:nvSpPr>
              <p:spPr>
                <a:xfrm>
                  <a:off x="808825" y="4432391"/>
                  <a:ext cx="3216657" cy="1092607"/>
                </a:xfrm>
                <a:prstGeom prst="rect">
                  <a:avLst/>
                </a:prstGeom>
                <a:noFill/>
                <a:ln>
                  <a:noFill/>
                </a:ln>
              </p:spPr>
              <p:txBody>
                <a:bodyPr wrap="square" numCol="1" rtlCol="0">
                  <a:spAutoFit/>
                </a:bodyPr>
                <a:lstStyle/>
                <a:p>
                  <a:pPr marL="92075" marR="0" lvl="0" indent="-92075" defTabSz="914400" eaLnBrk="1" fontAlgn="auto" latinLnBrk="0" hangingPunct="1">
                    <a:lnSpc>
                      <a:spcPct val="100000"/>
                    </a:lnSpc>
                    <a:spcBef>
                      <a:spcPts val="600"/>
                    </a:spcBef>
                    <a:spcAft>
                      <a:spcPts val="0"/>
                    </a:spcAft>
                    <a:buClr>
                      <a:srgbClr val="EA410C"/>
                    </a:buClr>
                    <a:buSzTx/>
                    <a:buFont typeface="Arial" panose="020B0604020202020204" pitchFamily="34" charset="0"/>
                    <a:buChar char="•"/>
                    <a:tabLst/>
                    <a:defRPr/>
                  </a:pPr>
                  <a:r>
                    <a:rPr lang="en-ZA" sz="900" b="1" kern="0" dirty="0">
                      <a:solidFill>
                        <a:srgbClr val="1A4226"/>
                      </a:solidFill>
                      <a:latin typeface="Arial" panose="020B0604020202020204" pitchFamily="34" charset="0"/>
                      <a:cs typeface="Arial" panose="020B0604020202020204" pitchFamily="34" charset="0"/>
                    </a:rPr>
                    <a:t>PetroSA, iGas, SFF Merger</a:t>
                  </a:r>
                </a:p>
                <a:p>
                  <a:pPr marL="92075" indent="-92075" fontAlgn="auto">
                    <a:spcBef>
                      <a:spcPts val="600"/>
                    </a:spcBef>
                    <a:spcAft>
                      <a:spcPts val="0"/>
                    </a:spcAft>
                    <a:buClr>
                      <a:srgbClr val="EA410C"/>
                    </a:buClr>
                    <a:buFont typeface="Arial" panose="020B0604020202020204" pitchFamily="34" charset="0"/>
                    <a:buChar char="•"/>
                    <a:defRPr/>
                  </a:pPr>
                  <a:r>
                    <a:rPr lang="en-US" sz="900" b="1" kern="0" dirty="0" err="1">
                      <a:solidFill>
                        <a:srgbClr val="1A4226"/>
                      </a:solidFill>
                      <a:latin typeface="Arial" panose="020B0604020202020204" pitchFamily="34" charset="0"/>
                      <a:cs typeface="Arial" panose="020B0604020202020204" pitchFamily="34" charset="0"/>
                      <a:sym typeface="Century Gothic"/>
                    </a:rPr>
                    <a:t>Finalise</a:t>
                  </a:r>
                  <a:r>
                    <a:rPr lang="en-US" sz="900" b="1" kern="0" dirty="0">
                      <a:solidFill>
                        <a:srgbClr val="1A4226"/>
                      </a:solidFill>
                      <a:latin typeface="Arial" panose="020B0604020202020204" pitchFamily="34" charset="0"/>
                      <a:cs typeface="Arial" panose="020B0604020202020204" pitchFamily="34" charset="0"/>
                      <a:sym typeface="Century Gothic"/>
                    </a:rPr>
                    <a:t> </a:t>
                  </a:r>
                  <a:r>
                    <a:rPr lang="en-US" sz="900" b="1" kern="0" dirty="0" err="1">
                      <a:solidFill>
                        <a:srgbClr val="1A4226"/>
                      </a:solidFill>
                      <a:latin typeface="Arial" panose="020B0604020202020204" pitchFamily="34" charset="0"/>
                      <a:cs typeface="Arial" panose="020B0604020202020204" pitchFamily="34" charset="0"/>
                      <a:sym typeface="Century Gothic"/>
                    </a:rPr>
                    <a:t>organisational</a:t>
                  </a:r>
                  <a:r>
                    <a:rPr lang="en-US" sz="900" b="1" kern="0" dirty="0">
                      <a:solidFill>
                        <a:srgbClr val="1A4226"/>
                      </a:solidFill>
                      <a:latin typeface="Arial" panose="020B0604020202020204" pitchFamily="34" charset="0"/>
                      <a:cs typeface="Arial" panose="020B0604020202020204" pitchFamily="34" charset="0"/>
                      <a:sym typeface="Century Gothic"/>
                    </a:rPr>
                    <a:t> restructuring approach</a:t>
                  </a:r>
                </a:p>
                <a:p>
                  <a:pPr marL="92075" lvl="0" indent="-92075" fontAlgn="auto">
                    <a:spcBef>
                      <a:spcPts val="60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sym typeface="Century Gothic"/>
                    </a:rPr>
                    <a:t>Divestments of non-core assets</a:t>
                  </a:r>
                </a:p>
                <a:p>
                  <a:pPr marL="92075" lvl="0" indent="-92075" fontAlgn="auto">
                    <a:spcBef>
                      <a:spcPts val="600"/>
                    </a:spcBef>
                    <a:spcAft>
                      <a:spcPts val="0"/>
                    </a:spcAft>
                    <a:buClr>
                      <a:srgbClr val="EA410C"/>
                    </a:buClr>
                    <a:buFont typeface="Arial" panose="020B0604020202020204" pitchFamily="34" charset="0"/>
                    <a:buChar char="•"/>
                    <a:defRPr/>
                  </a:pPr>
                  <a:r>
                    <a:rPr lang="en-US" sz="900" b="1" kern="0" dirty="0">
                      <a:solidFill>
                        <a:srgbClr val="1A4226"/>
                      </a:solidFill>
                      <a:latin typeface="Arial" panose="020B0604020202020204" pitchFamily="34" charset="0"/>
                      <a:cs typeface="Arial" panose="020B0604020202020204" pitchFamily="34" charset="0"/>
                    </a:rPr>
                    <a:t>Implement Cost Savings </a:t>
                  </a:r>
                </a:p>
                <a:p>
                  <a:pPr marL="92075" lvl="0" indent="-92075" fontAlgn="auto">
                    <a:spcBef>
                      <a:spcPts val="600"/>
                    </a:spcBef>
                    <a:spcAft>
                      <a:spcPts val="0"/>
                    </a:spcAft>
                    <a:buClr>
                      <a:srgbClr val="EA410C"/>
                    </a:buClr>
                    <a:buFont typeface="Arial" panose="020B0604020202020204" pitchFamily="34" charset="0"/>
                    <a:buChar char="•"/>
                    <a:defRPr/>
                  </a:pPr>
                  <a:r>
                    <a:rPr lang="en-US" sz="900" b="1" kern="0" dirty="0">
                      <a:solidFill>
                        <a:srgbClr val="1A4226"/>
                      </a:solidFill>
                      <a:latin typeface="Arial" panose="020B0604020202020204" pitchFamily="34" charset="0"/>
                      <a:cs typeface="Arial" panose="020B0604020202020204" pitchFamily="34" charset="0"/>
                    </a:rPr>
                    <a:t>Fuel supply to SOEs</a:t>
                  </a:r>
                </a:p>
              </p:txBody>
            </p:sp>
            <p:sp>
              <p:nvSpPr>
                <p:cNvPr id="26" name="TextBox 25">
                  <a:extLst>
                    <a:ext uri="{FF2B5EF4-FFF2-40B4-BE49-F238E27FC236}">
                      <a16:creationId xmlns:a16="http://schemas.microsoft.com/office/drawing/2014/main" xmlns="" id="{C1F86F3A-8E36-423B-9988-B7B5485B653A}"/>
                    </a:ext>
                  </a:extLst>
                </p:cNvPr>
                <p:cNvSpPr txBox="1"/>
                <p:nvPr/>
              </p:nvSpPr>
              <p:spPr>
                <a:xfrm>
                  <a:off x="5699308" y="5905254"/>
                  <a:ext cx="1530826"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Merger right sizing</a:t>
                  </a:r>
                </a:p>
              </p:txBody>
            </p:sp>
            <p:sp>
              <p:nvSpPr>
                <p:cNvPr id="27" name="TextBox 26">
                  <a:extLst>
                    <a:ext uri="{FF2B5EF4-FFF2-40B4-BE49-F238E27FC236}">
                      <a16:creationId xmlns:a16="http://schemas.microsoft.com/office/drawing/2014/main" xmlns="" id="{C1F86F3A-8E36-423B-9988-B7B5485B653A}"/>
                    </a:ext>
                  </a:extLst>
                </p:cNvPr>
                <p:cNvSpPr txBox="1"/>
                <p:nvPr/>
              </p:nvSpPr>
              <p:spPr>
                <a:xfrm>
                  <a:off x="9005030" y="5958624"/>
                  <a:ext cx="1496812"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ERM maturity</a:t>
                  </a:r>
                </a:p>
              </p:txBody>
            </p:sp>
            <p:sp>
              <p:nvSpPr>
                <p:cNvPr id="28" name="TextBox 27">
                  <a:extLst>
                    <a:ext uri="{FF2B5EF4-FFF2-40B4-BE49-F238E27FC236}">
                      <a16:creationId xmlns:a16="http://schemas.microsoft.com/office/drawing/2014/main" xmlns="" id="{C1F86F3A-8E36-423B-9988-B7B5485B653A}"/>
                    </a:ext>
                  </a:extLst>
                </p:cNvPr>
                <p:cNvSpPr txBox="1"/>
                <p:nvPr/>
              </p:nvSpPr>
              <p:spPr>
                <a:xfrm>
                  <a:off x="6799577" y="4943370"/>
                  <a:ext cx="1644755"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4IR change management</a:t>
                  </a:r>
                </a:p>
              </p:txBody>
            </p:sp>
            <p:sp>
              <p:nvSpPr>
                <p:cNvPr id="29" name="TextBox 28">
                  <a:extLst>
                    <a:ext uri="{FF2B5EF4-FFF2-40B4-BE49-F238E27FC236}">
                      <a16:creationId xmlns:a16="http://schemas.microsoft.com/office/drawing/2014/main" xmlns="" id="{C1F86F3A-8E36-423B-9988-B7B5485B653A}"/>
                    </a:ext>
                  </a:extLst>
                </p:cNvPr>
                <p:cNvSpPr txBox="1"/>
                <p:nvPr/>
              </p:nvSpPr>
              <p:spPr>
                <a:xfrm>
                  <a:off x="9338865" y="2841888"/>
                  <a:ext cx="1258265"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chemeClr val="bg1"/>
                      </a:solidFill>
                      <a:latin typeface="Arial" panose="020B0604020202020204" pitchFamily="34" charset="0"/>
                      <a:cs typeface="Arial" panose="020B0604020202020204" pitchFamily="34" charset="0"/>
                    </a:rPr>
                    <a:t>4IR change management</a:t>
                  </a:r>
                </a:p>
              </p:txBody>
            </p:sp>
            <p:sp>
              <p:nvSpPr>
                <p:cNvPr id="30" name="TextBox 29">
                  <a:extLst>
                    <a:ext uri="{FF2B5EF4-FFF2-40B4-BE49-F238E27FC236}">
                      <a16:creationId xmlns:a16="http://schemas.microsoft.com/office/drawing/2014/main" xmlns="" id="{C1F86F3A-8E36-423B-9988-B7B5485B653A}"/>
                    </a:ext>
                  </a:extLst>
                </p:cNvPr>
                <p:cNvSpPr txBox="1"/>
                <p:nvPr/>
              </p:nvSpPr>
              <p:spPr>
                <a:xfrm>
                  <a:off x="1757405" y="6100789"/>
                  <a:ext cx="2581861"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1A4226"/>
                      </a:solidFill>
                      <a:latin typeface="Arial" panose="020B0604020202020204" pitchFamily="34" charset="0"/>
                      <a:cs typeface="Arial" panose="020B0604020202020204" pitchFamily="34" charset="0"/>
                    </a:rPr>
                    <a:t>Group IT strategy</a:t>
                  </a:r>
                </a:p>
              </p:txBody>
            </p:sp>
            <p:sp>
              <p:nvSpPr>
                <p:cNvPr id="31" name="TextBox 30">
                  <a:extLst>
                    <a:ext uri="{FF2B5EF4-FFF2-40B4-BE49-F238E27FC236}">
                      <a16:creationId xmlns:a16="http://schemas.microsoft.com/office/drawing/2014/main" xmlns="" id="{C1F86F3A-8E36-423B-9988-B7B5485B653A}"/>
                    </a:ext>
                  </a:extLst>
                </p:cNvPr>
                <p:cNvSpPr txBox="1"/>
                <p:nvPr/>
              </p:nvSpPr>
              <p:spPr>
                <a:xfrm>
                  <a:off x="4793339" y="4446399"/>
                  <a:ext cx="2068281"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System automation </a:t>
                  </a:r>
                  <a:r>
                    <a:rPr lang="en-ZA" sz="900" kern="0" dirty="0">
                      <a:solidFill>
                        <a:srgbClr val="225833"/>
                      </a:solidFill>
                      <a:latin typeface="Arial" panose="020B0604020202020204" pitchFamily="34" charset="0"/>
                      <a:cs typeface="Arial" panose="020B0604020202020204" pitchFamily="34" charset="0"/>
                    </a:rPr>
                    <a:t>(</a:t>
                  </a:r>
                  <a:r>
                    <a:rPr lang="en-US" sz="900" kern="0" dirty="0">
                      <a:solidFill>
                        <a:srgbClr val="225833"/>
                      </a:solidFill>
                      <a:latin typeface="Arial" panose="020B0604020202020204" pitchFamily="34" charset="0"/>
                      <a:cs typeface="Arial" panose="020B0604020202020204" pitchFamily="34" charset="0"/>
                    </a:rPr>
                    <a:t>reporting </a:t>
                  </a:r>
                  <a:br>
                    <a:rPr lang="en-US" sz="900" kern="0" dirty="0">
                      <a:solidFill>
                        <a:srgbClr val="225833"/>
                      </a:solidFill>
                      <a:latin typeface="Arial" panose="020B0604020202020204" pitchFamily="34" charset="0"/>
                      <a:cs typeface="Arial" panose="020B0604020202020204" pitchFamily="34" charset="0"/>
                    </a:rPr>
                  </a:br>
                  <a:r>
                    <a:rPr lang="en-US" sz="900" kern="0" dirty="0">
                      <a:solidFill>
                        <a:srgbClr val="225833"/>
                      </a:solidFill>
                      <a:latin typeface="Arial" panose="020B0604020202020204" pitchFamily="34" charset="0"/>
                      <a:cs typeface="Arial" panose="020B0604020202020204" pitchFamily="34" charset="0"/>
                    </a:rPr>
                    <a:t>and performance management)</a:t>
                  </a:r>
                </a:p>
              </p:txBody>
            </p:sp>
            <p:sp>
              <p:nvSpPr>
                <p:cNvPr id="32" name="TextBox 31">
                  <a:extLst>
                    <a:ext uri="{FF2B5EF4-FFF2-40B4-BE49-F238E27FC236}">
                      <a16:creationId xmlns:a16="http://schemas.microsoft.com/office/drawing/2014/main" xmlns="" id="{C1F86F3A-8E36-423B-9988-B7B5485B653A}"/>
                    </a:ext>
                  </a:extLst>
                </p:cNvPr>
                <p:cNvSpPr txBox="1"/>
                <p:nvPr/>
              </p:nvSpPr>
              <p:spPr>
                <a:xfrm>
                  <a:off x="6875157" y="3432351"/>
                  <a:ext cx="1444279"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4IR  </a:t>
                  </a:r>
                  <a:endParaRPr lang="en-ZA" sz="900" b="1" kern="0" dirty="0">
                    <a:solidFill>
                      <a:srgbClr val="225833"/>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xmlns="" id="{8C058119-6301-4E06-8A45-8601A9D237ED}"/>
                    </a:ext>
                  </a:extLst>
                </p:cNvPr>
                <p:cNvSpPr txBox="1"/>
                <p:nvPr/>
              </p:nvSpPr>
              <p:spPr>
                <a:xfrm>
                  <a:off x="725831" y="581541"/>
                  <a:ext cx="1205422" cy="33855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Arial" panose="020B0604020202020204" pitchFamily="34" charset="0"/>
                      <a:cs typeface="Arial" panose="020B0604020202020204" pitchFamily="34" charset="0"/>
                    </a:rPr>
                    <a:t>2020-2021</a:t>
                  </a:r>
                </a:p>
              </p:txBody>
            </p:sp>
            <p:sp>
              <p:nvSpPr>
                <p:cNvPr id="34" name="TextBox 33">
                  <a:extLst>
                    <a:ext uri="{FF2B5EF4-FFF2-40B4-BE49-F238E27FC236}">
                      <a16:creationId xmlns:a16="http://schemas.microsoft.com/office/drawing/2014/main" xmlns="" id="{D0329DED-6CFD-4895-8D10-EB9FC9F0B76A}"/>
                    </a:ext>
                  </a:extLst>
                </p:cNvPr>
                <p:cNvSpPr txBox="1"/>
                <p:nvPr/>
              </p:nvSpPr>
              <p:spPr>
                <a:xfrm>
                  <a:off x="1922622" y="607783"/>
                  <a:ext cx="2452052" cy="33855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Arial" panose="020B0604020202020204" pitchFamily="34" charset="0"/>
                      <a:cs typeface="Arial" panose="020B0604020202020204" pitchFamily="34" charset="0"/>
                    </a:rPr>
                    <a:t>2021-2022</a:t>
                  </a:r>
                </a:p>
              </p:txBody>
            </p:sp>
            <p:sp>
              <p:nvSpPr>
                <p:cNvPr id="35" name="TextBox 34">
                  <a:extLst>
                    <a:ext uri="{FF2B5EF4-FFF2-40B4-BE49-F238E27FC236}">
                      <a16:creationId xmlns:a16="http://schemas.microsoft.com/office/drawing/2014/main" xmlns="" id="{DC2E1247-AFE8-4CF9-9BDC-5A66C16DCE81}"/>
                    </a:ext>
                  </a:extLst>
                </p:cNvPr>
                <p:cNvSpPr txBox="1"/>
                <p:nvPr/>
              </p:nvSpPr>
              <p:spPr>
                <a:xfrm>
                  <a:off x="4375244" y="607783"/>
                  <a:ext cx="1724307" cy="33855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Arial" panose="020B0604020202020204" pitchFamily="34" charset="0"/>
                      <a:cs typeface="Arial" panose="020B0604020202020204" pitchFamily="34" charset="0"/>
                    </a:rPr>
                    <a:t>2022-2023</a:t>
                  </a:r>
                </a:p>
              </p:txBody>
            </p:sp>
            <p:sp>
              <p:nvSpPr>
                <p:cNvPr id="36" name="TextBox 35">
                  <a:extLst>
                    <a:ext uri="{FF2B5EF4-FFF2-40B4-BE49-F238E27FC236}">
                      <a16:creationId xmlns:a16="http://schemas.microsoft.com/office/drawing/2014/main" xmlns="" id="{D7BBD6B1-E662-4E25-960D-2296CDF4CDC4}"/>
                    </a:ext>
                  </a:extLst>
                </p:cNvPr>
                <p:cNvSpPr txBox="1"/>
                <p:nvPr/>
              </p:nvSpPr>
              <p:spPr>
                <a:xfrm>
                  <a:off x="7871966" y="607783"/>
                  <a:ext cx="3330935" cy="33855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Arial" panose="020B0604020202020204" pitchFamily="34" charset="0"/>
                      <a:cs typeface="Arial" panose="020B0604020202020204" pitchFamily="34" charset="0"/>
                    </a:rPr>
                    <a:t>2024-2025</a:t>
                  </a:r>
                </a:p>
              </p:txBody>
            </p:sp>
            <p:sp>
              <p:nvSpPr>
                <p:cNvPr id="37" name="TextBox 36">
                  <a:extLst>
                    <a:ext uri="{FF2B5EF4-FFF2-40B4-BE49-F238E27FC236}">
                      <a16:creationId xmlns:a16="http://schemas.microsoft.com/office/drawing/2014/main" xmlns="" id="{0CE6370B-22B9-4204-83D4-6EA748ED0CBA}"/>
                    </a:ext>
                  </a:extLst>
                </p:cNvPr>
                <p:cNvSpPr txBox="1"/>
                <p:nvPr/>
              </p:nvSpPr>
              <p:spPr>
                <a:xfrm>
                  <a:off x="6085106" y="607783"/>
                  <a:ext cx="1734979" cy="33855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Arial" panose="020B0604020202020204" pitchFamily="34" charset="0"/>
                      <a:cs typeface="Arial" panose="020B0604020202020204" pitchFamily="34" charset="0"/>
                    </a:rPr>
                    <a:t>2023-2024</a:t>
                  </a:r>
                </a:p>
              </p:txBody>
            </p:sp>
            <p:cxnSp>
              <p:nvCxnSpPr>
                <p:cNvPr id="38" name="Straight Connector 37">
                  <a:extLst>
                    <a:ext uri="{FF2B5EF4-FFF2-40B4-BE49-F238E27FC236}">
                      <a16:creationId xmlns:a16="http://schemas.microsoft.com/office/drawing/2014/main" xmlns="" id="{913775AA-CDF0-4B3A-9433-82055DBFB788}"/>
                    </a:ext>
                  </a:extLst>
                </p:cNvPr>
                <p:cNvCxnSpPr>
                  <a:cxnSpLocks/>
                </p:cNvCxnSpPr>
                <p:nvPr/>
              </p:nvCxnSpPr>
              <p:spPr>
                <a:xfrm>
                  <a:off x="1918464" y="593530"/>
                  <a:ext cx="0" cy="314575"/>
                </a:xfrm>
                <a:prstGeom prst="line">
                  <a:avLst/>
                </a:prstGeom>
                <a:noFill/>
                <a:ln w="12700" cap="flat" cmpd="sng" algn="ctr">
                  <a:solidFill>
                    <a:sysClr val="window" lastClr="FFFFFF">
                      <a:lumMod val="75000"/>
                    </a:sysClr>
                  </a:solidFill>
                  <a:prstDash val="solid"/>
                  <a:miter lim="800000"/>
                </a:ln>
                <a:effectLst/>
              </p:spPr>
            </p:cxnSp>
            <p:cxnSp>
              <p:nvCxnSpPr>
                <p:cNvPr id="39" name="Straight Connector 38">
                  <a:extLst>
                    <a:ext uri="{FF2B5EF4-FFF2-40B4-BE49-F238E27FC236}">
                      <a16:creationId xmlns:a16="http://schemas.microsoft.com/office/drawing/2014/main" xmlns="" id="{1B2BED0F-81D7-4DAC-99BF-78DCDD8BE8F1}"/>
                    </a:ext>
                  </a:extLst>
                </p:cNvPr>
                <p:cNvCxnSpPr>
                  <a:cxnSpLocks/>
                </p:cNvCxnSpPr>
                <p:nvPr/>
              </p:nvCxnSpPr>
              <p:spPr>
                <a:xfrm>
                  <a:off x="4380464" y="593530"/>
                  <a:ext cx="0" cy="314575"/>
                </a:xfrm>
                <a:prstGeom prst="line">
                  <a:avLst/>
                </a:prstGeom>
                <a:noFill/>
                <a:ln w="12700" cap="flat" cmpd="sng" algn="ctr">
                  <a:solidFill>
                    <a:sysClr val="window" lastClr="FFFFFF">
                      <a:lumMod val="75000"/>
                    </a:sysClr>
                  </a:solidFill>
                  <a:prstDash val="solid"/>
                  <a:miter lim="800000"/>
                </a:ln>
                <a:effectLst/>
              </p:spPr>
            </p:cxnSp>
            <p:cxnSp>
              <p:nvCxnSpPr>
                <p:cNvPr id="40" name="Straight Connector 39">
                  <a:extLst>
                    <a:ext uri="{FF2B5EF4-FFF2-40B4-BE49-F238E27FC236}">
                      <a16:creationId xmlns:a16="http://schemas.microsoft.com/office/drawing/2014/main" xmlns="" id="{D58AD321-EB1B-4FEC-94FC-A242915308C5}"/>
                    </a:ext>
                  </a:extLst>
                </p:cNvPr>
                <p:cNvCxnSpPr>
                  <a:cxnSpLocks/>
                </p:cNvCxnSpPr>
                <p:nvPr/>
              </p:nvCxnSpPr>
              <p:spPr>
                <a:xfrm>
                  <a:off x="6086080" y="593530"/>
                  <a:ext cx="0" cy="314575"/>
                </a:xfrm>
                <a:prstGeom prst="line">
                  <a:avLst/>
                </a:prstGeom>
                <a:noFill/>
                <a:ln w="12700" cap="flat" cmpd="sng" algn="ctr">
                  <a:solidFill>
                    <a:sysClr val="window" lastClr="FFFFFF">
                      <a:lumMod val="75000"/>
                    </a:sysClr>
                  </a:solidFill>
                  <a:prstDash val="solid"/>
                  <a:miter lim="800000"/>
                </a:ln>
                <a:effectLst/>
              </p:spPr>
            </p:cxnSp>
            <p:cxnSp>
              <p:nvCxnSpPr>
                <p:cNvPr id="41" name="Straight Connector 40">
                  <a:extLst>
                    <a:ext uri="{FF2B5EF4-FFF2-40B4-BE49-F238E27FC236}">
                      <a16:creationId xmlns:a16="http://schemas.microsoft.com/office/drawing/2014/main" xmlns="" id="{1967284A-5A3F-4942-97A0-A994618D18BE}"/>
                    </a:ext>
                  </a:extLst>
                </p:cNvPr>
                <p:cNvCxnSpPr>
                  <a:cxnSpLocks/>
                </p:cNvCxnSpPr>
                <p:nvPr/>
              </p:nvCxnSpPr>
              <p:spPr>
                <a:xfrm>
                  <a:off x="7846025" y="593530"/>
                  <a:ext cx="0" cy="314575"/>
                </a:xfrm>
                <a:prstGeom prst="line">
                  <a:avLst/>
                </a:prstGeom>
                <a:noFill/>
                <a:ln w="12700" cap="flat" cmpd="sng" algn="ctr">
                  <a:solidFill>
                    <a:sysClr val="window" lastClr="FFFFFF">
                      <a:lumMod val="75000"/>
                    </a:sysClr>
                  </a:solidFill>
                  <a:prstDash val="solid"/>
                  <a:miter lim="800000"/>
                </a:ln>
                <a:effectLst/>
              </p:spPr>
            </p:cxnSp>
            <p:sp>
              <p:nvSpPr>
                <p:cNvPr id="42" name="TextBox 41">
                  <a:extLst>
                    <a:ext uri="{FF2B5EF4-FFF2-40B4-BE49-F238E27FC236}">
                      <a16:creationId xmlns:a16="http://schemas.microsoft.com/office/drawing/2014/main" xmlns="" id="{CA792479-8DDE-4FB3-AEED-5807881E2BCD}"/>
                    </a:ext>
                  </a:extLst>
                </p:cNvPr>
                <p:cNvSpPr txBox="1"/>
                <p:nvPr/>
              </p:nvSpPr>
              <p:spPr>
                <a:xfrm>
                  <a:off x="5180283" y="6403874"/>
                  <a:ext cx="3649651" cy="261610"/>
                </a:xfrm>
                <a:prstGeom prst="rect">
                  <a:avLst/>
                </a:prstGeom>
                <a:solidFill>
                  <a:sysClr val="window" lastClr="FFFFFF">
                    <a:lumMod val="95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Human Capital &amp; ORG</a:t>
                  </a:r>
                  <a:r>
                    <a:rPr kumimoji="0" lang="en-IN" sz="1100" b="1" i="0" u="none" strike="noStrike" kern="0" cap="none" spc="0" normalizeH="0" noProof="0" dirty="0">
                      <a:ln>
                        <a:noFill/>
                      </a:ln>
                      <a:effectLst/>
                      <a:uLnTx/>
                      <a:uFillTx/>
                      <a:latin typeface="Arial" panose="020B0604020202020204" pitchFamily="34" charset="0"/>
                      <a:cs typeface="Arial" panose="020B0604020202020204" pitchFamily="34" charset="0"/>
                    </a:rPr>
                    <a:t> Alignment</a:t>
                  </a:r>
                  <a:endPar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xmlns="" id="{446D5CC0-6664-4CF2-B8F1-9502C6512B4E}"/>
                    </a:ext>
                  </a:extLst>
                </p:cNvPr>
                <p:cNvSpPr txBox="1"/>
                <p:nvPr/>
              </p:nvSpPr>
              <p:spPr>
                <a:xfrm>
                  <a:off x="1303850" y="6403874"/>
                  <a:ext cx="3823036" cy="261610"/>
                </a:xfrm>
                <a:prstGeom prst="rect">
                  <a:avLst/>
                </a:prstGeom>
                <a:solidFill>
                  <a:sysClr val="window" lastClr="FFFFFF">
                    <a:lumMod val="95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Operational Efficiency</a:t>
                  </a:r>
                </a:p>
              </p:txBody>
            </p:sp>
            <p:sp>
              <p:nvSpPr>
                <p:cNvPr id="44" name="TextBox 43">
                  <a:extLst>
                    <a:ext uri="{FF2B5EF4-FFF2-40B4-BE49-F238E27FC236}">
                      <a16:creationId xmlns:a16="http://schemas.microsoft.com/office/drawing/2014/main" xmlns="" id="{E02DFD35-22C2-4280-A375-5447BC36226A}"/>
                    </a:ext>
                  </a:extLst>
                </p:cNvPr>
                <p:cNvSpPr txBox="1"/>
                <p:nvPr/>
              </p:nvSpPr>
              <p:spPr>
                <a:xfrm rot="16200000">
                  <a:off x="-405848" y="5252017"/>
                  <a:ext cx="1755062" cy="430887"/>
                </a:xfrm>
                <a:prstGeom prst="rect">
                  <a:avLst/>
                </a:prstGeom>
                <a:solidFill>
                  <a:sysClr val="window" lastClr="FFFFFF">
                    <a:lumMod val="95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Consolidation &am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Turnaround</a:t>
                  </a:r>
                </a:p>
              </p:txBody>
            </p:sp>
            <p:sp>
              <p:nvSpPr>
                <p:cNvPr id="45" name="TextBox 44">
                  <a:extLst>
                    <a:ext uri="{FF2B5EF4-FFF2-40B4-BE49-F238E27FC236}">
                      <a16:creationId xmlns:a16="http://schemas.microsoft.com/office/drawing/2014/main" xmlns="" id="{3E6B5296-7B19-437B-A3F6-763EF8967EC4}"/>
                    </a:ext>
                  </a:extLst>
                </p:cNvPr>
                <p:cNvSpPr txBox="1"/>
                <p:nvPr/>
              </p:nvSpPr>
              <p:spPr>
                <a:xfrm rot="16200000">
                  <a:off x="-471115" y="1661785"/>
                  <a:ext cx="1885596" cy="430887"/>
                </a:xfrm>
                <a:prstGeom prst="rect">
                  <a:avLst/>
                </a:prstGeom>
                <a:solidFill>
                  <a:sysClr val="window" lastClr="FFFFFF">
                    <a:lumMod val="95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Strategy &am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Growth</a:t>
                  </a:r>
                </a:p>
              </p:txBody>
            </p:sp>
            <p:sp>
              <p:nvSpPr>
                <p:cNvPr id="46" name="TextBox 45">
                  <a:extLst>
                    <a:ext uri="{FF2B5EF4-FFF2-40B4-BE49-F238E27FC236}">
                      <a16:creationId xmlns:a16="http://schemas.microsoft.com/office/drawing/2014/main" xmlns="" id="{5F0DFE5C-D2C2-4EFE-91EC-2FF6FC30B9B5}"/>
                    </a:ext>
                  </a:extLst>
                </p:cNvPr>
                <p:cNvSpPr txBox="1"/>
                <p:nvPr/>
              </p:nvSpPr>
              <p:spPr>
                <a:xfrm rot="16200000">
                  <a:off x="-389477" y="3487604"/>
                  <a:ext cx="1722319" cy="430887"/>
                </a:xfrm>
                <a:prstGeom prst="rect">
                  <a:avLst/>
                </a:prstGeom>
                <a:solidFill>
                  <a:sysClr val="window" lastClr="FFFFFF">
                    <a:lumMod val="95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Commerci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Sustainability</a:t>
                  </a:r>
                </a:p>
              </p:txBody>
            </p:sp>
            <p:sp>
              <p:nvSpPr>
                <p:cNvPr id="47" name="TextBox 46">
                  <a:extLst>
                    <a:ext uri="{FF2B5EF4-FFF2-40B4-BE49-F238E27FC236}">
                      <a16:creationId xmlns:a16="http://schemas.microsoft.com/office/drawing/2014/main" xmlns="" id="{446D5CC0-6664-4CF2-B8F1-9502C6512B4E}"/>
                    </a:ext>
                  </a:extLst>
                </p:cNvPr>
                <p:cNvSpPr txBox="1"/>
                <p:nvPr/>
              </p:nvSpPr>
              <p:spPr>
                <a:xfrm>
                  <a:off x="8883331" y="6403874"/>
                  <a:ext cx="2926407" cy="261610"/>
                </a:xfrm>
                <a:prstGeom prst="rect">
                  <a:avLst/>
                </a:prstGeom>
                <a:solidFill>
                  <a:sysClr val="window" lastClr="FFFFFF">
                    <a:lumMod val="95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effectLst/>
                      <a:uLnTx/>
                      <a:uFillTx/>
                      <a:latin typeface="Arial" panose="020B0604020202020204" pitchFamily="34" charset="0"/>
                      <a:cs typeface="Arial" panose="020B0604020202020204" pitchFamily="34" charset="0"/>
                    </a:rPr>
                    <a:t>Corporate Governance &amp; ERM</a:t>
                  </a:r>
                </a:p>
              </p:txBody>
            </p:sp>
            <p:sp>
              <p:nvSpPr>
                <p:cNvPr id="48" name="TextBox 47">
                  <a:extLst>
                    <a:ext uri="{FF2B5EF4-FFF2-40B4-BE49-F238E27FC236}">
                      <a16:creationId xmlns:a16="http://schemas.microsoft.com/office/drawing/2014/main" xmlns="" id="{C1F86F3A-8E36-423B-9988-B7B5485B653A}"/>
                    </a:ext>
                  </a:extLst>
                </p:cNvPr>
                <p:cNvSpPr txBox="1"/>
                <p:nvPr/>
              </p:nvSpPr>
              <p:spPr>
                <a:xfrm>
                  <a:off x="1883095" y="911427"/>
                  <a:ext cx="1644561"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Solar Park feasibility</a:t>
                  </a:r>
                </a:p>
              </p:txBody>
            </p:sp>
            <p:sp>
              <p:nvSpPr>
                <p:cNvPr id="49" name="TextBox 48">
                  <a:extLst>
                    <a:ext uri="{FF2B5EF4-FFF2-40B4-BE49-F238E27FC236}">
                      <a16:creationId xmlns:a16="http://schemas.microsoft.com/office/drawing/2014/main" xmlns="" id="{C1F86F3A-8E36-423B-9988-B7B5485B653A}"/>
                    </a:ext>
                  </a:extLst>
                </p:cNvPr>
                <p:cNvSpPr txBox="1"/>
                <p:nvPr/>
              </p:nvSpPr>
              <p:spPr>
                <a:xfrm>
                  <a:off x="6100122" y="911427"/>
                  <a:ext cx="1894404"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REIPPP Bid Window 5</a:t>
                  </a:r>
                </a:p>
              </p:txBody>
            </p:sp>
            <p:sp>
              <p:nvSpPr>
                <p:cNvPr id="50" name="Rectangle 49"/>
                <p:cNvSpPr/>
                <p:nvPr/>
              </p:nvSpPr>
              <p:spPr>
                <a:xfrm>
                  <a:off x="2531380" y="2680867"/>
                  <a:ext cx="3568741" cy="3693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Acquisition of operational assets </a:t>
                  </a:r>
                  <a:br>
                    <a:rPr lang="en-ZA" sz="900" b="1" kern="0" dirty="0">
                      <a:solidFill>
                        <a:srgbClr val="225833"/>
                      </a:solidFill>
                      <a:latin typeface="Arial" panose="020B0604020202020204" pitchFamily="34" charset="0"/>
                      <a:cs typeface="Arial" panose="020B0604020202020204" pitchFamily="34" charset="0"/>
                    </a:rPr>
                  </a:br>
                  <a:r>
                    <a:rPr lang="en-ZA" sz="900" kern="0" dirty="0">
                      <a:solidFill>
                        <a:srgbClr val="225833"/>
                      </a:solidFill>
                      <a:latin typeface="Arial" panose="020B0604020202020204" pitchFamily="34" charset="0"/>
                      <a:cs typeface="Arial" panose="020B0604020202020204" pitchFamily="34" charset="0"/>
                    </a:rPr>
                    <a:t>(incl. 50% Rompco)</a:t>
                  </a:r>
                </a:p>
              </p:txBody>
            </p:sp>
            <p:sp>
              <p:nvSpPr>
                <p:cNvPr id="51" name="Rectangle 50"/>
                <p:cNvSpPr/>
                <p:nvPr/>
              </p:nvSpPr>
              <p:spPr>
                <a:xfrm>
                  <a:off x="6756132" y="1873773"/>
                  <a:ext cx="869610" cy="2308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chemeClr val="bg1"/>
                      </a:solidFill>
                      <a:latin typeface="Arial" panose="020B0604020202020204" pitchFamily="34" charset="0"/>
                      <a:cs typeface="Arial" panose="020B0604020202020204" pitchFamily="34" charset="0"/>
                    </a:rPr>
                    <a:t>T-Project</a:t>
                  </a:r>
                </a:p>
              </p:txBody>
            </p:sp>
            <p:sp>
              <p:nvSpPr>
                <p:cNvPr id="52" name="Freeform: Shape 649">
                  <a:extLst>
                    <a:ext uri="{FF2B5EF4-FFF2-40B4-BE49-F238E27FC236}">
                      <a16:creationId xmlns:a16="http://schemas.microsoft.com/office/drawing/2014/main" xmlns="" id="{0C9F10E1-B9AC-4035-AC3F-EEB688A9E683}"/>
                    </a:ext>
                  </a:extLst>
                </p:cNvPr>
                <p:cNvSpPr/>
                <p:nvPr/>
              </p:nvSpPr>
              <p:spPr>
                <a:xfrm>
                  <a:off x="7854703" y="900731"/>
                  <a:ext cx="3942157" cy="1860609"/>
                </a:xfrm>
                <a:custGeom>
                  <a:avLst/>
                  <a:gdLst>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2558158 w 3266836"/>
                    <a:gd name="connsiteY4" fmla="*/ 2539241 h 2953531"/>
                    <a:gd name="connsiteX5" fmla="*/ 2455857 w 3266836"/>
                    <a:gd name="connsiteY5" fmla="*/ 2465850 h 2953531"/>
                    <a:gd name="connsiteX6" fmla="*/ 2455695 w 3266836"/>
                    <a:gd name="connsiteY6" fmla="*/ 2390193 h 2953531"/>
                    <a:gd name="connsiteX7" fmla="*/ 2454604 w 3266836"/>
                    <a:gd name="connsiteY7" fmla="*/ 2085428 h 2953531"/>
                    <a:gd name="connsiteX8" fmla="*/ 1651716 w 3266836"/>
                    <a:gd name="connsiteY8" fmla="*/ 1788602 h 2953531"/>
                    <a:gd name="connsiteX9" fmla="*/ 1546678 w 3266836"/>
                    <a:gd name="connsiteY9" fmla="*/ 1730611 h 2953531"/>
                    <a:gd name="connsiteX10" fmla="*/ 1449635 w 3266836"/>
                    <a:gd name="connsiteY10" fmla="*/ 1643532 h 2953531"/>
                    <a:gd name="connsiteX11" fmla="*/ 146526 w 3266836"/>
                    <a:gd name="connsiteY11" fmla="*/ 220537 h 2953531"/>
                    <a:gd name="connsiteX12" fmla="*/ 63637 w 3266836"/>
                    <a:gd name="connsiteY12" fmla="*/ 103192 h 2953531"/>
                    <a:gd name="connsiteX13" fmla="*/ 0 w 3266836"/>
                    <a:gd name="connsiteY13"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2558158 w 3266836"/>
                    <a:gd name="connsiteY4" fmla="*/ 2539241 h 2953531"/>
                    <a:gd name="connsiteX5" fmla="*/ 2455857 w 3266836"/>
                    <a:gd name="connsiteY5" fmla="*/ 2465850 h 2953531"/>
                    <a:gd name="connsiteX6" fmla="*/ 2455695 w 3266836"/>
                    <a:gd name="connsiteY6" fmla="*/ 2390193 h 2953531"/>
                    <a:gd name="connsiteX7" fmla="*/ 2454604 w 3266836"/>
                    <a:gd name="connsiteY7" fmla="*/ 2085428 h 2953531"/>
                    <a:gd name="connsiteX8" fmla="*/ 1651716 w 3266836"/>
                    <a:gd name="connsiteY8" fmla="*/ 1788602 h 2953531"/>
                    <a:gd name="connsiteX9" fmla="*/ 1546678 w 3266836"/>
                    <a:gd name="connsiteY9" fmla="*/ 1730611 h 2953531"/>
                    <a:gd name="connsiteX10" fmla="*/ 146526 w 3266836"/>
                    <a:gd name="connsiteY10" fmla="*/ 220537 h 2953531"/>
                    <a:gd name="connsiteX11" fmla="*/ 63637 w 3266836"/>
                    <a:gd name="connsiteY11" fmla="*/ 103192 h 2953531"/>
                    <a:gd name="connsiteX12" fmla="*/ 0 w 3266836"/>
                    <a:gd name="connsiteY12"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2558158 w 3266836"/>
                    <a:gd name="connsiteY4" fmla="*/ 2539241 h 2953531"/>
                    <a:gd name="connsiteX5" fmla="*/ 2455857 w 3266836"/>
                    <a:gd name="connsiteY5" fmla="*/ 2465850 h 2953531"/>
                    <a:gd name="connsiteX6" fmla="*/ 2455695 w 3266836"/>
                    <a:gd name="connsiteY6" fmla="*/ 2390193 h 2953531"/>
                    <a:gd name="connsiteX7" fmla="*/ 2454604 w 3266836"/>
                    <a:gd name="connsiteY7" fmla="*/ 2085428 h 2953531"/>
                    <a:gd name="connsiteX8" fmla="*/ 1546678 w 3266836"/>
                    <a:gd name="connsiteY8" fmla="*/ 1730611 h 2953531"/>
                    <a:gd name="connsiteX9" fmla="*/ 146526 w 3266836"/>
                    <a:gd name="connsiteY9" fmla="*/ 220537 h 2953531"/>
                    <a:gd name="connsiteX10" fmla="*/ 63637 w 3266836"/>
                    <a:gd name="connsiteY10" fmla="*/ 103192 h 2953531"/>
                    <a:gd name="connsiteX11" fmla="*/ 0 w 3266836"/>
                    <a:gd name="connsiteY11"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2558158 w 3266836"/>
                    <a:gd name="connsiteY4" fmla="*/ 2539241 h 2953531"/>
                    <a:gd name="connsiteX5" fmla="*/ 2455857 w 3266836"/>
                    <a:gd name="connsiteY5" fmla="*/ 2465850 h 2953531"/>
                    <a:gd name="connsiteX6" fmla="*/ 2455695 w 3266836"/>
                    <a:gd name="connsiteY6" fmla="*/ 2390193 h 2953531"/>
                    <a:gd name="connsiteX7" fmla="*/ 2454604 w 3266836"/>
                    <a:gd name="connsiteY7" fmla="*/ 2085428 h 2953531"/>
                    <a:gd name="connsiteX8" fmla="*/ 146526 w 3266836"/>
                    <a:gd name="connsiteY8" fmla="*/ 220537 h 2953531"/>
                    <a:gd name="connsiteX9" fmla="*/ 63637 w 3266836"/>
                    <a:gd name="connsiteY9" fmla="*/ 103192 h 2953531"/>
                    <a:gd name="connsiteX10" fmla="*/ 0 w 3266836"/>
                    <a:gd name="connsiteY10"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2558158 w 3266836"/>
                    <a:gd name="connsiteY4" fmla="*/ 2539241 h 2953531"/>
                    <a:gd name="connsiteX5" fmla="*/ 2455857 w 3266836"/>
                    <a:gd name="connsiteY5" fmla="*/ 2465850 h 2953531"/>
                    <a:gd name="connsiteX6" fmla="*/ 2455695 w 3266836"/>
                    <a:gd name="connsiteY6" fmla="*/ 2390193 h 2953531"/>
                    <a:gd name="connsiteX7" fmla="*/ 146526 w 3266836"/>
                    <a:gd name="connsiteY7" fmla="*/ 220537 h 2953531"/>
                    <a:gd name="connsiteX8" fmla="*/ 63637 w 3266836"/>
                    <a:gd name="connsiteY8" fmla="*/ 103192 h 2953531"/>
                    <a:gd name="connsiteX9" fmla="*/ 0 w 3266836"/>
                    <a:gd name="connsiteY9"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2558158 w 3266836"/>
                    <a:gd name="connsiteY4" fmla="*/ 2539241 h 2953531"/>
                    <a:gd name="connsiteX5" fmla="*/ 2455857 w 3266836"/>
                    <a:gd name="connsiteY5" fmla="*/ 2465850 h 2953531"/>
                    <a:gd name="connsiteX6" fmla="*/ 146526 w 3266836"/>
                    <a:gd name="connsiteY6" fmla="*/ 220537 h 2953531"/>
                    <a:gd name="connsiteX7" fmla="*/ 63637 w 3266836"/>
                    <a:gd name="connsiteY7" fmla="*/ 103192 h 2953531"/>
                    <a:gd name="connsiteX8" fmla="*/ 0 w 3266836"/>
                    <a:gd name="connsiteY8"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2558158 w 3266836"/>
                    <a:gd name="connsiteY4" fmla="*/ 2539241 h 2953531"/>
                    <a:gd name="connsiteX5" fmla="*/ 146526 w 3266836"/>
                    <a:gd name="connsiteY5" fmla="*/ 220537 h 2953531"/>
                    <a:gd name="connsiteX6" fmla="*/ 63637 w 3266836"/>
                    <a:gd name="connsiteY6" fmla="*/ 103192 h 2953531"/>
                    <a:gd name="connsiteX7" fmla="*/ 0 w 3266836"/>
                    <a:gd name="connsiteY7"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146526 w 3266836"/>
                    <a:gd name="connsiteY4" fmla="*/ 220537 h 2953531"/>
                    <a:gd name="connsiteX5" fmla="*/ 63637 w 3266836"/>
                    <a:gd name="connsiteY5" fmla="*/ 103192 h 2953531"/>
                    <a:gd name="connsiteX6" fmla="*/ 0 w 3266836"/>
                    <a:gd name="connsiteY6"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63637 w 3266836"/>
                    <a:gd name="connsiteY4" fmla="*/ 103192 h 2953531"/>
                    <a:gd name="connsiteX5" fmla="*/ 0 w 3266836"/>
                    <a:gd name="connsiteY5"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0 w 3266836"/>
                    <a:gd name="connsiteY4"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0 w 3266836"/>
                    <a:gd name="connsiteY4"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0 w 3266836"/>
                    <a:gd name="connsiteY4"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0 w 3266836"/>
                    <a:gd name="connsiteY4"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0 w 3266836"/>
                    <a:gd name="connsiteY4" fmla="*/ 0 h 2953531"/>
                    <a:gd name="connsiteX0" fmla="*/ 0 w 3266836"/>
                    <a:gd name="connsiteY0" fmla="*/ 0 h 2953531"/>
                    <a:gd name="connsiteX1" fmla="*/ 3266836 w 3266836"/>
                    <a:gd name="connsiteY1" fmla="*/ 0 h 2953531"/>
                    <a:gd name="connsiteX2" fmla="*/ 3266836 w 3266836"/>
                    <a:gd name="connsiteY2" fmla="*/ 2953531 h 2953531"/>
                    <a:gd name="connsiteX3" fmla="*/ 3253494 w 3266836"/>
                    <a:gd name="connsiteY3" fmla="*/ 2947482 h 2953531"/>
                    <a:gd name="connsiteX4" fmla="*/ 0 w 3266836"/>
                    <a:gd name="connsiteY4" fmla="*/ 0 h 2953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836" h="2953531">
                      <a:moveTo>
                        <a:pt x="0" y="0"/>
                      </a:moveTo>
                      <a:lnTo>
                        <a:pt x="3266836" y="0"/>
                      </a:lnTo>
                      <a:lnTo>
                        <a:pt x="3266836" y="2953531"/>
                      </a:lnTo>
                      <a:lnTo>
                        <a:pt x="3253494" y="2947482"/>
                      </a:lnTo>
                      <a:cubicBezTo>
                        <a:pt x="1745791" y="2868660"/>
                        <a:pt x="827323" y="2103703"/>
                        <a:pt x="0" y="0"/>
                      </a:cubicBezTo>
                      <a:close/>
                    </a:path>
                  </a:pathLst>
                </a:custGeom>
                <a:solidFill>
                  <a:srgbClr val="1A4226"/>
                </a:solidFill>
                <a:ln w="12700" cap="flat" cmpd="sng" algn="ctr">
                  <a:solidFill>
                    <a:sysClr val="window" lastClr="FFFFFF"/>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xmlns="" id="{C1F86F3A-8E36-423B-9988-B7B5485B653A}"/>
                    </a:ext>
                  </a:extLst>
                </p:cNvPr>
                <p:cNvSpPr txBox="1"/>
                <p:nvPr/>
              </p:nvSpPr>
              <p:spPr>
                <a:xfrm>
                  <a:off x="10909517" y="2349777"/>
                  <a:ext cx="887343"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Group risk appetites</a:t>
                  </a:r>
                </a:p>
              </p:txBody>
            </p:sp>
            <p:sp>
              <p:nvSpPr>
                <p:cNvPr id="54" name="TextBox 53">
                  <a:extLst>
                    <a:ext uri="{FF2B5EF4-FFF2-40B4-BE49-F238E27FC236}">
                      <a16:creationId xmlns:a16="http://schemas.microsoft.com/office/drawing/2014/main" xmlns="" id="{C1F86F3A-8E36-423B-9988-B7B5485B653A}"/>
                    </a:ext>
                  </a:extLst>
                </p:cNvPr>
                <p:cNvSpPr txBox="1"/>
                <p:nvPr/>
              </p:nvSpPr>
              <p:spPr>
                <a:xfrm>
                  <a:off x="8019068" y="964627"/>
                  <a:ext cx="2068695"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State-owned RE company or JV</a:t>
                  </a:r>
                </a:p>
              </p:txBody>
            </p:sp>
            <p:sp>
              <p:nvSpPr>
                <p:cNvPr id="55" name="TextBox 54">
                  <a:extLst>
                    <a:ext uri="{FF2B5EF4-FFF2-40B4-BE49-F238E27FC236}">
                      <a16:creationId xmlns:a16="http://schemas.microsoft.com/office/drawing/2014/main" xmlns="" id="{C1F86F3A-8E36-423B-9988-B7B5485B653A}"/>
                    </a:ext>
                  </a:extLst>
                </p:cNvPr>
                <p:cNvSpPr txBox="1"/>
                <p:nvPr/>
              </p:nvSpPr>
              <p:spPr>
                <a:xfrm>
                  <a:off x="10036920" y="2201819"/>
                  <a:ext cx="1037404"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chemeClr val="bg1"/>
                      </a:solidFill>
                      <a:latin typeface="Arial" panose="020B0604020202020204" pitchFamily="34" charset="0"/>
                      <a:cs typeface="Arial" panose="020B0604020202020204" pitchFamily="34" charset="0"/>
                    </a:rPr>
                    <a:t>4IR change management</a:t>
                  </a:r>
                </a:p>
              </p:txBody>
            </p:sp>
            <p:cxnSp>
              <p:nvCxnSpPr>
                <p:cNvPr id="56" name="Straight Connector 55">
                  <a:extLst>
                    <a:ext uri="{FF2B5EF4-FFF2-40B4-BE49-F238E27FC236}">
                      <a16:creationId xmlns:a16="http://schemas.microsoft.com/office/drawing/2014/main" xmlns="" id="{DD95AF2E-54F7-45A6-9281-358CCAF4E102}"/>
                    </a:ext>
                  </a:extLst>
                </p:cNvPr>
                <p:cNvCxnSpPr>
                  <a:cxnSpLocks/>
                  <a:stCxn id="52" idx="1"/>
                </p:cNvCxnSpPr>
                <p:nvPr/>
              </p:nvCxnSpPr>
              <p:spPr>
                <a:xfrm flipH="1">
                  <a:off x="701858" y="900731"/>
                  <a:ext cx="11095002" cy="1919296"/>
                </a:xfrm>
                <a:prstGeom prst="line">
                  <a:avLst/>
                </a:prstGeom>
                <a:noFill/>
                <a:ln w="6350" cap="flat" cmpd="sng" algn="ctr">
                  <a:solidFill>
                    <a:sysClr val="window" lastClr="FFFFFF"/>
                  </a:solidFill>
                  <a:prstDash val="solid"/>
                  <a:miter lim="800000"/>
                </a:ln>
                <a:effectLst/>
              </p:spPr>
            </p:cxnSp>
            <p:cxnSp>
              <p:nvCxnSpPr>
                <p:cNvPr id="57" name="Straight Connector 56">
                  <a:extLst>
                    <a:ext uri="{FF2B5EF4-FFF2-40B4-BE49-F238E27FC236}">
                      <a16:creationId xmlns:a16="http://schemas.microsoft.com/office/drawing/2014/main" xmlns="" id="{7103FF05-264E-4B95-BD2C-202EE20860C8}"/>
                    </a:ext>
                  </a:extLst>
                </p:cNvPr>
                <p:cNvCxnSpPr>
                  <a:cxnSpLocks/>
                  <a:stCxn id="52" idx="1"/>
                </p:cNvCxnSpPr>
                <p:nvPr/>
              </p:nvCxnSpPr>
              <p:spPr>
                <a:xfrm flipH="1">
                  <a:off x="1320735" y="900731"/>
                  <a:ext cx="10476125" cy="5444261"/>
                </a:xfrm>
                <a:prstGeom prst="line">
                  <a:avLst/>
                </a:prstGeom>
                <a:noFill/>
                <a:ln w="6350" cap="flat" cmpd="sng" algn="ctr">
                  <a:solidFill>
                    <a:sysClr val="window" lastClr="FFFFFF"/>
                  </a:solidFill>
                  <a:prstDash val="solid"/>
                  <a:miter lim="800000"/>
                </a:ln>
                <a:effectLst/>
              </p:spPr>
            </p:cxnSp>
            <p:cxnSp>
              <p:nvCxnSpPr>
                <p:cNvPr id="58" name="Straight Connector 57">
                  <a:extLst>
                    <a:ext uri="{FF2B5EF4-FFF2-40B4-BE49-F238E27FC236}">
                      <a16:creationId xmlns:a16="http://schemas.microsoft.com/office/drawing/2014/main" xmlns="" id="{528C5969-CBB4-4DF0-9E40-718E10D5CE23}"/>
                    </a:ext>
                  </a:extLst>
                </p:cNvPr>
                <p:cNvCxnSpPr>
                  <a:cxnSpLocks/>
                  <a:stCxn id="52" idx="1"/>
                </p:cNvCxnSpPr>
                <p:nvPr/>
              </p:nvCxnSpPr>
              <p:spPr>
                <a:xfrm flipH="1">
                  <a:off x="8793422" y="900731"/>
                  <a:ext cx="3003438" cy="5545035"/>
                </a:xfrm>
                <a:prstGeom prst="line">
                  <a:avLst/>
                </a:prstGeom>
                <a:noFill/>
                <a:ln w="6350" cap="flat" cmpd="sng" algn="ctr">
                  <a:solidFill>
                    <a:sysClr val="window" lastClr="FFFFFF"/>
                  </a:solidFill>
                  <a:prstDash val="solid"/>
                  <a:miter lim="800000"/>
                </a:ln>
                <a:effectLst/>
              </p:spPr>
            </p:cxnSp>
            <p:cxnSp>
              <p:nvCxnSpPr>
                <p:cNvPr id="59" name="Straight Connector 58">
                  <a:extLst>
                    <a:ext uri="{FF2B5EF4-FFF2-40B4-BE49-F238E27FC236}">
                      <a16:creationId xmlns:a16="http://schemas.microsoft.com/office/drawing/2014/main" xmlns="" id="{D3C3BBF1-5004-479A-A48A-8BC4703CE51D}"/>
                    </a:ext>
                  </a:extLst>
                </p:cNvPr>
                <p:cNvCxnSpPr>
                  <a:cxnSpLocks/>
                  <a:stCxn id="52" idx="1"/>
                </p:cNvCxnSpPr>
                <p:nvPr/>
              </p:nvCxnSpPr>
              <p:spPr>
                <a:xfrm flipH="1">
                  <a:off x="5143770" y="900731"/>
                  <a:ext cx="6653090" cy="5473970"/>
                </a:xfrm>
                <a:prstGeom prst="line">
                  <a:avLst/>
                </a:prstGeom>
                <a:noFill/>
                <a:ln w="6350" cap="flat" cmpd="sng" algn="ctr">
                  <a:solidFill>
                    <a:sysClr val="window" lastClr="FFFFFF"/>
                  </a:solidFill>
                  <a:prstDash val="solid"/>
                  <a:miter lim="800000"/>
                </a:ln>
                <a:effectLst/>
              </p:spPr>
            </p:cxnSp>
            <p:cxnSp>
              <p:nvCxnSpPr>
                <p:cNvPr id="60" name="Straight Connector 59">
                  <a:extLst>
                    <a:ext uri="{FF2B5EF4-FFF2-40B4-BE49-F238E27FC236}">
                      <a16:creationId xmlns:a16="http://schemas.microsoft.com/office/drawing/2014/main" xmlns="" id="{33ED3AF3-848E-4585-8B77-3E3E0FDA4D87}"/>
                    </a:ext>
                  </a:extLst>
                </p:cNvPr>
                <p:cNvCxnSpPr>
                  <a:cxnSpLocks/>
                  <a:stCxn id="52" idx="1"/>
                </p:cNvCxnSpPr>
                <p:nvPr/>
              </p:nvCxnSpPr>
              <p:spPr>
                <a:xfrm flipH="1">
                  <a:off x="655630" y="900731"/>
                  <a:ext cx="11141230" cy="3689199"/>
                </a:xfrm>
                <a:prstGeom prst="line">
                  <a:avLst/>
                </a:prstGeom>
                <a:noFill/>
                <a:ln w="6350" cap="flat" cmpd="sng" algn="ctr">
                  <a:solidFill>
                    <a:sysClr val="window" lastClr="FFFFFF"/>
                  </a:solidFill>
                  <a:prstDash val="solid"/>
                  <a:miter lim="800000"/>
                </a:ln>
                <a:effectLst/>
              </p:spPr>
            </p:cxnSp>
            <p:sp>
              <p:nvSpPr>
                <p:cNvPr id="61" name="TextBox 60">
                  <a:extLst>
                    <a:ext uri="{FF2B5EF4-FFF2-40B4-BE49-F238E27FC236}">
                      <a16:creationId xmlns:a16="http://schemas.microsoft.com/office/drawing/2014/main" xmlns="" id="{C1F86F3A-8E36-423B-9988-B7B5485B653A}"/>
                    </a:ext>
                  </a:extLst>
                </p:cNvPr>
                <p:cNvSpPr txBox="1"/>
                <p:nvPr/>
              </p:nvSpPr>
              <p:spPr>
                <a:xfrm>
                  <a:off x="10298511" y="1971001"/>
                  <a:ext cx="1037404"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EVP rollout</a:t>
                  </a:r>
                </a:p>
              </p:txBody>
            </p:sp>
            <p:sp>
              <p:nvSpPr>
                <p:cNvPr id="62" name="TextBox 61">
                  <a:extLst>
                    <a:ext uri="{FF2B5EF4-FFF2-40B4-BE49-F238E27FC236}">
                      <a16:creationId xmlns:a16="http://schemas.microsoft.com/office/drawing/2014/main" xmlns="" id="{C1F86F3A-8E36-423B-9988-B7B5485B653A}"/>
                    </a:ext>
                  </a:extLst>
                </p:cNvPr>
                <p:cNvSpPr txBox="1"/>
                <p:nvPr/>
              </p:nvSpPr>
              <p:spPr>
                <a:xfrm rot="170291">
                  <a:off x="3834879" y="4113191"/>
                  <a:ext cx="1636361"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Midstream – LNG </a:t>
                  </a:r>
                  <a:br>
                    <a:rPr lang="en-ZA" sz="900" b="1" kern="0" dirty="0">
                      <a:solidFill>
                        <a:srgbClr val="225833"/>
                      </a:solidFill>
                      <a:latin typeface="Arial" panose="020B0604020202020204" pitchFamily="34" charset="0"/>
                      <a:cs typeface="Arial" panose="020B0604020202020204" pitchFamily="34" charset="0"/>
                    </a:rPr>
                  </a:br>
                  <a:r>
                    <a:rPr lang="en-ZA" sz="900" b="1" kern="0" dirty="0">
                      <a:solidFill>
                        <a:srgbClr val="225833"/>
                      </a:solidFill>
                      <a:latin typeface="Arial" panose="020B0604020202020204" pitchFamily="34" charset="0"/>
                      <a:cs typeface="Arial" panose="020B0604020202020204" pitchFamily="34" charset="0"/>
                    </a:rPr>
                    <a:t>      </a:t>
                  </a:r>
                  <a:r>
                    <a:rPr lang="en-ZA" sz="900" kern="0" dirty="0">
                      <a:solidFill>
                        <a:srgbClr val="225833"/>
                      </a:solidFill>
                      <a:latin typeface="Arial" panose="020B0604020202020204" pitchFamily="34" charset="0"/>
                      <a:cs typeface="Arial" panose="020B0604020202020204" pitchFamily="34" charset="0"/>
                    </a:rPr>
                    <a:t>(feed)</a:t>
                  </a:r>
                </a:p>
              </p:txBody>
            </p:sp>
            <p:sp>
              <p:nvSpPr>
                <p:cNvPr id="63" name="TextBox 62">
                  <a:extLst>
                    <a:ext uri="{FF2B5EF4-FFF2-40B4-BE49-F238E27FC236}">
                      <a16:creationId xmlns:a16="http://schemas.microsoft.com/office/drawing/2014/main" xmlns="" id="{C1F86F3A-8E36-423B-9988-B7B5485B653A}"/>
                    </a:ext>
                  </a:extLst>
                </p:cNvPr>
                <p:cNvSpPr txBox="1"/>
                <p:nvPr/>
              </p:nvSpPr>
              <p:spPr>
                <a:xfrm rot="170291">
                  <a:off x="4556865" y="3244355"/>
                  <a:ext cx="1363183"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Operations – SPM</a:t>
                  </a:r>
                </a:p>
              </p:txBody>
            </p:sp>
            <p:sp>
              <p:nvSpPr>
                <p:cNvPr id="64" name="TextBox 63">
                  <a:extLst>
                    <a:ext uri="{FF2B5EF4-FFF2-40B4-BE49-F238E27FC236}">
                      <a16:creationId xmlns:a16="http://schemas.microsoft.com/office/drawing/2014/main" xmlns="" id="{C1F86F3A-8E36-423B-9988-B7B5485B653A}"/>
                    </a:ext>
                  </a:extLst>
                </p:cNvPr>
                <p:cNvSpPr txBox="1"/>
                <p:nvPr/>
              </p:nvSpPr>
              <p:spPr>
                <a:xfrm rot="170291">
                  <a:off x="3336707" y="3729594"/>
                  <a:ext cx="2658811"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Upgrade GTL to process 25 000bbl/day </a:t>
                  </a:r>
                  <a:endParaRPr lang="en-ZA" sz="900" b="1" kern="0" dirty="0">
                    <a:solidFill>
                      <a:srgbClr val="225833"/>
                    </a:solidFill>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xmlns="" id="{C1F86F3A-8E36-423B-9988-B7B5485B653A}"/>
                    </a:ext>
                  </a:extLst>
                </p:cNvPr>
                <p:cNvSpPr txBox="1"/>
                <p:nvPr/>
              </p:nvSpPr>
              <p:spPr>
                <a:xfrm rot="170291">
                  <a:off x="3564405" y="3932512"/>
                  <a:ext cx="2590773"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rgbClr val="225833"/>
                      </a:solidFill>
                      <a:latin typeface="Arial" panose="020B0604020202020204" pitchFamily="34" charset="0"/>
                      <a:cs typeface="Arial" panose="020B0604020202020204" pitchFamily="34" charset="0"/>
                    </a:rPr>
                    <a:t>Nile Orange energy project</a:t>
                  </a:r>
                </a:p>
              </p:txBody>
            </p:sp>
            <p:sp>
              <p:nvSpPr>
                <p:cNvPr id="66" name="TextBox 65">
                  <a:extLst>
                    <a:ext uri="{FF2B5EF4-FFF2-40B4-BE49-F238E27FC236}">
                      <a16:creationId xmlns:a16="http://schemas.microsoft.com/office/drawing/2014/main" xmlns="" id="{C1F86F3A-8E36-423B-9988-B7B5485B653A}"/>
                    </a:ext>
                  </a:extLst>
                </p:cNvPr>
                <p:cNvSpPr txBox="1"/>
                <p:nvPr/>
              </p:nvSpPr>
              <p:spPr>
                <a:xfrm rot="170291">
                  <a:off x="3921007" y="3464643"/>
                  <a:ext cx="2315646"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rgbClr val="225833"/>
                      </a:solidFill>
                      <a:latin typeface="Arial" panose="020B0604020202020204" pitchFamily="34" charset="0"/>
                      <a:cs typeface="Arial" panose="020B0604020202020204" pitchFamily="34" charset="0"/>
                    </a:rPr>
                    <a:t>Milnerton tank farm refurbishment</a:t>
                  </a:r>
                </a:p>
              </p:txBody>
            </p:sp>
            <p:sp>
              <p:nvSpPr>
                <p:cNvPr id="67" name="TextBox 66">
                  <a:extLst>
                    <a:ext uri="{FF2B5EF4-FFF2-40B4-BE49-F238E27FC236}">
                      <a16:creationId xmlns:a16="http://schemas.microsoft.com/office/drawing/2014/main" xmlns="" id="{C1F86F3A-8E36-423B-9988-B7B5485B653A}"/>
                    </a:ext>
                  </a:extLst>
                </p:cNvPr>
                <p:cNvSpPr txBox="1"/>
                <p:nvPr/>
              </p:nvSpPr>
              <p:spPr>
                <a:xfrm>
                  <a:off x="4453193" y="1082474"/>
                  <a:ext cx="1596510"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LNG import &amp; Gas-to-Power</a:t>
                  </a:r>
                </a:p>
              </p:txBody>
            </p:sp>
            <p:sp>
              <p:nvSpPr>
                <p:cNvPr id="68" name="TextBox 67">
                  <a:extLst>
                    <a:ext uri="{FF2B5EF4-FFF2-40B4-BE49-F238E27FC236}">
                      <a16:creationId xmlns:a16="http://schemas.microsoft.com/office/drawing/2014/main" xmlns="" id="{C1F86F3A-8E36-423B-9988-B7B5485B653A}"/>
                    </a:ext>
                  </a:extLst>
                </p:cNvPr>
                <p:cNvSpPr txBox="1"/>
                <p:nvPr/>
              </p:nvSpPr>
              <p:spPr>
                <a:xfrm>
                  <a:off x="4553342" y="1363996"/>
                  <a:ext cx="1596510"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NATCOS tanks</a:t>
                  </a:r>
                </a:p>
              </p:txBody>
            </p:sp>
            <p:sp>
              <p:nvSpPr>
                <p:cNvPr id="69" name="TextBox 68">
                  <a:extLst>
                    <a:ext uri="{FF2B5EF4-FFF2-40B4-BE49-F238E27FC236}">
                      <a16:creationId xmlns:a16="http://schemas.microsoft.com/office/drawing/2014/main" xmlns="" id="{C1F86F3A-8E36-423B-9988-B7B5485B653A}"/>
                    </a:ext>
                  </a:extLst>
                </p:cNvPr>
                <p:cNvSpPr txBox="1"/>
                <p:nvPr/>
              </p:nvSpPr>
              <p:spPr>
                <a:xfrm>
                  <a:off x="4606298" y="1526495"/>
                  <a:ext cx="1596510"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rgbClr val="225833"/>
                      </a:solidFill>
                      <a:latin typeface="Arial" panose="020B0604020202020204" pitchFamily="34" charset="0"/>
                      <a:cs typeface="Arial" panose="020B0604020202020204" pitchFamily="34" charset="0"/>
                    </a:rPr>
                    <a:t>Shale gas</a:t>
                  </a:r>
                  <a:endParaRPr lang="en-ZA" sz="900" b="1" kern="0" dirty="0">
                    <a:solidFill>
                      <a:srgbClr val="225833"/>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xmlns="" id="{C1F86F3A-8E36-423B-9988-B7B5485B653A}"/>
                    </a:ext>
                  </a:extLst>
                </p:cNvPr>
                <p:cNvSpPr txBox="1"/>
                <p:nvPr/>
              </p:nvSpPr>
              <p:spPr>
                <a:xfrm>
                  <a:off x="11101122" y="2034200"/>
                  <a:ext cx="743224"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ERM maturity</a:t>
                  </a:r>
                </a:p>
              </p:txBody>
            </p:sp>
            <p:sp>
              <p:nvSpPr>
                <p:cNvPr id="71" name="TextBox 70">
                  <a:extLst>
                    <a:ext uri="{FF2B5EF4-FFF2-40B4-BE49-F238E27FC236}">
                      <a16:creationId xmlns:a16="http://schemas.microsoft.com/office/drawing/2014/main" xmlns="" id="{C1F86F3A-8E36-423B-9988-B7B5485B653A}"/>
                    </a:ext>
                  </a:extLst>
                </p:cNvPr>
                <p:cNvSpPr txBox="1"/>
                <p:nvPr/>
              </p:nvSpPr>
              <p:spPr>
                <a:xfrm>
                  <a:off x="10465864" y="3301521"/>
                  <a:ext cx="1330996"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Group risk appetites</a:t>
                  </a:r>
                </a:p>
              </p:txBody>
            </p:sp>
            <p:sp>
              <p:nvSpPr>
                <p:cNvPr id="72" name="TextBox 71">
                  <a:extLst>
                    <a:ext uri="{FF2B5EF4-FFF2-40B4-BE49-F238E27FC236}">
                      <a16:creationId xmlns:a16="http://schemas.microsoft.com/office/drawing/2014/main" xmlns="" id="{C1F86F3A-8E36-423B-9988-B7B5485B653A}"/>
                    </a:ext>
                  </a:extLst>
                </p:cNvPr>
                <p:cNvSpPr txBox="1"/>
                <p:nvPr/>
              </p:nvSpPr>
              <p:spPr>
                <a:xfrm>
                  <a:off x="10577133" y="3044907"/>
                  <a:ext cx="1087067"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ERM maturity</a:t>
                  </a:r>
                </a:p>
              </p:txBody>
            </p:sp>
            <p:sp>
              <p:nvSpPr>
                <p:cNvPr id="73" name="TextBox 72">
                  <a:extLst>
                    <a:ext uri="{FF2B5EF4-FFF2-40B4-BE49-F238E27FC236}">
                      <a16:creationId xmlns:a16="http://schemas.microsoft.com/office/drawing/2014/main" xmlns="" id="{C1F86F3A-8E36-423B-9988-B7B5485B653A}"/>
                    </a:ext>
                  </a:extLst>
                </p:cNvPr>
                <p:cNvSpPr txBox="1"/>
                <p:nvPr/>
              </p:nvSpPr>
              <p:spPr>
                <a:xfrm>
                  <a:off x="9932908" y="4204640"/>
                  <a:ext cx="1863952"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Group risk appetites</a:t>
                  </a:r>
                </a:p>
              </p:txBody>
            </p:sp>
            <p:sp>
              <p:nvSpPr>
                <p:cNvPr id="74" name="TextBox 73">
                  <a:extLst>
                    <a:ext uri="{FF2B5EF4-FFF2-40B4-BE49-F238E27FC236}">
                      <a16:creationId xmlns:a16="http://schemas.microsoft.com/office/drawing/2014/main" xmlns="" id="{C1F86F3A-8E36-423B-9988-B7B5485B653A}"/>
                    </a:ext>
                  </a:extLst>
                </p:cNvPr>
                <p:cNvSpPr txBox="1"/>
                <p:nvPr/>
              </p:nvSpPr>
              <p:spPr>
                <a:xfrm>
                  <a:off x="10033600" y="4034535"/>
                  <a:ext cx="1087067"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ERM maturity</a:t>
                  </a:r>
                </a:p>
              </p:txBody>
            </p:sp>
            <p:sp>
              <p:nvSpPr>
                <p:cNvPr id="75" name="TextBox 74">
                  <a:extLst>
                    <a:ext uri="{FF2B5EF4-FFF2-40B4-BE49-F238E27FC236}">
                      <a16:creationId xmlns:a16="http://schemas.microsoft.com/office/drawing/2014/main" xmlns="" id="{C1F86F3A-8E36-423B-9988-B7B5485B653A}"/>
                    </a:ext>
                  </a:extLst>
                </p:cNvPr>
                <p:cNvSpPr txBox="1"/>
                <p:nvPr/>
              </p:nvSpPr>
              <p:spPr>
                <a:xfrm>
                  <a:off x="8950633" y="3190084"/>
                  <a:ext cx="1005877"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EVP rollout</a:t>
                  </a:r>
                </a:p>
              </p:txBody>
            </p:sp>
            <p:sp>
              <p:nvSpPr>
                <p:cNvPr id="76" name="Rectangle 75"/>
                <p:cNvSpPr/>
                <p:nvPr/>
              </p:nvSpPr>
              <p:spPr>
                <a:xfrm>
                  <a:off x="7291537" y="1713450"/>
                  <a:ext cx="1060311" cy="2308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chemeClr val="bg1"/>
                      </a:solidFill>
                      <a:latin typeface="Arial" panose="020B0604020202020204" pitchFamily="34" charset="0"/>
                      <a:cs typeface="Arial" panose="020B0604020202020204" pitchFamily="34" charset="0"/>
                    </a:rPr>
                    <a:t>Klipoortjie</a:t>
                  </a:r>
                  <a:endParaRPr lang="en-ZA" sz="900" b="1" kern="0" dirty="0">
                    <a:solidFill>
                      <a:schemeClr val="bg1"/>
                    </a:solidFill>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xmlns="" id="{C1F86F3A-8E36-423B-9988-B7B5485B653A}"/>
                    </a:ext>
                  </a:extLst>
                </p:cNvPr>
                <p:cNvSpPr txBox="1"/>
                <p:nvPr/>
              </p:nvSpPr>
              <p:spPr>
                <a:xfrm>
                  <a:off x="6303054" y="1402368"/>
                  <a:ext cx="1613073"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chemeClr val="bg1"/>
                      </a:solidFill>
                      <a:latin typeface="Arial" panose="020B0604020202020204" pitchFamily="34" charset="0"/>
                      <a:cs typeface="Arial" panose="020B0604020202020204" pitchFamily="34" charset="0"/>
                    </a:rPr>
                    <a:t>Phased gas pipeline </a:t>
                  </a:r>
                  <a:br>
                    <a:rPr lang="en-GB" sz="900" b="1" kern="0" dirty="0">
                      <a:solidFill>
                        <a:schemeClr val="bg1"/>
                      </a:solidFill>
                      <a:latin typeface="Arial" panose="020B0604020202020204" pitchFamily="34" charset="0"/>
                      <a:cs typeface="Arial" panose="020B0604020202020204" pitchFamily="34" charset="0"/>
                    </a:rPr>
                  </a:br>
                  <a:r>
                    <a:rPr lang="en-GB" sz="900" b="1" kern="0" dirty="0">
                      <a:solidFill>
                        <a:schemeClr val="bg1"/>
                      </a:solidFill>
                      <a:latin typeface="Arial" panose="020B0604020202020204" pitchFamily="34" charset="0"/>
                      <a:cs typeface="Arial" panose="020B0604020202020204" pitchFamily="34" charset="0"/>
                    </a:rPr>
                    <a:t>network</a:t>
                  </a:r>
                  <a:endParaRPr lang="en-ZA" sz="900" b="1" kern="0" dirty="0">
                    <a:solidFill>
                      <a:schemeClr val="bg1"/>
                    </a:solidFill>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xmlns="" id="{C1F86F3A-8E36-423B-9988-B7B5485B653A}"/>
                    </a:ext>
                  </a:extLst>
                </p:cNvPr>
                <p:cNvSpPr txBox="1"/>
                <p:nvPr/>
              </p:nvSpPr>
              <p:spPr>
                <a:xfrm>
                  <a:off x="6156336" y="1107146"/>
                  <a:ext cx="2021229"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chemeClr val="bg1"/>
                      </a:solidFill>
                      <a:latin typeface="Arial" panose="020B0604020202020204" pitchFamily="34" charset="0"/>
                      <a:cs typeface="Arial" panose="020B0604020202020204" pitchFamily="34" charset="0"/>
                    </a:rPr>
                    <a:t>Coega</a:t>
                  </a:r>
                  <a:r>
                    <a:rPr lang="en-ZA" sz="900" b="1" kern="0" dirty="0">
                      <a:solidFill>
                        <a:srgbClr val="98D8AA"/>
                      </a:solidFill>
                      <a:latin typeface="Arial" panose="020B0604020202020204" pitchFamily="34" charset="0"/>
                      <a:cs typeface="Arial" panose="020B0604020202020204" pitchFamily="34" charset="0"/>
                    </a:rPr>
                    <a:t> </a:t>
                  </a:r>
                  <a:r>
                    <a:rPr lang="en-ZA" sz="900" b="1" kern="0" dirty="0">
                      <a:solidFill>
                        <a:schemeClr val="bg1"/>
                      </a:solidFill>
                      <a:latin typeface="Arial" panose="020B0604020202020204" pitchFamily="34" charset="0"/>
                      <a:cs typeface="Arial" panose="020B0604020202020204" pitchFamily="34" charset="0"/>
                    </a:rPr>
                    <a:t>LNG terminal </a:t>
                  </a:r>
                  <a:r>
                    <a:rPr lang="en-ZA" sz="900" kern="0" dirty="0">
                      <a:solidFill>
                        <a:schemeClr val="bg1"/>
                      </a:solidFill>
                      <a:latin typeface="Arial" panose="020B0604020202020204" pitchFamily="34" charset="0"/>
                      <a:cs typeface="Arial" panose="020B0604020202020204" pitchFamily="34" charset="0"/>
                    </a:rPr>
                    <a:t>(construction)</a:t>
                  </a:r>
                </a:p>
              </p:txBody>
            </p:sp>
            <p:sp>
              <p:nvSpPr>
                <p:cNvPr id="79" name="TextBox 78">
                  <a:extLst>
                    <a:ext uri="{FF2B5EF4-FFF2-40B4-BE49-F238E27FC236}">
                      <a16:creationId xmlns:a16="http://schemas.microsoft.com/office/drawing/2014/main" xmlns="" id="{C1F86F3A-8E36-423B-9988-B7B5485B653A}"/>
                    </a:ext>
                  </a:extLst>
                </p:cNvPr>
                <p:cNvSpPr txBox="1"/>
                <p:nvPr/>
              </p:nvSpPr>
              <p:spPr>
                <a:xfrm>
                  <a:off x="9351110" y="5344494"/>
                  <a:ext cx="2473360"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Group risk appetites</a:t>
                  </a:r>
                </a:p>
              </p:txBody>
            </p:sp>
            <p:sp>
              <p:nvSpPr>
                <p:cNvPr id="80" name="TextBox 79">
                  <a:extLst>
                    <a:ext uri="{FF2B5EF4-FFF2-40B4-BE49-F238E27FC236}">
                      <a16:creationId xmlns:a16="http://schemas.microsoft.com/office/drawing/2014/main" xmlns="" id="{C1F86F3A-8E36-423B-9988-B7B5485B653A}"/>
                    </a:ext>
                  </a:extLst>
                </p:cNvPr>
                <p:cNvSpPr txBox="1"/>
                <p:nvPr/>
              </p:nvSpPr>
              <p:spPr>
                <a:xfrm>
                  <a:off x="9451802" y="5149736"/>
                  <a:ext cx="1087067"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ERM maturity</a:t>
                  </a:r>
                </a:p>
              </p:txBody>
            </p:sp>
            <p:sp>
              <p:nvSpPr>
                <p:cNvPr id="81" name="TextBox 80">
                  <a:extLst>
                    <a:ext uri="{FF2B5EF4-FFF2-40B4-BE49-F238E27FC236}">
                      <a16:creationId xmlns:a16="http://schemas.microsoft.com/office/drawing/2014/main" xmlns="" id="{C1F86F3A-8E36-423B-9988-B7B5485B653A}"/>
                    </a:ext>
                  </a:extLst>
                </p:cNvPr>
                <p:cNvSpPr txBox="1"/>
                <p:nvPr/>
              </p:nvSpPr>
              <p:spPr>
                <a:xfrm>
                  <a:off x="8212688" y="3799509"/>
                  <a:ext cx="1679180"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4IR change management</a:t>
                  </a:r>
                </a:p>
              </p:txBody>
            </p:sp>
            <p:sp>
              <p:nvSpPr>
                <p:cNvPr id="82" name="TextBox 81">
                  <a:extLst>
                    <a:ext uri="{FF2B5EF4-FFF2-40B4-BE49-F238E27FC236}">
                      <a16:creationId xmlns:a16="http://schemas.microsoft.com/office/drawing/2014/main" xmlns="" id="{C1F86F3A-8E36-423B-9988-B7B5485B653A}"/>
                    </a:ext>
                  </a:extLst>
                </p:cNvPr>
                <p:cNvSpPr txBox="1"/>
                <p:nvPr/>
              </p:nvSpPr>
              <p:spPr>
                <a:xfrm>
                  <a:off x="8003732" y="3977753"/>
                  <a:ext cx="1005877"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EVP rollout</a:t>
                  </a:r>
                </a:p>
              </p:txBody>
            </p:sp>
            <p:sp>
              <p:nvSpPr>
                <p:cNvPr id="83" name="TextBox 82">
                  <a:extLst>
                    <a:ext uri="{FF2B5EF4-FFF2-40B4-BE49-F238E27FC236}">
                      <a16:creationId xmlns:a16="http://schemas.microsoft.com/office/drawing/2014/main" xmlns="" id="{C1F86F3A-8E36-423B-9988-B7B5485B653A}"/>
                    </a:ext>
                  </a:extLst>
                </p:cNvPr>
                <p:cNvSpPr txBox="1"/>
                <p:nvPr/>
              </p:nvSpPr>
              <p:spPr>
                <a:xfrm>
                  <a:off x="7025111" y="4741239"/>
                  <a:ext cx="2140895"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Support services rationalisation</a:t>
                  </a:r>
                </a:p>
              </p:txBody>
            </p:sp>
            <p:sp>
              <p:nvSpPr>
                <p:cNvPr id="84" name="TextBox 83">
                  <a:extLst>
                    <a:ext uri="{FF2B5EF4-FFF2-40B4-BE49-F238E27FC236}">
                      <a16:creationId xmlns:a16="http://schemas.microsoft.com/office/drawing/2014/main" xmlns="" id="{C1F86F3A-8E36-423B-9988-B7B5485B653A}"/>
                    </a:ext>
                  </a:extLst>
                </p:cNvPr>
                <p:cNvSpPr txBox="1"/>
                <p:nvPr/>
              </p:nvSpPr>
              <p:spPr>
                <a:xfrm>
                  <a:off x="6535926" y="5140175"/>
                  <a:ext cx="1644755"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EVP rollout</a:t>
                  </a:r>
                </a:p>
              </p:txBody>
            </p:sp>
            <p:sp>
              <p:nvSpPr>
                <p:cNvPr id="85" name="TextBox 84">
                  <a:extLst>
                    <a:ext uri="{FF2B5EF4-FFF2-40B4-BE49-F238E27FC236}">
                      <a16:creationId xmlns:a16="http://schemas.microsoft.com/office/drawing/2014/main" xmlns="" id="{C1F86F3A-8E36-423B-9988-B7B5485B653A}"/>
                    </a:ext>
                  </a:extLst>
                </p:cNvPr>
                <p:cNvSpPr txBox="1"/>
                <p:nvPr/>
              </p:nvSpPr>
              <p:spPr>
                <a:xfrm>
                  <a:off x="7123885" y="3293006"/>
                  <a:ext cx="1444279"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System integration  </a:t>
                  </a:r>
                  <a:endParaRPr lang="en-ZA" sz="900" b="1" kern="0" dirty="0">
                    <a:solidFill>
                      <a:srgbClr val="225833"/>
                    </a:solidFill>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xmlns="" id="{C1F86F3A-8E36-423B-9988-B7B5485B653A}"/>
                    </a:ext>
                  </a:extLst>
                </p:cNvPr>
                <p:cNvSpPr txBox="1"/>
                <p:nvPr/>
              </p:nvSpPr>
              <p:spPr>
                <a:xfrm>
                  <a:off x="5901522" y="5703752"/>
                  <a:ext cx="1530826"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HR strategy</a:t>
                  </a:r>
                </a:p>
              </p:txBody>
            </p:sp>
            <p:sp>
              <p:nvSpPr>
                <p:cNvPr id="87" name="TextBox 86">
                  <a:extLst>
                    <a:ext uri="{FF2B5EF4-FFF2-40B4-BE49-F238E27FC236}">
                      <a16:creationId xmlns:a16="http://schemas.microsoft.com/office/drawing/2014/main" xmlns="" id="{C1F86F3A-8E36-423B-9988-B7B5485B653A}"/>
                    </a:ext>
                  </a:extLst>
                </p:cNvPr>
                <p:cNvSpPr txBox="1"/>
                <p:nvPr/>
              </p:nvSpPr>
              <p:spPr>
                <a:xfrm>
                  <a:off x="5817062" y="3930799"/>
                  <a:ext cx="1195050"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Group common IT platform</a:t>
                  </a:r>
                </a:p>
              </p:txBody>
            </p:sp>
            <p:sp>
              <p:nvSpPr>
                <p:cNvPr id="88" name="TextBox 87">
                  <a:extLst>
                    <a:ext uri="{FF2B5EF4-FFF2-40B4-BE49-F238E27FC236}">
                      <a16:creationId xmlns:a16="http://schemas.microsoft.com/office/drawing/2014/main" xmlns="" id="{C1F86F3A-8E36-423B-9988-B7B5485B653A}"/>
                    </a:ext>
                  </a:extLst>
                </p:cNvPr>
                <p:cNvSpPr txBox="1"/>
                <p:nvPr/>
              </p:nvSpPr>
              <p:spPr>
                <a:xfrm>
                  <a:off x="5221330" y="4227344"/>
                  <a:ext cx="2334151"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Business process re-design </a:t>
                  </a:r>
                  <a:endParaRPr lang="en-ZA" sz="900" b="1" kern="0" dirty="0">
                    <a:solidFill>
                      <a:srgbClr val="225833"/>
                    </a:solidFill>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xmlns="" id="{C1F86F3A-8E36-423B-9988-B7B5485B653A}"/>
                    </a:ext>
                  </a:extLst>
                </p:cNvPr>
                <p:cNvSpPr txBox="1"/>
                <p:nvPr/>
              </p:nvSpPr>
              <p:spPr>
                <a:xfrm>
                  <a:off x="2752612" y="5561060"/>
                  <a:ext cx="2581861"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Shared services</a:t>
                  </a:r>
                </a:p>
              </p:txBody>
            </p:sp>
            <p:sp>
              <p:nvSpPr>
                <p:cNvPr id="90" name="TextBox 89">
                  <a:extLst>
                    <a:ext uri="{FF2B5EF4-FFF2-40B4-BE49-F238E27FC236}">
                      <a16:creationId xmlns:a16="http://schemas.microsoft.com/office/drawing/2014/main" xmlns="" id="{C1F86F3A-8E36-423B-9988-B7B5485B653A}"/>
                    </a:ext>
                  </a:extLst>
                </p:cNvPr>
                <p:cNvSpPr txBox="1"/>
                <p:nvPr/>
              </p:nvSpPr>
              <p:spPr>
                <a:xfrm>
                  <a:off x="2309776" y="5775925"/>
                  <a:ext cx="2948978"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System automation </a:t>
                  </a:r>
                  <a:r>
                    <a:rPr lang="en-ZA" sz="900" kern="0" dirty="0">
                      <a:solidFill>
                        <a:srgbClr val="1A4226"/>
                      </a:solidFill>
                      <a:latin typeface="Arial" panose="020B0604020202020204" pitchFamily="34" charset="0"/>
                      <a:cs typeface="Arial" panose="020B0604020202020204" pitchFamily="34" charset="0"/>
                    </a:rPr>
                    <a:t>(</a:t>
                  </a:r>
                  <a:r>
                    <a:rPr lang="en-US" sz="900" kern="0" dirty="0">
                      <a:solidFill>
                        <a:srgbClr val="1A4226"/>
                      </a:solidFill>
                      <a:latin typeface="Arial" panose="020B0604020202020204" pitchFamily="34" charset="0"/>
                      <a:cs typeface="Arial" panose="020B0604020202020204" pitchFamily="34" charset="0"/>
                    </a:rPr>
                    <a:t>reporting and performance management)</a:t>
                  </a:r>
                </a:p>
              </p:txBody>
            </p:sp>
            <p:sp>
              <p:nvSpPr>
                <p:cNvPr id="91" name="TextBox 90">
                  <a:extLst>
                    <a:ext uri="{FF2B5EF4-FFF2-40B4-BE49-F238E27FC236}">
                      <a16:creationId xmlns:a16="http://schemas.microsoft.com/office/drawing/2014/main" xmlns="" id="{C1F86F3A-8E36-423B-9988-B7B5485B653A}"/>
                    </a:ext>
                  </a:extLst>
                </p:cNvPr>
                <p:cNvSpPr txBox="1"/>
                <p:nvPr/>
              </p:nvSpPr>
              <p:spPr>
                <a:xfrm>
                  <a:off x="8883331" y="6143867"/>
                  <a:ext cx="2026185"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Group risk appetites</a:t>
                  </a:r>
                </a:p>
              </p:txBody>
            </p:sp>
            <p:sp>
              <p:nvSpPr>
                <p:cNvPr id="92" name="Rectangle 91"/>
                <p:cNvSpPr/>
                <p:nvPr/>
              </p:nvSpPr>
              <p:spPr>
                <a:xfrm>
                  <a:off x="2419368" y="2498190"/>
                  <a:ext cx="2641391" cy="2308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Obtain PPA to secure gas to power supply</a:t>
                  </a:r>
                  <a:r>
                    <a:rPr lang="en-GB" sz="900" kern="0" dirty="0">
                      <a:solidFill>
                        <a:srgbClr val="225833"/>
                      </a:solidFill>
                      <a:latin typeface="Arial" panose="020B0604020202020204" pitchFamily="34" charset="0"/>
                      <a:cs typeface="Arial" panose="020B0604020202020204" pitchFamily="34" charset="0"/>
                    </a:rPr>
                    <a:t>)</a:t>
                  </a:r>
                </a:p>
              </p:txBody>
            </p:sp>
            <p:sp>
              <p:nvSpPr>
                <p:cNvPr id="93" name="Rectangle 92"/>
                <p:cNvSpPr/>
                <p:nvPr/>
              </p:nvSpPr>
              <p:spPr>
                <a:xfrm>
                  <a:off x="2886150" y="3179575"/>
                  <a:ext cx="2325534" cy="3693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rgbClr val="225833"/>
                      </a:solidFill>
                      <a:latin typeface="Arial" panose="020B0604020202020204" pitchFamily="34" charset="0"/>
                      <a:cs typeface="Arial" panose="020B0604020202020204" pitchFamily="34" charset="0"/>
                    </a:rPr>
                    <a:t>Vlakfontein mine </a:t>
                  </a:r>
                  <a:br>
                    <a:rPr lang="en-GB" sz="900" b="1" kern="0" dirty="0">
                      <a:solidFill>
                        <a:srgbClr val="225833"/>
                      </a:solidFill>
                      <a:latin typeface="Arial" panose="020B0604020202020204" pitchFamily="34" charset="0"/>
                      <a:cs typeface="Arial" panose="020B0604020202020204" pitchFamily="34" charset="0"/>
                    </a:rPr>
                  </a:br>
                  <a:r>
                    <a:rPr lang="en-GB" sz="900" b="1" kern="0" dirty="0">
                      <a:solidFill>
                        <a:srgbClr val="225833"/>
                      </a:solidFill>
                      <a:latin typeface="Arial" panose="020B0604020202020204" pitchFamily="34" charset="0"/>
                      <a:cs typeface="Arial" panose="020B0604020202020204" pitchFamily="34" charset="0"/>
                    </a:rPr>
                    <a:t>extension</a:t>
                  </a:r>
                </a:p>
              </p:txBody>
            </p:sp>
            <p:sp>
              <p:nvSpPr>
                <p:cNvPr id="94" name="TextBox 93">
                  <a:extLst>
                    <a:ext uri="{FF2B5EF4-FFF2-40B4-BE49-F238E27FC236}">
                      <a16:creationId xmlns:a16="http://schemas.microsoft.com/office/drawing/2014/main" xmlns="" id="{C1F86F3A-8E36-423B-9988-B7B5485B653A}"/>
                    </a:ext>
                  </a:extLst>
                </p:cNvPr>
                <p:cNvSpPr txBox="1"/>
                <p:nvPr/>
              </p:nvSpPr>
              <p:spPr>
                <a:xfrm>
                  <a:off x="2110793" y="1803647"/>
                  <a:ext cx="2762250"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rgbClr val="225833"/>
                      </a:solidFill>
                      <a:latin typeface="Arial" panose="020B0604020202020204" pitchFamily="34" charset="0"/>
                      <a:cs typeface="Arial" panose="020B0604020202020204" pitchFamily="34" charset="0"/>
                    </a:rPr>
                    <a:t>Extended Continental Shelf Claim Project</a:t>
                  </a:r>
                  <a:endParaRPr lang="en-ZA" sz="900" b="1" kern="0" dirty="0">
                    <a:solidFill>
                      <a:srgbClr val="225833"/>
                    </a:solidFill>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xmlns="" id="{C1F86F3A-8E36-423B-9988-B7B5485B653A}"/>
                    </a:ext>
                  </a:extLst>
                </p:cNvPr>
                <p:cNvSpPr txBox="1"/>
                <p:nvPr/>
              </p:nvSpPr>
              <p:spPr>
                <a:xfrm>
                  <a:off x="1915718" y="1083616"/>
                  <a:ext cx="2185720" cy="230832"/>
                </a:xfrm>
                <a:prstGeom prst="rect">
                  <a:avLst/>
                </a:prstGeom>
                <a:noFill/>
                <a:ln>
                  <a:noFill/>
                </a:ln>
              </p:spPr>
              <p:txBody>
                <a:bodyPr wrap="square" numCol="1" rtlCol="0">
                  <a:spAutoFit/>
                </a:bodyPr>
                <a:lstStyle/>
                <a:p>
                  <a:pPr marL="93663" indent="-93663"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BP Cape Town Terminal</a:t>
                  </a:r>
                  <a:endParaRPr lang="en-ZA" sz="900" b="1" kern="0" dirty="0">
                    <a:solidFill>
                      <a:srgbClr val="225833"/>
                    </a:solidFill>
                    <a:latin typeface="Arial" panose="020B0604020202020204" pitchFamily="34" charset="0"/>
                    <a:cs typeface="Arial" panose="020B0604020202020204" pitchFamily="34" charset="0"/>
                  </a:endParaRPr>
                </a:p>
              </p:txBody>
            </p:sp>
            <p:sp>
              <p:nvSpPr>
                <p:cNvPr id="96" name="TextBox 95">
                  <a:extLst>
                    <a:ext uri="{FF2B5EF4-FFF2-40B4-BE49-F238E27FC236}">
                      <a16:creationId xmlns:a16="http://schemas.microsoft.com/office/drawing/2014/main" xmlns="" id="{C1F86F3A-8E36-423B-9988-B7B5485B653A}"/>
                    </a:ext>
                  </a:extLst>
                </p:cNvPr>
                <p:cNvSpPr txBox="1"/>
                <p:nvPr/>
              </p:nvSpPr>
              <p:spPr>
                <a:xfrm>
                  <a:off x="1955172" y="1260577"/>
                  <a:ext cx="2525716"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Coega LNG terminal </a:t>
                  </a:r>
                  <a:r>
                    <a:rPr lang="en-ZA" sz="900" kern="0" dirty="0">
                      <a:solidFill>
                        <a:srgbClr val="225833"/>
                      </a:solidFill>
                      <a:latin typeface="Arial" panose="020B0604020202020204" pitchFamily="34" charset="0"/>
                      <a:cs typeface="Arial" panose="020B0604020202020204" pitchFamily="34" charset="0"/>
                    </a:rPr>
                    <a:t>(feasibility)</a:t>
                  </a:r>
                </a:p>
              </p:txBody>
            </p:sp>
            <p:sp>
              <p:nvSpPr>
                <p:cNvPr id="97" name="TextBox 96">
                  <a:extLst>
                    <a:ext uri="{FF2B5EF4-FFF2-40B4-BE49-F238E27FC236}">
                      <a16:creationId xmlns:a16="http://schemas.microsoft.com/office/drawing/2014/main" xmlns="" id="{C1F86F3A-8E36-423B-9988-B7B5485B653A}"/>
                    </a:ext>
                  </a:extLst>
                </p:cNvPr>
                <p:cNvSpPr txBox="1"/>
                <p:nvPr/>
              </p:nvSpPr>
              <p:spPr>
                <a:xfrm>
                  <a:off x="1999024" y="1439438"/>
                  <a:ext cx="2491570"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rgbClr val="225833"/>
                      </a:solidFill>
                      <a:latin typeface="Arial" panose="020B0604020202020204" pitchFamily="34" charset="0"/>
                      <a:cs typeface="Arial" panose="020B0604020202020204" pitchFamily="34" charset="0"/>
                    </a:rPr>
                    <a:t>Gas trading JV with ENH of Mozambique</a:t>
                  </a:r>
                </a:p>
              </p:txBody>
            </p:sp>
            <p:sp>
              <p:nvSpPr>
                <p:cNvPr id="98" name="TextBox 97">
                  <a:extLst>
                    <a:ext uri="{FF2B5EF4-FFF2-40B4-BE49-F238E27FC236}">
                      <a16:creationId xmlns:a16="http://schemas.microsoft.com/office/drawing/2014/main" xmlns="" id="{C1F86F3A-8E36-423B-9988-B7B5485B653A}"/>
                    </a:ext>
                  </a:extLst>
                </p:cNvPr>
                <p:cNvSpPr txBox="1"/>
                <p:nvPr/>
              </p:nvSpPr>
              <p:spPr>
                <a:xfrm>
                  <a:off x="2053511" y="1622958"/>
                  <a:ext cx="2557941"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GB" sz="900" b="1" kern="0" dirty="0">
                      <a:solidFill>
                        <a:srgbClr val="225833"/>
                      </a:solidFill>
                      <a:latin typeface="Arial" panose="020B0604020202020204" pitchFamily="34" charset="0"/>
                      <a:cs typeface="Arial" panose="020B0604020202020204" pitchFamily="34" charset="0"/>
                    </a:rPr>
                    <a:t>LPG storage &amp; pipelines </a:t>
                  </a:r>
                  <a:r>
                    <a:rPr lang="en-GB" sz="900" kern="0" dirty="0">
                      <a:solidFill>
                        <a:srgbClr val="225833"/>
                      </a:solidFill>
                      <a:latin typeface="Arial" panose="020B0604020202020204" pitchFamily="34" charset="0"/>
                      <a:cs typeface="Arial" panose="020B0604020202020204" pitchFamily="34" charset="0"/>
                    </a:rPr>
                    <a:t>(acquisition)</a:t>
                  </a:r>
                </a:p>
              </p:txBody>
            </p:sp>
            <p:sp>
              <p:nvSpPr>
                <p:cNvPr id="99" name="TextBox 98">
                  <a:extLst>
                    <a:ext uri="{FF2B5EF4-FFF2-40B4-BE49-F238E27FC236}">
                      <a16:creationId xmlns:a16="http://schemas.microsoft.com/office/drawing/2014/main" xmlns="" id="{C1F86F3A-8E36-423B-9988-B7B5485B653A}"/>
                    </a:ext>
                  </a:extLst>
                </p:cNvPr>
                <p:cNvSpPr txBox="1"/>
                <p:nvPr/>
              </p:nvSpPr>
              <p:spPr>
                <a:xfrm>
                  <a:off x="718850" y="1961244"/>
                  <a:ext cx="1403517"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Energy Storage and Hydrogen Economy</a:t>
                  </a:r>
                </a:p>
              </p:txBody>
            </p:sp>
          </p:grpSp>
          <p:sp>
            <p:nvSpPr>
              <p:cNvPr id="14" name="Rectangle 13"/>
              <p:cNvSpPr/>
              <p:nvPr/>
            </p:nvSpPr>
            <p:spPr>
              <a:xfrm>
                <a:off x="866775" y="3364360"/>
                <a:ext cx="2104216" cy="661720"/>
              </a:xfrm>
              <a:prstGeom prst="rect">
                <a:avLst/>
              </a:prstGeom>
            </p:spPr>
            <p:txBody>
              <a:bodyPr wrap="square">
                <a:spAutoFit/>
              </a:bodyPr>
              <a:lstStyle/>
              <a:p>
                <a:pPr marL="92075" lvl="0" indent="-92075" fontAlgn="auto" hangingPunct="0">
                  <a:spcBef>
                    <a:spcPts val="600"/>
                  </a:spcBef>
                  <a:spcAft>
                    <a:spcPts val="0"/>
                  </a:spcAft>
                  <a:buClr>
                    <a:srgbClr val="EA410C"/>
                  </a:buClr>
                  <a:buFont typeface="Arial" panose="020B0604020202020204" pitchFamily="34" charset="0"/>
                  <a:buChar char="•"/>
                  <a:defRPr/>
                </a:pPr>
                <a:r>
                  <a:rPr lang="en-US" sz="900" b="1" kern="0" dirty="0">
                    <a:solidFill>
                      <a:srgbClr val="1A4226"/>
                    </a:solidFill>
                    <a:latin typeface="Arial" panose="020B0604020202020204" pitchFamily="34" charset="0"/>
                    <a:cs typeface="Arial" panose="020B0604020202020204" pitchFamily="34" charset="0"/>
                    <a:sym typeface="Century Gothic"/>
                  </a:rPr>
                  <a:t>Strategic partnerships</a:t>
                </a:r>
              </a:p>
              <a:p>
                <a:pPr marL="92075" lvl="0" indent="-92075" fontAlgn="auto" hangingPunct="0">
                  <a:spcBef>
                    <a:spcPts val="600"/>
                  </a:spcBef>
                  <a:spcAft>
                    <a:spcPts val="0"/>
                  </a:spcAft>
                  <a:buClr>
                    <a:srgbClr val="EA410C"/>
                  </a:buClr>
                  <a:buFont typeface="Arial" panose="020B0604020202020204" pitchFamily="34" charset="0"/>
                  <a:buChar char="•"/>
                  <a:defRPr/>
                </a:pPr>
                <a:r>
                  <a:rPr lang="en-US" sz="900" b="1" kern="0" dirty="0">
                    <a:solidFill>
                      <a:srgbClr val="1A4226"/>
                    </a:solidFill>
                    <a:latin typeface="Arial" panose="020B0604020202020204" pitchFamily="34" charset="0"/>
                    <a:cs typeface="Arial" panose="020B0604020202020204" pitchFamily="34" charset="0"/>
                    <a:sym typeface="Century Gothic"/>
                  </a:rPr>
                  <a:t>Diversify short-term investments</a:t>
                </a:r>
              </a:p>
              <a:p>
                <a:pPr marL="92075" lvl="0" indent="-92075" fontAlgn="auto" hangingPunct="0">
                  <a:spcBef>
                    <a:spcPts val="600"/>
                  </a:spcBef>
                  <a:spcAft>
                    <a:spcPts val="0"/>
                  </a:spcAft>
                  <a:buClr>
                    <a:srgbClr val="EA410C"/>
                  </a:buClr>
                  <a:buFont typeface="Arial" panose="020B0604020202020204" pitchFamily="34" charset="0"/>
                  <a:buChar char="•"/>
                  <a:defRPr/>
                </a:pPr>
                <a:r>
                  <a:rPr lang="en-US" sz="900" b="1" kern="0" dirty="0">
                    <a:solidFill>
                      <a:srgbClr val="1A4226"/>
                    </a:solidFill>
                    <a:latin typeface="Arial" panose="020B0604020202020204" pitchFamily="34" charset="0"/>
                    <a:cs typeface="Arial" panose="020B0604020202020204" pitchFamily="34" charset="0"/>
                    <a:sym typeface="Century Gothic"/>
                  </a:rPr>
                  <a:t>Portfolio management </a:t>
                </a:r>
              </a:p>
            </p:txBody>
          </p:sp>
          <p:sp>
            <p:nvSpPr>
              <p:cNvPr id="15" name="Rectangle 14"/>
              <p:cNvSpPr/>
              <p:nvPr/>
            </p:nvSpPr>
            <p:spPr>
              <a:xfrm>
                <a:off x="3278562" y="2491104"/>
                <a:ext cx="1330418" cy="2308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Cost optimisation</a:t>
                </a:r>
                <a:endParaRPr lang="en-GB" sz="900" b="1" kern="0" dirty="0">
                  <a:solidFill>
                    <a:srgbClr val="225833"/>
                  </a:solidFill>
                  <a:latin typeface="Arial" panose="020B0604020202020204" pitchFamily="34" charset="0"/>
                  <a:cs typeface="Arial" panose="020B0604020202020204" pitchFamily="34" charset="0"/>
                </a:endParaRPr>
              </a:p>
            </p:txBody>
          </p:sp>
          <p:sp>
            <p:nvSpPr>
              <p:cNvPr id="16" name="Rectangle 15"/>
              <p:cNvSpPr/>
              <p:nvPr/>
            </p:nvSpPr>
            <p:spPr>
              <a:xfrm>
                <a:off x="2858701" y="3159454"/>
                <a:ext cx="1880419" cy="2308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Major contract re-evaluation</a:t>
                </a:r>
                <a:endParaRPr lang="en-GB" sz="900" b="1" kern="0" dirty="0">
                  <a:solidFill>
                    <a:srgbClr val="225833"/>
                  </a:solidFill>
                  <a:latin typeface="Arial" panose="020B0604020202020204" pitchFamily="34" charset="0"/>
                  <a:cs typeface="Arial" panose="020B0604020202020204" pitchFamily="34" charset="0"/>
                </a:endParaRPr>
              </a:p>
            </p:txBody>
          </p:sp>
          <p:sp>
            <p:nvSpPr>
              <p:cNvPr id="17" name="Rectangle 16"/>
              <p:cNvSpPr/>
              <p:nvPr/>
            </p:nvSpPr>
            <p:spPr>
              <a:xfrm>
                <a:off x="2279764" y="2134032"/>
                <a:ext cx="2325534" cy="2308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Petroleum downstream entry</a:t>
                </a:r>
                <a:endParaRPr lang="en-GB" sz="900" b="1" kern="0" dirty="0">
                  <a:solidFill>
                    <a:srgbClr val="225833"/>
                  </a:solidFill>
                  <a:latin typeface="Arial" panose="020B0604020202020204" pitchFamily="34" charset="0"/>
                  <a:cs typeface="Arial" panose="020B0604020202020204" pitchFamily="34" charset="0"/>
                </a:endParaRPr>
              </a:p>
            </p:txBody>
          </p:sp>
          <p:sp>
            <p:nvSpPr>
              <p:cNvPr id="18" name="Rectangle 17"/>
              <p:cNvSpPr/>
              <p:nvPr/>
            </p:nvSpPr>
            <p:spPr>
              <a:xfrm>
                <a:off x="2345135" y="2289128"/>
                <a:ext cx="795190" cy="230832"/>
              </a:xfrm>
              <a:prstGeom prst="rect">
                <a:avLst/>
              </a:prstGeom>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225833"/>
                    </a:solidFill>
                    <a:latin typeface="Arial" panose="020B0604020202020204" pitchFamily="34" charset="0"/>
                    <a:cs typeface="Arial" panose="020B0604020202020204" pitchFamily="34" charset="0"/>
                  </a:rPr>
                  <a:t>ACWA</a:t>
                </a:r>
                <a:endParaRPr lang="en-GB" sz="900" b="1" kern="0" dirty="0">
                  <a:solidFill>
                    <a:srgbClr val="225833"/>
                  </a:solidFill>
                  <a:latin typeface="Arial" panose="020B0604020202020204" pitchFamily="34" charset="0"/>
                  <a:cs typeface="Arial" panose="020B0604020202020204" pitchFamily="34" charset="0"/>
                </a:endParaRPr>
              </a:p>
            </p:txBody>
          </p:sp>
        </p:grpSp>
        <p:sp>
          <p:nvSpPr>
            <p:cNvPr id="7" name="TextBox 6">
              <a:extLst>
                <a:ext uri="{FF2B5EF4-FFF2-40B4-BE49-F238E27FC236}">
                  <a16:creationId xmlns:a16="http://schemas.microsoft.com/office/drawing/2014/main" xmlns="" id="{C1F86F3A-8E36-423B-9988-B7B5485B653A}"/>
                </a:ext>
              </a:extLst>
            </p:cNvPr>
            <p:cNvSpPr txBox="1"/>
            <p:nvPr/>
          </p:nvSpPr>
          <p:spPr>
            <a:xfrm>
              <a:off x="5393243" y="4866731"/>
              <a:ext cx="1513618"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Digital transformation</a:t>
              </a:r>
            </a:p>
          </p:txBody>
        </p:sp>
        <p:sp>
          <p:nvSpPr>
            <p:cNvPr id="8" name="TextBox 7">
              <a:extLst>
                <a:ext uri="{FF2B5EF4-FFF2-40B4-BE49-F238E27FC236}">
                  <a16:creationId xmlns:a16="http://schemas.microsoft.com/office/drawing/2014/main" xmlns="" id="{C1F86F3A-8E36-423B-9988-B7B5485B653A}"/>
                </a:ext>
              </a:extLst>
            </p:cNvPr>
            <p:cNvSpPr txBox="1"/>
            <p:nvPr/>
          </p:nvSpPr>
          <p:spPr>
            <a:xfrm>
              <a:off x="6655583" y="3704970"/>
              <a:ext cx="1513618"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rgbClr val="225833"/>
                  </a:solidFill>
                  <a:latin typeface="Arial" panose="020B0604020202020204" pitchFamily="34" charset="0"/>
                  <a:cs typeface="Arial" panose="020B0604020202020204" pitchFamily="34" charset="0"/>
                </a:rPr>
                <a:t>Digital transformation</a:t>
              </a:r>
            </a:p>
          </p:txBody>
        </p:sp>
        <p:sp>
          <p:nvSpPr>
            <p:cNvPr id="9" name="TextBox 8">
              <a:extLst>
                <a:ext uri="{FF2B5EF4-FFF2-40B4-BE49-F238E27FC236}">
                  <a16:creationId xmlns:a16="http://schemas.microsoft.com/office/drawing/2014/main" xmlns="" id="{C1F86F3A-8E36-423B-9988-B7B5485B653A}"/>
                </a:ext>
              </a:extLst>
            </p:cNvPr>
            <p:cNvSpPr txBox="1"/>
            <p:nvPr/>
          </p:nvSpPr>
          <p:spPr>
            <a:xfrm>
              <a:off x="8270811" y="2876941"/>
              <a:ext cx="1106349" cy="3693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chemeClr val="bg1"/>
                  </a:solidFill>
                  <a:latin typeface="Arial" panose="020B0604020202020204" pitchFamily="34" charset="0"/>
                  <a:cs typeface="Arial" panose="020B0604020202020204" pitchFamily="34" charset="0"/>
                </a:rPr>
                <a:t>Digital </a:t>
              </a:r>
              <a:br>
                <a:rPr lang="en-US" sz="900" b="1" kern="0" dirty="0">
                  <a:solidFill>
                    <a:schemeClr val="bg1"/>
                  </a:solidFill>
                  <a:latin typeface="Arial" panose="020B0604020202020204" pitchFamily="34" charset="0"/>
                  <a:cs typeface="Arial" panose="020B0604020202020204" pitchFamily="34" charset="0"/>
                </a:rPr>
              </a:br>
              <a:r>
                <a:rPr lang="en-US" sz="900" b="1" kern="0" dirty="0">
                  <a:solidFill>
                    <a:schemeClr val="bg1"/>
                  </a:solidFill>
                  <a:latin typeface="Arial" panose="020B0604020202020204" pitchFamily="34" charset="0"/>
                  <a:cs typeface="Arial" panose="020B0604020202020204" pitchFamily="34" charset="0"/>
                </a:rPr>
                <a:t>transformation</a:t>
              </a:r>
            </a:p>
          </p:txBody>
        </p:sp>
        <p:sp>
          <p:nvSpPr>
            <p:cNvPr id="10" name="TextBox 9">
              <a:extLst>
                <a:ext uri="{FF2B5EF4-FFF2-40B4-BE49-F238E27FC236}">
                  <a16:creationId xmlns:a16="http://schemas.microsoft.com/office/drawing/2014/main" xmlns="" id="{C1F86F3A-8E36-423B-9988-B7B5485B653A}"/>
                </a:ext>
              </a:extLst>
            </p:cNvPr>
            <p:cNvSpPr txBox="1"/>
            <p:nvPr/>
          </p:nvSpPr>
          <p:spPr>
            <a:xfrm rot="19587329">
              <a:off x="9628724" y="1842794"/>
              <a:ext cx="1678389"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chemeClr val="bg1"/>
                  </a:solidFill>
                  <a:latin typeface="Arial" panose="020B0604020202020204" pitchFamily="34" charset="0"/>
                  <a:cs typeface="Arial" panose="020B0604020202020204" pitchFamily="34" charset="0"/>
                </a:rPr>
                <a:t>Digital transformation</a:t>
              </a:r>
            </a:p>
          </p:txBody>
        </p:sp>
        <p:sp>
          <p:nvSpPr>
            <p:cNvPr id="11" name="TextBox 10">
              <a:extLst>
                <a:ext uri="{FF2B5EF4-FFF2-40B4-BE49-F238E27FC236}">
                  <a16:creationId xmlns:a16="http://schemas.microsoft.com/office/drawing/2014/main" xmlns="" id="{C1F86F3A-8E36-423B-9988-B7B5485B653A}"/>
                </a:ext>
              </a:extLst>
            </p:cNvPr>
            <p:cNvSpPr txBox="1"/>
            <p:nvPr/>
          </p:nvSpPr>
          <p:spPr>
            <a:xfrm>
              <a:off x="3970522" y="5146247"/>
              <a:ext cx="1971832" cy="369332"/>
            </a:xfrm>
            <a:prstGeom prst="rect">
              <a:avLst/>
            </a:prstGeom>
            <a:noFill/>
            <a:ln>
              <a:noFill/>
            </a:ln>
          </p:spPr>
          <p:txBody>
            <a:bodyPr wrap="square" numCol="1" rtlCol="0">
              <a:spAutoFit/>
            </a:bodyPr>
            <a:lstStyle/>
            <a:p>
              <a:pPr marL="92075" lvl="0"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Define “TO BE” enterprise </a:t>
              </a:r>
              <a:br>
                <a:rPr lang="en-ZA" sz="900" b="1" kern="0" dirty="0">
                  <a:solidFill>
                    <a:srgbClr val="1A4226"/>
                  </a:solidFill>
                  <a:latin typeface="Arial" panose="020B0604020202020204" pitchFamily="34" charset="0"/>
                  <a:cs typeface="Arial" panose="020B0604020202020204" pitchFamily="34" charset="0"/>
                </a:rPr>
              </a:br>
              <a:r>
                <a:rPr lang="en-ZA" sz="900" b="1" kern="0" dirty="0">
                  <a:solidFill>
                    <a:srgbClr val="1A4226"/>
                  </a:solidFill>
                  <a:latin typeface="Arial" panose="020B0604020202020204" pitchFamily="34" charset="0"/>
                  <a:cs typeface="Arial" panose="020B0604020202020204" pitchFamily="34" charset="0"/>
                </a:rPr>
                <a:t>and IT architecture</a:t>
              </a:r>
            </a:p>
          </p:txBody>
        </p:sp>
        <p:sp>
          <p:nvSpPr>
            <p:cNvPr id="12" name="TextBox 11">
              <a:extLst>
                <a:ext uri="{FF2B5EF4-FFF2-40B4-BE49-F238E27FC236}">
                  <a16:creationId xmlns:a16="http://schemas.microsoft.com/office/drawing/2014/main" xmlns="" id="{C1F86F3A-8E36-423B-9988-B7B5485B653A}"/>
                </a:ext>
              </a:extLst>
            </p:cNvPr>
            <p:cNvSpPr txBox="1"/>
            <p:nvPr/>
          </p:nvSpPr>
          <p:spPr>
            <a:xfrm>
              <a:off x="3360852" y="5502186"/>
              <a:ext cx="2945644" cy="230832"/>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Commence Common IT Platform implementation</a:t>
              </a:r>
            </a:p>
          </p:txBody>
        </p:sp>
      </p:grpSp>
      <p:sp>
        <p:nvSpPr>
          <p:cNvPr id="100" name="Rectangle 99"/>
          <p:cNvSpPr/>
          <p:nvPr/>
        </p:nvSpPr>
        <p:spPr>
          <a:xfrm>
            <a:off x="5335938" y="2160077"/>
            <a:ext cx="1545771" cy="507831"/>
          </a:xfrm>
          <a:prstGeom prst="rect">
            <a:avLst/>
          </a:prstGeom>
        </p:spPr>
        <p:txBody>
          <a:bodyPr wrap="square">
            <a:spAutoFit/>
          </a:bodyPr>
          <a:lstStyle/>
          <a:p>
            <a:pPr marL="90488" indent="-90488">
              <a:buClr>
                <a:srgbClr val="E96E09"/>
              </a:buClr>
              <a:buFont typeface="Arial" panose="020B0604020202020204" pitchFamily="34" charset="0"/>
              <a:buChar char="•"/>
            </a:pPr>
            <a:r>
              <a:rPr lang="en-US" sz="900" dirty="0"/>
              <a:t>Stop </a:t>
            </a:r>
            <a:r>
              <a:rPr lang="en-US" sz="900" b="1" i="1" dirty="0"/>
              <a:t>FA operations</a:t>
            </a:r>
            <a:r>
              <a:rPr lang="en-US" sz="900" dirty="0"/>
              <a:t>, subject to no gas sales and no gas to power</a:t>
            </a:r>
          </a:p>
        </p:txBody>
      </p:sp>
      <p:sp>
        <p:nvSpPr>
          <p:cNvPr id="101" name="TextBox 100">
            <a:extLst>
              <a:ext uri="{FF2B5EF4-FFF2-40B4-BE49-F238E27FC236}">
                <a16:creationId xmlns:a16="http://schemas.microsoft.com/office/drawing/2014/main" xmlns="" id="{C1F86F3A-8E36-423B-9988-B7B5485B653A}"/>
              </a:ext>
            </a:extLst>
          </p:cNvPr>
          <p:cNvSpPr txBox="1"/>
          <p:nvPr/>
        </p:nvSpPr>
        <p:spPr>
          <a:xfrm>
            <a:off x="914860" y="1133422"/>
            <a:ext cx="1203771" cy="507831"/>
          </a:xfrm>
          <a:prstGeom prst="rect">
            <a:avLst/>
          </a:prstGeom>
          <a:noFill/>
          <a:ln>
            <a:noFill/>
          </a:ln>
        </p:spPr>
        <p:txBody>
          <a:bodyPr wrap="square" numCol="1" rtlCol="0">
            <a:spAutoFit/>
          </a:bodyPr>
          <a:lstStyle/>
          <a:p>
            <a:pPr marL="92075" indent="-92075" fontAlgn="auto">
              <a:spcBef>
                <a:spcPts val="0"/>
              </a:spcBef>
              <a:spcAft>
                <a:spcPts val="0"/>
              </a:spcAft>
              <a:buClr>
                <a:srgbClr val="EA410C"/>
              </a:buClr>
              <a:buFont typeface="Arial" panose="020B0604020202020204" pitchFamily="34" charset="0"/>
              <a:buChar char="•"/>
              <a:defRPr/>
            </a:pPr>
            <a:r>
              <a:rPr lang="en-ZA" sz="900" b="1" kern="0" dirty="0">
                <a:solidFill>
                  <a:srgbClr val="1A4226"/>
                </a:solidFill>
                <a:latin typeface="Arial" panose="020B0604020202020204" pitchFamily="34" charset="0"/>
                <a:cs typeface="Arial" panose="020B0604020202020204" pitchFamily="34" charset="0"/>
              </a:rPr>
              <a:t>Group acquisition &amp; Growth strategy</a:t>
            </a:r>
          </a:p>
        </p:txBody>
      </p:sp>
      <p:sp>
        <p:nvSpPr>
          <p:cNvPr id="102" name="TextBox 101">
            <a:extLst>
              <a:ext uri="{FF2B5EF4-FFF2-40B4-BE49-F238E27FC236}">
                <a16:creationId xmlns:a16="http://schemas.microsoft.com/office/drawing/2014/main" xmlns="" id="{EE099FE7-E227-4121-ABC6-7C014BAC12AD}"/>
              </a:ext>
            </a:extLst>
          </p:cNvPr>
          <p:cNvSpPr txBox="1"/>
          <p:nvPr/>
        </p:nvSpPr>
        <p:spPr>
          <a:xfrm>
            <a:off x="7552830" y="2374171"/>
            <a:ext cx="1677101" cy="507831"/>
          </a:xfrm>
          <a:prstGeom prst="rect">
            <a:avLst/>
          </a:prstGeom>
          <a:noFill/>
        </p:spPr>
        <p:txBody>
          <a:bodyPr wrap="square">
            <a:spAutoFit/>
          </a:bodyPr>
          <a:lstStyle/>
          <a:p>
            <a:pPr marL="92075" indent="-92075" fontAlgn="auto">
              <a:spcBef>
                <a:spcPts val="0"/>
              </a:spcBef>
              <a:spcAft>
                <a:spcPts val="0"/>
              </a:spcAft>
              <a:buClr>
                <a:srgbClr val="EA410C"/>
              </a:buClr>
              <a:buFont typeface="Arial" panose="020B0604020202020204" pitchFamily="34" charset="0"/>
              <a:buChar char="•"/>
              <a:defRPr/>
            </a:pPr>
            <a:r>
              <a:rPr lang="en-US" sz="900" b="1" kern="0" dirty="0">
                <a:solidFill>
                  <a:schemeClr val="bg1"/>
                </a:solidFill>
                <a:latin typeface="Arial" panose="020B0604020202020204" pitchFamily="34" charset="0"/>
                <a:cs typeface="Arial" panose="020B0604020202020204" pitchFamily="34" charset="0"/>
              </a:rPr>
              <a:t>Increase Finished Products Imports from 10% to 60%</a:t>
            </a:r>
            <a:endParaRPr lang="en-ZA" sz="900" b="1" kern="0" dirty="0">
              <a:solidFill>
                <a:schemeClr val="bg1"/>
              </a:solidFill>
              <a:latin typeface="Arial" panose="020B0604020202020204" pitchFamily="34" charset="0"/>
              <a:cs typeface="Arial" panose="020B0604020202020204" pitchFamily="34" charset="0"/>
            </a:endParaRPr>
          </a:p>
        </p:txBody>
      </p:sp>
      <p:sp>
        <p:nvSpPr>
          <p:cNvPr id="104" name="Slide Number Placeholder 1"/>
          <p:cNvSpPr>
            <a:spLocks noGrp="1"/>
          </p:cNvSpPr>
          <p:nvPr>
            <p:ph type="sldNum" sz="quarter" idx="4"/>
          </p:nvPr>
        </p:nvSpPr>
        <p:spPr>
          <a:xfrm>
            <a:off x="9793297" y="0"/>
            <a:ext cx="2844800" cy="327030"/>
          </a:xfrm>
        </p:spPr>
        <p:txBody>
          <a:bodyPr/>
          <a:lstStyle/>
          <a:p>
            <a:fld id="{F667033A-4247-4ED4-8A21-2B1E2D674746}" type="slidenum">
              <a:rPr lang="en-ZA" smtClean="0"/>
              <a:pPr/>
              <a:t>21</a:t>
            </a:fld>
            <a:endParaRPr lang="en-ZA"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95" y="1"/>
            <a:ext cx="12638531" cy="6857999"/>
          </a:xfrm>
          <a:prstGeom prst="rect">
            <a:avLst/>
          </a:prstGeom>
          <a:blipFill>
            <a:blip r:embed="rId3" cstate="print"/>
            <a:stretch>
              <a:fillRect/>
            </a:stretch>
          </a:blipFill>
        </p:spPr>
        <p:txBody>
          <a:bodyPr wrap="square" lIns="0" tIns="0" rIns="0" bIns="0" rtlCol="0"/>
          <a:lstStyle/>
          <a:p>
            <a:endParaRPr dirty="0"/>
          </a:p>
        </p:txBody>
      </p:sp>
      <p:sp>
        <p:nvSpPr>
          <p:cNvPr id="3" name="object 3"/>
          <p:cNvSpPr/>
          <p:nvPr/>
        </p:nvSpPr>
        <p:spPr>
          <a:xfrm>
            <a:off x="794" y="0"/>
            <a:ext cx="4615180" cy="88900"/>
          </a:xfrm>
          <a:custGeom>
            <a:avLst/>
            <a:gdLst/>
            <a:ahLst/>
            <a:cxnLst/>
            <a:rect l="l" t="t" r="r" b="b"/>
            <a:pathLst>
              <a:path w="4615180" h="88900">
                <a:moveTo>
                  <a:pt x="0" y="88392"/>
                </a:moveTo>
                <a:lnTo>
                  <a:pt x="4614672" y="88392"/>
                </a:lnTo>
                <a:lnTo>
                  <a:pt x="4614672" y="0"/>
                </a:lnTo>
                <a:lnTo>
                  <a:pt x="0" y="0"/>
                </a:lnTo>
                <a:lnTo>
                  <a:pt x="0" y="88392"/>
                </a:lnTo>
                <a:close/>
              </a:path>
            </a:pathLst>
          </a:custGeom>
          <a:solidFill>
            <a:srgbClr val="F18B1B"/>
          </a:solidFill>
        </p:spPr>
        <p:txBody>
          <a:bodyPr wrap="square" lIns="0" tIns="0" rIns="0" bIns="0" rtlCol="0"/>
          <a:lstStyle/>
          <a:p>
            <a:endParaRPr dirty="0"/>
          </a:p>
        </p:txBody>
      </p:sp>
      <p:sp>
        <p:nvSpPr>
          <p:cNvPr id="4" name="object 4"/>
          <p:cNvSpPr/>
          <p:nvPr/>
        </p:nvSpPr>
        <p:spPr>
          <a:xfrm>
            <a:off x="11337830" y="6030468"/>
            <a:ext cx="1301483" cy="827531"/>
          </a:xfrm>
          <a:prstGeom prst="rect">
            <a:avLst/>
          </a:prstGeom>
          <a:blipFill>
            <a:blip r:embed="rId4" cstate="print"/>
            <a:stretch>
              <a:fillRect/>
            </a:stretch>
          </a:blipFill>
        </p:spPr>
        <p:txBody>
          <a:bodyPr wrap="square" lIns="0" tIns="0" rIns="0" bIns="0" rtlCol="0"/>
          <a:lstStyle/>
          <a:p>
            <a:endParaRPr dirty="0"/>
          </a:p>
        </p:txBody>
      </p:sp>
      <p:sp>
        <p:nvSpPr>
          <p:cNvPr id="5" name="object 5"/>
          <p:cNvSpPr/>
          <p:nvPr/>
        </p:nvSpPr>
        <p:spPr>
          <a:xfrm>
            <a:off x="12515883" y="327659"/>
            <a:ext cx="123825" cy="3337560"/>
          </a:xfrm>
          <a:custGeom>
            <a:avLst/>
            <a:gdLst/>
            <a:ahLst/>
            <a:cxnLst/>
            <a:rect l="l" t="t" r="r" b="b"/>
            <a:pathLst>
              <a:path w="123825" h="3337560">
                <a:moveTo>
                  <a:pt x="0" y="3337560"/>
                </a:moveTo>
                <a:lnTo>
                  <a:pt x="123443" y="3337560"/>
                </a:lnTo>
                <a:lnTo>
                  <a:pt x="123443" y="0"/>
                </a:lnTo>
                <a:lnTo>
                  <a:pt x="0" y="0"/>
                </a:lnTo>
                <a:lnTo>
                  <a:pt x="0" y="3337560"/>
                </a:lnTo>
              </a:path>
            </a:pathLst>
          </a:custGeom>
          <a:solidFill>
            <a:srgbClr val="F18B1B"/>
          </a:solidFill>
        </p:spPr>
        <p:txBody>
          <a:bodyPr wrap="square" lIns="0" tIns="0" rIns="0" bIns="0" rtlCol="0"/>
          <a:lstStyle/>
          <a:p>
            <a:endParaRPr dirty="0"/>
          </a:p>
        </p:txBody>
      </p:sp>
      <p:sp>
        <p:nvSpPr>
          <p:cNvPr id="6" name="object 6"/>
          <p:cNvSpPr txBox="1">
            <a:spLocks noGrp="1"/>
          </p:cNvSpPr>
          <p:nvPr>
            <p:ph type="title"/>
          </p:nvPr>
        </p:nvSpPr>
        <p:spPr>
          <a:xfrm>
            <a:off x="434442" y="299068"/>
            <a:ext cx="11782384" cy="655999"/>
          </a:xfrm>
          <a:prstGeom prst="rect">
            <a:avLst/>
          </a:prstGeom>
        </p:spPr>
        <p:txBody>
          <a:bodyPr vert="horz" wrap="square" lIns="0" tIns="222935" rIns="0" bIns="0" numCol="1" rtlCol="0" anchor="ctr" anchorCtr="0" compatLnSpc="1">
            <a:prstTxWarp prst="textNoShape">
              <a:avLst/>
            </a:prstTxWarp>
            <a:spAutoFit/>
          </a:bodyPr>
          <a:lstStyle/>
          <a:p>
            <a:pPr marL="100965">
              <a:lnSpc>
                <a:spcPct val="100000"/>
              </a:lnSpc>
            </a:pPr>
            <a:r>
              <a:rPr lang="en-US" sz="2800" spc="-14" dirty="0">
                <a:solidFill>
                  <a:srgbClr val="0060B1"/>
                </a:solidFill>
                <a:latin typeface="Century Gothic"/>
                <a:cs typeface="Century Gothic"/>
              </a:rPr>
              <a:t>Executive Summary of </a:t>
            </a:r>
            <a:r>
              <a:rPr sz="2800" spc="-14" dirty="0">
                <a:solidFill>
                  <a:srgbClr val="0060B1"/>
                </a:solidFill>
                <a:latin typeface="Century Gothic"/>
                <a:cs typeface="Century Gothic"/>
              </a:rPr>
              <a:t>Group</a:t>
            </a:r>
            <a:r>
              <a:rPr sz="2300" spc="-20" dirty="0">
                <a:latin typeface="Arial"/>
                <a:cs typeface="Arial"/>
              </a:rPr>
              <a:t> </a:t>
            </a:r>
            <a:r>
              <a:rPr sz="2800" spc="-14" dirty="0">
                <a:solidFill>
                  <a:srgbClr val="0060B1"/>
                </a:solidFill>
                <a:latin typeface="Century Gothic"/>
                <a:cs typeface="Century Gothic"/>
              </a:rPr>
              <a:t>Top Risks</a:t>
            </a:r>
          </a:p>
        </p:txBody>
      </p:sp>
      <p:sp>
        <p:nvSpPr>
          <p:cNvPr id="8" name="object 8"/>
          <p:cNvSpPr/>
          <p:nvPr/>
        </p:nvSpPr>
        <p:spPr>
          <a:xfrm>
            <a:off x="5534438" y="1767839"/>
            <a:ext cx="6513576" cy="4120896"/>
          </a:xfrm>
          <a:prstGeom prst="rect">
            <a:avLst/>
          </a:prstGeom>
          <a:blipFill>
            <a:blip r:embed="rId5" cstate="print"/>
            <a:stretch>
              <a:fillRect/>
            </a:stretch>
          </a:blipFill>
        </p:spPr>
        <p:txBody>
          <a:bodyPr wrap="square" lIns="0" tIns="0" rIns="0" bIns="0" rtlCol="0"/>
          <a:lstStyle/>
          <a:p>
            <a:endParaRPr dirty="0"/>
          </a:p>
        </p:txBody>
      </p:sp>
      <p:sp>
        <p:nvSpPr>
          <p:cNvPr id="9" name="object 9"/>
          <p:cNvSpPr/>
          <p:nvPr/>
        </p:nvSpPr>
        <p:spPr>
          <a:xfrm>
            <a:off x="5534438" y="1767839"/>
            <a:ext cx="6513830" cy="4121150"/>
          </a:xfrm>
          <a:custGeom>
            <a:avLst/>
            <a:gdLst/>
            <a:ahLst/>
            <a:cxnLst/>
            <a:rect l="l" t="t" r="r" b="b"/>
            <a:pathLst>
              <a:path w="6513830" h="4121150">
                <a:moveTo>
                  <a:pt x="0" y="0"/>
                </a:moveTo>
                <a:lnTo>
                  <a:pt x="6513576" y="0"/>
                </a:lnTo>
                <a:lnTo>
                  <a:pt x="6513576" y="4120896"/>
                </a:lnTo>
                <a:lnTo>
                  <a:pt x="0" y="4120896"/>
                </a:lnTo>
                <a:lnTo>
                  <a:pt x="0" y="0"/>
                </a:lnTo>
                <a:close/>
              </a:path>
            </a:pathLst>
          </a:custGeom>
          <a:ln w="12191">
            <a:solidFill>
              <a:srgbClr val="FFFFFF"/>
            </a:solidFill>
          </a:ln>
        </p:spPr>
        <p:txBody>
          <a:bodyPr wrap="square" lIns="0" tIns="0" rIns="0" bIns="0" rtlCol="0"/>
          <a:lstStyle/>
          <a:p>
            <a:endParaRPr dirty="0"/>
          </a:p>
        </p:txBody>
      </p:sp>
      <p:sp>
        <p:nvSpPr>
          <p:cNvPr id="10" name="object 10"/>
          <p:cNvSpPr/>
          <p:nvPr/>
        </p:nvSpPr>
        <p:spPr>
          <a:xfrm>
            <a:off x="5794284" y="5122926"/>
            <a:ext cx="6085205" cy="0"/>
          </a:xfrm>
          <a:custGeom>
            <a:avLst/>
            <a:gdLst/>
            <a:ahLst/>
            <a:cxnLst/>
            <a:rect l="l" t="t" r="r" b="b"/>
            <a:pathLst>
              <a:path w="6085205">
                <a:moveTo>
                  <a:pt x="6084608" y="0"/>
                </a:moveTo>
                <a:lnTo>
                  <a:pt x="0" y="0"/>
                </a:lnTo>
              </a:path>
            </a:pathLst>
          </a:custGeom>
          <a:ln w="22860">
            <a:solidFill>
              <a:srgbClr val="5B9BD5"/>
            </a:solidFill>
          </a:ln>
        </p:spPr>
        <p:txBody>
          <a:bodyPr wrap="square" lIns="0" tIns="0" rIns="0" bIns="0" rtlCol="0"/>
          <a:lstStyle/>
          <a:p>
            <a:endParaRPr dirty="0"/>
          </a:p>
        </p:txBody>
      </p:sp>
      <p:sp>
        <p:nvSpPr>
          <p:cNvPr id="11" name="object 11"/>
          <p:cNvSpPr/>
          <p:nvPr/>
        </p:nvSpPr>
        <p:spPr>
          <a:xfrm>
            <a:off x="11853492" y="5084823"/>
            <a:ext cx="76200" cy="76200"/>
          </a:xfrm>
          <a:custGeom>
            <a:avLst/>
            <a:gdLst/>
            <a:ahLst/>
            <a:cxnLst/>
            <a:rect l="l" t="t" r="r" b="b"/>
            <a:pathLst>
              <a:path w="76200" h="76200">
                <a:moveTo>
                  <a:pt x="0" y="0"/>
                </a:moveTo>
                <a:lnTo>
                  <a:pt x="25400" y="38100"/>
                </a:lnTo>
                <a:lnTo>
                  <a:pt x="0" y="76200"/>
                </a:lnTo>
                <a:lnTo>
                  <a:pt x="76200" y="38100"/>
                </a:lnTo>
                <a:lnTo>
                  <a:pt x="0" y="0"/>
                </a:lnTo>
                <a:close/>
              </a:path>
            </a:pathLst>
          </a:custGeom>
          <a:solidFill>
            <a:srgbClr val="5B9BD5"/>
          </a:solidFill>
        </p:spPr>
        <p:txBody>
          <a:bodyPr wrap="square" lIns="0" tIns="0" rIns="0" bIns="0" rtlCol="0"/>
          <a:lstStyle/>
          <a:p>
            <a:endParaRPr dirty="0"/>
          </a:p>
        </p:txBody>
      </p:sp>
      <p:sp>
        <p:nvSpPr>
          <p:cNvPr id="12" name="object 12"/>
          <p:cNvSpPr txBox="1"/>
          <p:nvPr/>
        </p:nvSpPr>
        <p:spPr>
          <a:xfrm>
            <a:off x="11180283" y="5231798"/>
            <a:ext cx="725805" cy="167225"/>
          </a:xfrm>
          <a:prstGeom prst="rect">
            <a:avLst/>
          </a:prstGeom>
        </p:spPr>
        <p:txBody>
          <a:bodyPr vert="horz" wrap="square" lIns="0" tIns="0" rIns="0" bIns="0" rtlCol="0">
            <a:spAutoFit/>
          </a:bodyPr>
          <a:lstStyle/>
          <a:p>
            <a:pPr>
              <a:lnSpc>
                <a:spcPts val="1360"/>
              </a:lnSpc>
            </a:pPr>
            <a:r>
              <a:rPr sz="1150" b="1" spc="5" dirty="0">
                <a:solidFill>
                  <a:srgbClr val="5B9BD5"/>
                </a:solidFill>
                <a:latin typeface="Century Gothic"/>
                <a:cs typeface="Century Gothic"/>
              </a:rPr>
              <a:t>L</a:t>
            </a:r>
            <a:r>
              <a:rPr sz="1150" b="1" dirty="0">
                <a:solidFill>
                  <a:srgbClr val="5B9BD5"/>
                </a:solidFill>
                <a:latin typeface="Century Gothic"/>
                <a:cs typeface="Century Gothic"/>
              </a:rPr>
              <a:t>ikelihoo</a:t>
            </a:r>
            <a:r>
              <a:rPr sz="1150" b="1" spc="5" dirty="0">
                <a:solidFill>
                  <a:srgbClr val="5B9BD5"/>
                </a:solidFill>
                <a:latin typeface="Century Gothic"/>
                <a:cs typeface="Century Gothic"/>
              </a:rPr>
              <a:t>d</a:t>
            </a:r>
            <a:endParaRPr sz="1150" dirty="0">
              <a:latin typeface="Century Gothic"/>
              <a:cs typeface="Century Gothic"/>
            </a:endParaRPr>
          </a:p>
        </p:txBody>
      </p:sp>
      <p:sp>
        <p:nvSpPr>
          <p:cNvPr id="13" name="object 13"/>
          <p:cNvSpPr/>
          <p:nvPr/>
        </p:nvSpPr>
        <p:spPr>
          <a:xfrm>
            <a:off x="5786659" y="2119630"/>
            <a:ext cx="0" cy="3001645"/>
          </a:xfrm>
          <a:custGeom>
            <a:avLst/>
            <a:gdLst/>
            <a:ahLst/>
            <a:cxnLst/>
            <a:rect l="l" t="t" r="r" b="b"/>
            <a:pathLst>
              <a:path h="3001645">
                <a:moveTo>
                  <a:pt x="0" y="0"/>
                </a:moveTo>
                <a:lnTo>
                  <a:pt x="0" y="3001467"/>
                </a:lnTo>
              </a:path>
            </a:pathLst>
          </a:custGeom>
          <a:ln w="22860">
            <a:solidFill>
              <a:srgbClr val="5B9BD5"/>
            </a:solidFill>
          </a:ln>
        </p:spPr>
        <p:txBody>
          <a:bodyPr wrap="square" lIns="0" tIns="0" rIns="0" bIns="0" rtlCol="0"/>
          <a:lstStyle/>
          <a:p>
            <a:endParaRPr dirty="0"/>
          </a:p>
        </p:txBody>
      </p:sp>
      <p:sp>
        <p:nvSpPr>
          <p:cNvPr id="14" name="object 14"/>
          <p:cNvSpPr/>
          <p:nvPr/>
        </p:nvSpPr>
        <p:spPr>
          <a:xfrm>
            <a:off x="5748562" y="2068829"/>
            <a:ext cx="76200" cy="76200"/>
          </a:xfrm>
          <a:custGeom>
            <a:avLst/>
            <a:gdLst/>
            <a:ahLst/>
            <a:cxnLst/>
            <a:rect l="l" t="t" r="r" b="b"/>
            <a:pathLst>
              <a:path w="76200" h="76200">
                <a:moveTo>
                  <a:pt x="38100" y="0"/>
                </a:moveTo>
                <a:lnTo>
                  <a:pt x="0" y="76200"/>
                </a:lnTo>
                <a:lnTo>
                  <a:pt x="38100" y="50800"/>
                </a:lnTo>
                <a:lnTo>
                  <a:pt x="63500" y="50800"/>
                </a:lnTo>
                <a:lnTo>
                  <a:pt x="38100" y="0"/>
                </a:lnTo>
                <a:close/>
              </a:path>
              <a:path w="76200" h="76200">
                <a:moveTo>
                  <a:pt x="63500" y="50800"/>
                </a:moveTo>
                <a:lnTo>
                  <a:pt x="38100" y="50800"/>
                </a:lnTo>
                <a:lnTo>
                  <a:pt x="76200" y="76200"/>
                </a:lnTo>
                <a:lnTo>
                  <a:pt x="63500" y="50800"/>
                </a:lnTo>
                <a:close/>
              </a:path>
            </a:pathLst>
          </a:custGeom>
          <a:solidFill>
            <a:srgbClr val="5B9BD5"/>
          </a:solidFill>
        </p:spPr>
        <p:txBody>
          <a:bodyPr wrap="square" lIns="0" tIns="0" rIns="0" bIns="0" rtlCol="0"/>
          <a:lstStyle/>
          <a:p>
            <a:endParaRPr dirty="0"/>
          </a:p>
        </p:txBody>
      </p:sp>
      <p:sp>
        <p:nvSpPr>
          <p:cNvPr id="15" name="object 15"/>
          <p:cNvSpPr txBox="1"/>
          <p:nvPr/>
        </p:nvSpPr>
        <p:spPr>
          <a:xfrm>
            <a:off x="5552229" y="2095871"/>
            <a:ext cx="176972" cy="539115"/>
          </a:xfrm>
          <a:prstGeom prst="rect">
            <a:avLst/>
          </a:prstGeom>
        </p:spPr>
        <p:txBody>
          <a:bodyPr vert="vert270" wrap="square" lIns="0" tIns="0" rIns="0" bIns="0" rtlCol="0">
            <a:spAutoFit/>
          </a:bodyPr>
          <a:lstStyle/>
          <a:p>
            <a:pPr marL="12700"/>
            <a:r>
              <a:rPr sz="1150" b="1" spc="-5" dirty="0">
                <a:solidFill>
                  <a:srgbClr val="5B9BD5"/>
                </a:solidFill>
                <a:latin typeface="Century Gothic"/>
                <a:cs typeface="Century Gothic"/>
              </a:rPr>
              <a:t>Impact</a:t>
            </a:r>
            <a:endParaRPr sz="1150" dirty="0">
              <a:latin typeface="Century Gothic"/>
              <a:cs typeface="Century Gothic"/>
            </a:endParaRPr>
          </a:p>
        </p:txBody>
      </p:sp>
      <p:sp>
        <p:nvSpPr>
          <p:cNvPr id="16" name="object 16"/>
          <p:cNvSpPr txBox="1"/>
          <p:nvPr/>
        </p:nvSpPr>
        <p:spPr>
          <a:xfrm>
            <a:off x="6427534" y="2768155"/>
            <a:ext cx="961390" cy="310854"/>
          </a:xfrm>
          <a:prstGeom prst="rect">
            <a:avLst/>
          </a:prstGeom>
        </p:spPr>
        <p:txBody>
          <a:bodyPr vert="horz" wrap="square" lIns="0" tIns="0" rIns="0" bIns="0" rtlCol="0">
            <a:spAutoFit/>
          </a:bodyPr>
          <a:lstStyle/>
          <a:p>
            <a:pPr marL="100330" indent="-100965">
              <a:lnSpc>
                <a:spcPct val="101000"/>
              </a:lnSpc>
            </a:pPr>
            <a:r>
              <a:rPr sz="1000" b="1" dirty="0">
                <a:latin typeface="Arial" panose="020B0604020202020204" pitchFamily="34" charset="0"/>
                <a:cs typeface="Arial" panose="020B0604020202020204" pitchFamily="34" charset="0"/>
              </a:rPr>
              <a:t>Re</a:t>
            </a:r>
            <a:r>
              <a:rPr sz="1000" b="1" spc="5" dirty="0">
                <a:latin typeface="Arial" panose="020B0604020202020204" pitchFamily="34" charset="0"/>
                <a:cs typeface="Arial" panose="020B0604020202020204" pitchFamily="34" charset="0"/>
              </a:rPr>
              <a:t>g</a:t>
            </a:r>
            <a:r>
              <a:rPr sz="1000" b="1" spc="-5" dirty="0">
                <a:latin typeface="Arial" panose="020B0604020202020204" pitchFamily="34" charset="0"/>
                <a:cs typeface="Arial" panose="020B0604020202020204" pitchFamily="34" charset="0"/>
              </a:rPr>
              <a:t>u</a:t>
            </a:r>
            <a:r>
              <a:rPr sz="1000" b="1" spc="25" dirty="0">
                <a:latin typeface="Arial" panose="020B0604020202020204" pitchFamily="34" charset="0"/>
                <a:cs typeface="Arial" panose="020B0604020202020204" pitchFamily="34" charset="0"/>
              </a:rPr>
              <a:t>l</a:t>
            </a:r>
            <a:r>
              <a:rPr sz="1000" b="1" spc="-5" dirty="0">
                <a:latin typeface="Arial" panose="020B0604020202020204" pitchFamily="34" charset="0"/>
                <a:cs typeface="Arial" panose="020B0604020202020204" pitchFamily="34" charset="0"/>
              </a:rPr>
              <a:t>a</a:t>
            </a:r>
            <a:r>
              <a:rPr sz="1000" b="1" spc="5" dirty="0">
                <a:latin typeface="Arial" panose="020B0604020202020204" pitchFamily="34" charset="0"/>
                <a:cs typeface="Arial" panose="020B0604020202020204" pitchFamily="34" charset="0"/>
              </a:rPr>
              <a:t>t</a:t>
            </a:r>
            <a:r>
              <a:rPr sz="1000" b="1" spc="-5" dirty="0">
                <a:latin typeface="Arial" panose="020B0604020202020204" pitchFamily="34" charset="0"/>
                <a:cs typeface="Arial" panose="020B0604020202020204" pitchFamily="34" charset="0"/>
              </a:rPr>
              <a:t>or</a:t>
            </a:r>
            <a:r>
              <a:rPr sz="1000" b="1" dirty="0">
                <a:latin typeface="Arial" panose="020B0604020202020204" pitchFamily="34" charset="0"/>
                <a:cs typeface="Arial" panose="020B0604020202020204" pitchFamily="34" charset="0"/>
              </a:rPr>
              <a:t>y</a:t>
            </a:r>
            <a:r>
              <a:rPr sz="1000" b="1" spc="-30" dirty="0">
                <a:latin typeface="Arial" panose="020B0604020202020204" pitchFamily="34" charset="0"/>
                <a:cs typeface="Arial" panose="020B0604020202020204" pitchFamily="34" charset="0"/>
              </a:rPr>
              <a:t> </a:t>
            </a:r>
            <a:r>
              <a:rPr sz="1000" b="1" spc="-5" dirty="0">
                <a:latin typeface="Arial" panose="020B0604020202020204" pitchFamily="34" charset="0"/>
                <a:cs typeface="Arial" panose="020B0604020202020204" pitchFamily="34" charset="0"/>
              </a:rPr>
              <a:t>an</a:t>
            </a:r>
            <a:r>
              <a:rPr sz="1000" b="1" dirty="0">
                <a:latin typeface="Arial" panose="020B0604020202020204" pitchFamily="34" charset="0"/>
                <a:cs typeface="Arial" panose="020B0604020202020204" pitchFamily="34" charset="0"/>
              </a:rPr>
              <a:t>d </a:t>
            </a:r>
            <a:r>
              <a:rPr sz="1000" b="1" spc="-5" dirty="0">
                <a:latin typeface="Arial" panose="020B0604020202020204" pitchFamily="34" charset="0"/>
                <a:cs typeface="Arial" panose="020B0604020202020204" pitchFamily="34" charset="0"/>
              </a:rPr>
              <a:t>co</a:t>
            </a:r>
            <a:r>
              <a:rPr sz="1000" b="1" spc="10" dirty="0">
                <a:latin typeface="Arial" panose="020B0604020202020204" pitchFamily="34" charset="0"/>
                <a:cs typeface="Arial" panose="020B0604020202020204" pitchFamily="34" charset="0"/>
              </a:rPr>
              <a:t>m</a:t>
            </a:r>
            <a:r>
              <a:rPr sz="1000" b="1" spc="-5" dirty="0">
                <a:latin typeface="Arial" panose="020B0604020202020204" pitchFamily="34" charset="0"/>
                <a:cs typeface="Arial" panose="020B0604020202020204" pitchFamily="34" charset="0"/>
              </a:rPr>
              <a:t>p</a:t>
            </a:r>
            <a:r>
              <a:rPr sz="1000" b="1" spc="25" dirty="0">
                <a:latin typeface="Arial" panose="020B0604020202020204" pitchFamily="34" charset="0"/>
                <a:cs typeface="Arial" panose="020B0604020202020204" pitchFamily="34" charset="0"/>
              </a:rPr>
              <a:t>l</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ance</a:t>
            </a:r>
            <a:endParaRPr sz="1000" b="1" dirty="0">
              <a:latin typeface="Arial" panose="020B0604020202020204" pitchFamily="34" charset="0"/>
              <a:cs typeface="Arial" panose="020B0604020202020204" pitchFamily="34" charset="0"/>
            </a:endParaRPr>
          </a:p>
        </p:txBody>
      </p:sp>
      <p:sp>
        <p:nvSpPr>
          <p:cNvPr id="17" name="object 17"/>
          <p:cNvSpPr txBox="1"/>
          <p:nvPr/>
        </p:nvSpPr>
        <p:spPr>
          <a:xfrm>
            <a:off x="8606305" y="2046563"/>
            <a:ext cx="774065" cy="310854"/>
          </a:xfrm>
          <a:prstGeom prst="rect">
            <a:avLst/>
          </a:prstGeom>
        </p:spPr>
        <p:txBody>
          <a:bodyPr vert="horz" wrap="square" lIns="0" tIns="0" rIns="0" bIns="0" rtlCol="0">
            <a:spAutoFit/>
          </a:bodyPr>
          <a:lstStyle/>
          <a:p>
            <a:pPr indent="62230">
              <a:lnSpc>
                <a:spcPct val="101000"/>
              </a:lnSpc>
            </a:pPr>
            <a:r>
              <a:rPr sz="1000" b="1" spc="-5" dirty="0">
                <a:latin typeface="Arial" panose="020B0604020202020204" pitchFamily="34" charset="0"/>
                <a:cs typeface="Arial" panose="020B0604020202020204" pitchFamily="34" charset="0"/>
              </a:rPr>
              <a:t>Corpora</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e </a:t>
            </a:r>
            <a:r>
              <a:rPr sz="1000" b="1" spc="5" dirty="0">
                <a:latin typeface="Arial" panose="020B0604020202020204" pitchFamily="34" charset="0"/>
                <a:cs typeface="Arial" panose="020B0604020202020204" pitchFamily="34" charset="0"/>
              </a:rPr>
              <a:t>g</a:t>
            </a:r>
            <a:r>
              <a:rPr sz="1000" b="1" spc="-5" dirty="0">
                <a:latin typeface="Arial" panose="020B0604020202020204" pitchFamily="34" charset="0"/>
                <a:cs typeface="Arial" panose="020B0604020202020204" pitchFamily="34" charset="0"/>
              </a:rPr>
              <a:t>o</a:t>
            </a:r>
            <a:r>
              <a:rPr sz="1000" b="1" spc="15" dirty="0">
                <a:latin typeface="Arial" panose="020B0604020202020204" pitchFamily="34" charset="0"/>
                <a:cs typeface="Arial" panose="020B0604020202020204" pitchFamily="34" charset="0"/>
              </a:rPr>
              <a:t>v</a:t>
            </a:r>
            <a:r>
              <a:rPr sz="1000" b="1"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rnanc</a:t>
            </a:r>
            <a:r>
              <a:rPr sz="1000" b="1" dirty="0">
                <a:latin typeface="Arial" panose="020B0604020202020204" pitchFamily="34" charset="0"/>
                <a:cs typeface="Arial" panose="020B0604020202020204" pitchFamily="34" charset="0"/>
              </a:rPr>
              <a:t>e</a:t>
            </a:r>
          </a:p>
        </p:txBody>
      </p:sp>
      <p:sp>
        <p:nvSpPr>
          <p:cNvPr id="18" name="object 18"/>
          <p:cNvSpPr txBox="1"/>
          <p:nvPr/>
        </p:nvSpPr>
        <p:spPr>
          <a:xfrm>
            <a:off x="10240296" y="3458527"/>
            <a:ext cx="1542415" cy="307777"/>
          </a:xfrm>
          <a:prstGeom prst="rect">
            <a:avLst/>
          </a:prstGeom>
        </p:spPr>
        <p:txBody>
          <a:bodyPr vert="horz" wrap="square" lIns="0" tIns="0" rIns="0" bIns="0" rtlCol="0">
            <a:spAutoFit/>
          </a:bodyPr>
          <a:lstStyle/>
          <a:p>
            <a:pPr>
              <a:lnSpc>
                <a:spcPts val="1185"/>
              </a:lnSpc>
            </a:pPr>
            <a:r>
              <a:rPr sz="1000" b="1" spc="5" dirty="0">
                <a:latin typeface="Arial" panose="020B0604020202020204" pitchFamily="34" charset="0"/>
                <a:cs typeface="Arial" panose="020B0604020202020204" pitchFamily="34" charset="0"/>
              </a:rPr>
              <a:t>D</a:t>
            </a:r>
            <a:r>
              <a:rPr sz="1000" b="1"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co</a:t>
            </a:r>
            <a:r>
              <a:rPr sz="1000" b="1" spc="10" dirty="0">
                <a:latin typeface="Arial" panose="020B0604020202020204" pitchFamily="34" charset="0"/>
                <a:cs typeface="Arial" panose="020B0604020202020204" pitchFamily="34" charset="0"/>
              </a:rPr>
              <a:t>mm</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ss</a:t>
            </a:r>
            <a:r>
              <a:rPr sz="1000" b="1" spc="-10"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on</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n</a:t>
            </a:r>
            <a:r>
              <a:rPr sz="1000" b="1" dirty="0">
                <a:latin typeface="Arial" panose="020B0604020202020204" pitchFamily="34" charset="0"/>
                <a:cs typeface="Arial" panose="020B0604020202020204" pitchFamily="34" charset="0"/>
              </a:rPr>
              <a:t>g</a:t>
            </a:r>
            <a:r>
              <a:rPr sz="1000" b="1" spc="-35" dirty="0">
                <a:latin typeface="Arial" panose="020B0604020202020204" pitchFamily="34" charset="0"/>
                <a:cs typeface="Arial" panose="020B0604020202020204" pitchFamily="34" charset="0"/>
              </a:rPr>
              <a:t> </a:t>
            </a:r>
            <a:r>
              <a:rPr sz="1000" b="1" spc="25" dirty="0">
                <a:latin typeface="Arial" panose="020B0604020202020204" pitchFamily="34" charset="0"/>
                <a:cs typeface="Arial" panose="020B0604020202020204" pitchFamily="34" charset="0"/>
              </a:rPr>
              <a:t>l</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ab</a:t>
            </a:r>
            <a:r>
              <a:rPr sz="1000" b="1" dirty="0">
                <a:latin typeface="Arial" panose="020B0604020202020204" pitchFamily="34" charset="0"/>
                <a:cs typeface="Arial" panose="020B0604020202020204" pitchFamily="34" charset="0"/>
              </a:rPr>
              <a:t>i</a:t>
            </a:r>
            <a:r>
              <a:rPr sz="1000" b="1" spc="10" dirty="0">
                <a:latin typeface="Arial" panose="020B0604020202020204" pitchFamily="34" charset="0"/>
                <a:cs typeface="Arial" panose="020B0604020202020204" pitchFamily="34" charset="0"/>
              </a:rPr>
              <a:t>l</a:t>
            </a:r>
            <a:r>
              <a:rPr sz="1000" b="1" spc="-10"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y</a:t>
            </a:r>
          </a:p>
        </p:txBody>
      </p:sp>
      <p:sp>
        <p:nvSpPr>
          <p:cNvPr id="19" name="object 19"/>
          <p:cNvSpPr txBox="1"/>
          <p:nvPr/>
        </p:nvSpPr>
        <p:spPr>
          <a:xfrm>
            <a:off x="8364760" y="3948290"/>
            <a:ext cx="1028065" cy="466281"/>
          </a:xfrm>
          <a:prstGeom prst="rect">
            <a:avLst/>
          </a:prstGeom>
        </p:spPr>
        <p:txBody>
          <a:bodyPr vert="horz" wrap="square" lIns="0" tIns="0" rIns="0" bIns="0" rtlCol="0">
            <a:spAutoFit/>
          </a:bodyPr>
          <a:lstStyle/>
          <a:p>
            <a:pPr algn="ctr">
              <a:lnSpc>
                <a:spcPct val="101000"/>
              </a:lnSpc>
            </a:pPr>
            <a:r>
              <a:rPr sz="1000" b="1" dirty="0">
                <a:latin typeface="Arial" panose="020B0604020202020204" pitchFamily="34" charset="0"/>
                <a:cs typeface="Arial" panose="020B0604020202020204" pitchFamily="34" charset="0"/>
              </a:rPr>
              <a:t>S</a:t>
            </a:r>
            <a:r>
              <a:rPr sz="1000" b="1" spc="5" dirty="0">
                <a:latin typeface="Arial" panose="020B0604020202020204" pitchFamily="34" charset="0"/>
                <a:cs typeface="Arial" panose="020B0604020202020204" pitchFamily="34" charset="0"/>
              </a:rPr>
              <a:t>t</a:t>
            </a:r>
            <a:r>
              <a:rPr sz="1000" b="1" spc="-5" dirty="0">
                <a:latin typeface="Arial" panose="020B0604020202020204" pitchFamily="34" charset="0"/>
                <a:cs typeface="Arial" panose="020B0604020202020204" pitchFamily="34" charset="0"/>
              </a:rPr>
              <a:t>ak</a:t>
            </a:r>
            <a:r>
              <a:rPr sz="1000" b="1" spc="5"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ho</a:t>
            </a:r>
            <a:r>
              <a:rPr sz="1000" b="1" spc="25" dirty="0">
                <a:latin typeface="Arial" panose="020B0604020202020204" pitchFamily="34" charset="0"/>
                <a:cs typeface="Arial" panose="020B0604020202020204" pitchFamily="34" charset="0"/>
              </a:rPr>
              <a:t>l</a:t>
            </a:r>
            <a:r>
              <a:rPr sz="1000" b="1" spc="5" dirty="0">
                <a:latin typeface="Arial" panose="020B0604020202020204" pitchFamily="34" charset="0"/>
                <a:cs typeface="Arial" panose="020B0604020202020204" pitchFamily="34" charset="0"/>
              </a:rPr>
              <a:t>de</a:t>
            </a:r>
            <a:r>
              <a:rPr sz="1000" b="1" dirty="0">
                <a:latin typeface="Arial" panose="020B0604020202020204" pitchFamily="34" charset="0"/>
                <a:cs typeface="Arial" panose="020B0604020202020204" pitchFamily="34" charset="0"/>
              </a:rPr>
              <a:t>r</a:t>
            </a:r>
            <a:r>
              <a:rPr sz="1000" b="1" spc="-30" dirty="0">
                <a:latin typeface="Arial" panose="020B0604020202020204" pitchFamily="34" charset="0"/>
                <a:cs typeface="Arial" panose="020B0604020202020204" pitchFamily="34" charset="0"/>
              </a:rPr>
              <a:t> </a:t>
            </a:r>
            <a:r>
              <a:rPr sz="1000" b="1" spc="-5" dirty="0">
                <a:latin typeface="Arial" panose="020B0604020202020204" pitchFamily="34" charset="0"/>
                <a:cs typeface="Arial" panose="020B0604020202020204" pitchFamily="34" charset="0"/>
              </a:rPr>
              <a:t>an</a:t>
            </a:r>
            <a:r>
              <a:rPr sz="1000" b="1" dirty="0">
                <a:latin typeface="Arial" panose="020B0604020202020204" pitchFamily="34" charset="0"/>
                <a:cs typeface="Arial" panose="020B0604020202020204" pitchFamily="34" charset="0"/>
              </a:rPr>
              <a:t>d </a:t>
            </a:r>
            <a:r>
              <a:rPr sz="1000" b="1" spc="-5" dirty="0">
                <a:latin typeface="Arial" panose="020B0604020202020204" pitchFamily="34" charset="0"/>
                <a:cs typeface="Arial" panose="020B0604020202020204" pitchFamily="34" charset="0"/>
              </a:rPr>
              <a:t>r</a:t>
            </a:r>
            <a:r>
              <a:rPr sz="1000" b="1"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pu</a:t>
            </a:r>
            <a:r>
              <a:rPr sz="1000" b="1" spc="5" dirty="0">
                <a:latin typeface="Arial" panose="020B0604020202020204" pitchFamily="34" charset="0"/>
                <a:cs typeface="Arial" panose="020B0604020202020204" pitchFamily="34" charset="0"/>
              </a:rPr>
              <a:t>t</a:t>
            </a:r>
            <a:r>
              <a:rPr sz="1000" b="1" spc="-5" dirty="0">
                <a:latin typeface="Arial" panose="020B0604020202020204" pitchFamily="34" charset="0"/>
                <a:cs typeface="Arial" panose="020B0604020202020204" pitchFamily="34" charset="0"/>
              </a:rPr>
              <a:t>a</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o</a:t>
            </a:r>
            <a:r>
              <a:rPr sz="1000" b="1" dirty="0">
                <a:latin typeface="Arial" panose="020B0604020202020204" pitchFamily="34" charset="0"/>
                <a:cs typeface="Arial" panose="020B0604020202020204" pitchFamily="34" charset="0"/>
              </a:rPr>
              <a:t>n </a:t>
            </a:r>
            <a:r>
              <a:rPr sz="1000" b="1" spc="10" dirty="0">
                <a:latin typeface="Arial" panose="020B0604020202020204" pitchFamily="34" charset="0"/>
                <a:cs typeface="Arial" panose="020B0604020202020204" pitchFamily="34" charset="0"/>
              </a:rPr>
              <a:t>m</a:t>
            </a:r>
            <a:r>
              <a:rPr sz="1000" b="1" spc="-5" dirty="0">
                <a:latin typeface="Arial" panose="020B0604020202020204" pitchFamily="34" charset="0"/>
                <a:cs typeface="Arial" panose="020B0604020202020204" pitchFamily="34" charset="0"/>
              </a:rPr>
              <a:t>ana</a:t>
            </a:r>
            <a:r>
              <a:rPr sz="1000" b="1" spc="5" dirty="0">
                <a:latin typeface="Arial" panose="020B0604020202020204" pitchFamily="34" charset="0"/>
                <a:cs typeface="Arial" panose="020B0604020202020204" pitchFamily="34" charset="0"/>
              </a:rPr>
              <a:t>g</a:t>
            </a:r>
            <a:r>
              <a:rPr sz="1000" b="1" dirty="0">
                <a:latin typeface="Arial" panose="020B0604020202020204" pitchFamily="34" charset="0"/>
                <a:cs typeface="Arial" panose="020B0604020202020204" pitchFamily="34" charset="0"/>
              </a:rPr>
              <a:t>e</a:t>
            </a:r>
            <a:r>
              <a:rPr sz="1000" b="1" spc="10" dirty="0">
                <a:latin typeface="Arial" panose="020B0604020202020204" pitchFamily="34" charset="0"/>
                <a:cs typeface="Arial" panose="020B0604020202020204" pitchFamily="34" charset="0"/>
              </a:rPr>
              <a:t>m</a:t>
            </a:r>
            <a:r>
              <a:rPr sz="1000" b="1"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n</a:t>
            </a:r>
            <a:r>
              <a:rPr sz="1000" b="1" dirty="0">
                <a:latin typeface="Arial" panose="020B0604020202020204" pitchFamily="34" charset="0"/>
                <a:cs typeface="Arial" panose="020B0604020202020204" pitchFamily="34" charset="0"/>
              </a:rPr>
              <a:t>t</a:t>
            </a:r>
          </a:p>
        </p:txBody>
      </p:sp>
      <p:sp>
        <p:nvSpPr>
          <p:cNvPr id="20" name="object 20"/>
          <p:cNvSpPr txBox="1"/>
          <p:nvPr/>
        </p:nvSpPr>
        <p:spPr>
          <a:xfrm>
            <a:off x="6673771" y="3588275"/>
            <a:ext cx="472703" cy="153888"/>
          </a:xfrm>
          <a:prstGeom prst="rect">
            <a:avLst/>
          </a:prstGeom>
        </p:spPr>
        <p:txBody>
          <a:bodyPr vert="horz" wrap="square" lIns="0" tIns="0" rIns="0" bIns="0" rtlCol="0">
            <a:spAutoFit/>
          </a:bodyPr>
          <a:lstStyle/>
          <a:p>
            <a:pPr>
              <a:lnSpc>
                <a:spcPts val="1185"/>
              </a:lnSpc>
            </a:pPr>
            <a:r>
              <a:rPr sz="1000" b="1" spc="-5" dirty="0">
                <a:latin typeface="Arial" panose="020B0604020202020204" pitchFamily="34" charset="0"/>
                <a:cs typeface="Arial" panose="020B0604020202020204" pitchFamily="34" charset="0"/>
              </a:rPr>
              <a:t>H</a:t>
            </a:r>
            <a:r>
              <a:rPr sz="1000" b="1" dirty="0">
                <a:latin typeface="Arial" panose="020B0604020202020204" pitchFamily="34" charset="0"/>
                <a:cs typeface="Arial" panose="020B0604020202020204" pitchFamily="34" charset="0"/>
              </a:rPr>
              <a:t>S</a:t>
            </a:r>
            <a:r>
              <a:rPr sz="1000" b="1" spc="-5" dirty="0">
                <a:latin typeface="Arial" panose="020B0604020202020204" pitchFamily="34" charset="0"/>
                <a:cs typeface="Arial" panose="020B0604020202020204" pitchFamily="34" charset="0"/>
              </a:rPr>
              <a:t>E</a:t>
            </a:r>
            <a:r>
              <a:rPr sz="1000" b="1" dirty="0">
                <a:latin typeface="Arial" panose="020B0604020202020204" pitchFamily="34" charset="0"/>
                <a:cs typeface="Arial" panose="020B0604020202020204" pitchFamily="34" charset="0"/>
              </a:rPr>
              <a:t>Q</a:t>
            </a:r>
          </a:p>
        </p:txBody>
      </p:sp>
      <p:sp>
        <p:nvSpPr>
          <p:cNvPr id="21" name="object 21"/>
          <p:cNvSpPr txBox="1"/>
          <p:nvPr/>
        </p:nvSpPr>
        <p:spPr>
          <a:xfrm>
            <a:off x="10346147" y="1954163"/>
            <a:ext cx="1149985" cy="310854"/>
          </a:xfrm>
          <a:prstGeom prst="rect">
            <a:avLst/>
          </a:prstGeom>
        </p:spPr>
        <p:txBody>
          <a:bodyPr vert="horz" wrap="square" lIns="0" tIns="0" rIns="0" bIns="0" rtlCol="0">
            <a:spAutoFit/>
          </a:bodyPr>
          <a:lstStyle/>
          <a:p>
            <a:pPr>
              <a:lnSpc>
                <a:spcPct val="101000"/>
              </a:lnSpc>
            </a:pPr>
            <a:r>
              <a:rPr sz="1000" b="1" dirty="0">
                <a:latin typeface="Arial" panose="020B0604020202020204" pitchFamily="34" charset="0"/>
                <a:cs typeface="Arial" panose="020B0604020202020204" pitchFamily="34" charset="0"/>
              </a:rPr>
              <a:t>S</a:t>
            </a:r>
            <a:r>
              <a:rPr sz="1000" b="1" spc="5" dirty="0">
                <a:latin typeface="Arial" panose="020B0604020202020204" pitchFamily="34" charset="0"/>
                <a:cs typeface="Arial" panose="020B0604020202020204" pitchFamily="34" charset="0"/>
              </a:rPr>
              <a:t>t</a:t>
            </a:r>
            <a:r>
              <a:rPr sz="1000" b="1" spc="-5" dirty="0">
                <a:latin typeface="Arial" panose="020B0604020202020204" pitchFamily="34" charset="0"/>
                <a:cs typeface="Arial" panose="020B0604020202020204" pitchFamily="34" charset="0"/>
              </a:rPr>
              <a:t>ra</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g</a:t>
            </a:r>
            <a:r>
              <a:rPr sz="1000" b="1" dirty="0">
                <a:latin typeface="Arial" panose="020B0604020202020204" pitchFamily="34" charset="0"/>
                <a:cs typeface="Arial" panose="020B0604020202020204" pitchFamily="34" charset="0"/>
              </a:rPr>
              <a:t>y</a:t>
            </a:r>
            <a:r>
              <a:rPr sz="1000" b="1" spc="-25" dirty="0">
                <a:latin typeface="Arial" panose="020B0604020202020204" pitchFamily="34" charset="0"/>
                <a:cs typeface="Arial" panose="020B0604020202020204" pitchFamily="34" charset="0"/>
              </a:rPr>
              <a:t> </a:t>
            </a:r>
            <a:r>
              <a:rPr sz="1000" b="1" spc="-5" dirty="0">
                <a:latin typeface="Arial" panose="020B0604020202020204" pitchFamily="34" charset="0"/>
                <a:cs typeface="Arial" panose="020B0604020202020204" pitchFamily="34" charset="0"/>
              </a:rPr>
              <a:t>an</a:t>
            </a:r>
            <a:r>
              <a:rPr sz="1000" b="1" dirty="0">
                <a:latin typeface="Arial" panose="020B0604020202020204" pitchFamily="34" charset="0"/>
                <a:cs typeface="Arial" panose="020B0604020202020204" pitchFamily="34" charset="0"/>
              </a:rPr>
              <a:t>d </a:t>
            </a:r>
            <a:r>
              <a:rPr sz="1000" b="1" spc="-5" dirty="0">
                <a:latin typeface="Arial" panose="020B0604020202020204" pitchFamily="34" charset="0"/>
                <a:cs typeface="Arial" panose="020B0604020202020204" pitchFamily="34" charset="0"/>
              </a:rPr>
              <a:t>proj</a:t>
            </a:r>
            <a:r>
              <a:rPr sz="1000" b="1"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c</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s</a:t>
            </a:r>
            <a:r>
              <a:rPr sz="1000" b="1" spc="-10" dirty="0">
                <a:latin typeface="Arial" panose="020B0604020202020204" pitchFamily="34" charset="0"/>
                <a:cs typeface="Arial" panose="020B0604020202020204" pitchFamily="34" charset="0"/>
              </a:rPr>
              <a:t> </a:t>
            </a:r>
            <a:r>
              <a:rPr sz="1000" b="1" spc="5"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x</a:t>
            </a:r>
            <a:r>
              <a:rPr sz="1000" b="1"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cu</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o</a:t>
            </a:r>
            <a:r>
              <a:rPr sz="1000" b="1" dirty="0">
                <a:latin typeface="Arial" panose="020B0604020202020204" pitchFamily="34" charset="0"/>
                <a:cs typeface="Arial" panose="020B0604020202020204" pitchFamily="34" charset="0"/>
              </a:rPr>
              <a:t>n</a:t>
            </a:r>
          </a:p>
        </p:txBody>
      </p:sp>
      <p:sp>
        <p:nvSpPr>
          <p:cNvPr id="22" name="object 22"/>
          <p:cNvSpPr/>
          <p:nvPr/>
        </p:nvSpPr>
        <p:spPr>
          <a:xfrm>
            <a:off x="7384575" y="2702052"/>
            <a:ext cx="466725" cy="492759"/>
          </a:xfrm>
          <a:custGeom>
            <a:avLst/>
            <a:gdLst/>
            <a:ahLst/>
            <a:cxnLst/>
            <a:rect l="l" t="t" r="r" b="b"/>
            <a:pathLst>
              <a:path w="466725" h="492760">
                <a:moveTo>
                  <a:pt x="233172" y="0"/>
                </a:moveTo>
                <a:lnTo>
                  <a:pt x="177137" y="7153"/>
                </a:lnTo>
                <a:lnTo>
                  <a:pt x="126015" y="27472"/>
                </a:lnTo>
                <a:lnTo>
                  <a:pt x="81425" y="59248"/>
                </a:lnTo>
                <a:lnTo>
                  <a:pt x="44988" y="100768"/>
                </a:lnTo>
                <a:lnTo>
                  <a:pt x="18323" y="150324"/>
                </a:lnTo>
                <a:lnTo>
                  <a:pt x="6776" y="186980"/>
                </a:lnTo>
                <a:lnTo>
                  <a:pt x="772" y="225940"/>
                </a:lnTo>
                <a:lnTo>
                  <a:pt x="0" y="246125"/>
                </a:lnTo>
                <a:lnTo>
                  <a:pt x="772" y="266311"/>
                </a:lnTo>
                <a:lnTo>
                  <a:pt x="6776" y="305271"/>
                </a:lnTo>
                <a:lnTo>
                  <a:pt x="18323" y="341927"/>
                </a:lnTo>
                <a:lnTo>
                  <a:pt x="44988" y="391483"/>
                </a:lnTo>
                <a:lnTo>
                  <a:pt x="81425" y="433003"/>
                </a:lnTo>
                <a:lnTo>
                  <a:pt x="126015" y="464779"/>
                </a:lnTo>
                <a:lnTo>
                  <a:pt x="177137" y="485098"/>
                </a:lnTo>
                <a:lnTo>
                  <a:pt x="233172" y="492251"/>
                </a:lnTo>
                <a:lnTo>
                  <a:pt x="252295" y="491436"/>
                </a:lnTo>
                <a:lnTo>
                  <a:pt x="306872" y="479703"/>
                </a:lnTo>
                <a:lnTo>
                  <a:pt x="355997" y="455375"/>
                </a:lnTo>
                <a:lnTo>
                  <a:pt x="398049" y="420162"/>
                </a:lnTo>
                <a:lnTo>
                  <a:pt x="431409" y="375773"/>
                </a:lnTo>
                <a:lnTo>
                  <a:pt x="454456" y="323919"/>
                </a:lnTo>
                <a:lnTo>
                  <a:pt x="463292" y="286048"/>
                </a:lnTo>
                <a:lnTo>
                  <a:pt x="466344" y="246125"/>
                </a:lnTo>
                <a:lnTo>
                  <a:pt x="465571" y="225940"/>
                </a:lnTo>
                <a:lnTo>
                  <a:pt x="459567" y="186980"/>
                </a:lnTo>
                <a:lnTo>
                  <a:pt x="448020" y="150324"/>
                </a:lnTo>
                <a:lnTo>
                  <a:pt x="421355" y="100768"/>
                </a:lnTo>
                <a:lnTo>
                  <a:pt x="384918" y="59248"/>
                </a:lnTo>
                <a:lnTo>
                  <a:pt x="340328" y="27472"/>
                </a:lnTo>
                <a:lnTo>
                  <a:pt x="289206" y="7153"/>
                </a:lnTo>
                <a:lnTo>
                  <a:pt x="233172" y="0"/>
                </a:lnTo>
                <a:close/>
              </a:path>
            </a:pathLst>
          </a:custGeom>
          <a:solidFill>
            <a:srgbClr val="FFC000"/>
          </a:solidFill>
        </p:spPr>
        <p:txBody>
          <a:bodyPr wrap="square" lIns="0" tIns="0" rIns="0" bIns="0" rtlCol="0"/>
          <a:lstStyle/>
          <a:p>
            <a:endParaRPr dirty="0"/>
          </a:p>
        </p:txBody>
      </p:sp>
      <p:sp>
        <p:nvSpPr>
          <p:cNvPr id="23" name="object 23"/>
          <p:cNvSpPr/>
          <p:nvPr/>
        </p:nvSpPr>
        <p:spPr>
          <a:xfrm>
            <a:off x="7419625" y="2740151"/>
            <a:ext cx="396240" cy="417830"/>
          </a:xfrm>
          <a:custGeom>
            <a:avLst/>
            <a:gdLst/>
            <a:ahLst/>
            <a:cxnLst/>
            <a:rect l="l" t="t" r="r" b="b"/>
            <a:pathLst>
              <a:path w="396240" h="417830">
                <a:moveTo>
                  <a:pt x="198120" y="0"/>
                </a:moveTo>
                <a:lnTo>
                  <a:pt x="150507" y="6067"/>
                </a:lnTo>
                <a:lnTo>
                  <a:pt x="107070" y="23303"/>
                </a:lnTo>
                <a:lnTo>
                  <a:pt x="69183" y="50257"/>
                </a:lnTo>
                <a:lnTo>
                  <a:pt x="38224" y="85478"/>
                </a:lnTo>
                <a:lnTo>
                  <a:pt x="15568" y="127515"/>
                </a:lnTo>
                <a:lnTo>
                  <a:pt x="2592" y="174920"/>
                </a:lnTo>
                <a:lnTo>
                  <a:pt x="0" y="208787"/>
                </a:lnTo>
                <a:lnTo>
                  <a:pt x="656" y="225912"/>
                </a:lnTo>
                <a:lnTo>
                  <a:pt x="10099" y="274783"/>
                </a:lnTo>
                <a:lnTo>
                  <a:pt x="29681" y="318771"/>
                </a:lnTo>
                <a:lnTo>
                  <a:pt x="58026" y="356425"/>
                </a:lnTo>
                <a:lnTo>
                  <a:pt x="93756" y="386296"/>
                </a:lnTo>
                <a:lnTo>
                  <a:pt x="135497" y="406932"/>
                </a:lnTo>
                <a:lnTo>
                  <a:pt x="181870" y="416883"/>
                </a:lnTo>
                <a:lnTo>
                  <a:pt x="198120" y="417575"/>
                </a:lnTo>
                <a:lnTo>
                  <a:pt x="214369" y="416883"/>
                </a:lnTo>
                <a:lnTo>
                  <a:pt x="260742" y="406932"/>
                </a:lnTo>
                <a:lnTo>
                  <a:pt x="302483" y="386296"/>
                </a:lnTo>
                <a:lnTo>
                  <a:pt x="338213" y="356425"/>
                </a:lnTo>
                <a:lnTo>
                  <a:pt x="366558" y="318771"/>
                </a:lnTo>
                <a:lnTo>
                  <a:pt x="386140" y="274783"/>
                </a:lnTo>
                <a:lnTo>
                  <a:pt x="395583" y="225912"/>
                </a:lnTo>
                <a:lnTo>
                  <a:pt x="396240" y="208787"/>
                </a:lnTo>
                <a:lnTo>
                  <a:pt x="395583" y="191663"/>
                </a:lnTo>
                <a:lnTo>
                  <a:pt x="386140" y="142792"/>
                </a:lnTo>
                <a:lnTo>
                  <a:pt x="366558" y="98804"/>
                </a:lnTo>
                <a:lnTo>
                  <a:pt x="338213" y="61150"/>
                </a:lnTo>
                <a:lnTo>
                  <a:pt x="302483" y="31279"/>
                </a:lnTo>
                <a:lnTo>
                  <a:pt x="260742" y="10643"/>
                </a:lnTo>
                <a:lnTo>
                  <a:pt x="214369" y="692"/>
                </a:lnTo>
                <a:lnTo>
                  <a:pt x="198120" y="0"/>
                </a:lnTo>
                <a:close/>
              </a:path>
            </a:pathLst>
          </a:custGeom>
          <a:solidFill>
            <a:srgbClr val="F18B1B"/>
          </a:solidFill>
        </p:spPr>
        <p:txBody>
          <a:bodyPr wrap="square" lIns="0" tIns="0" rIns="0" bIns="0" rtlCol="0"/>
          <a:lstStyle/>
          <a:p>
            <a:endParaRPr dirty="0"/>
          </a:p>
        </p:txBody>
      </p:sp>
      <p:sp>
        <p:nvSpPr>
          <p:cNvPr id="24" name="object 24"/>
          <p:cNvSpPr/>
          <p:nvPr/>
        </p:nvSpPr>
        <p:spPr>
          <a:xfrm>
            <a:off x="7463822" y="2757493"/>
            <a:ext cx="307340" cy="261620"/>
          </a:xfrm>
          <a:custGeom>
            <a:avLst/>
            <a:gdLst/>
            <a:ahLst/>
            <a:cxnLst/>
            <a:rect l="l" t="t" r="r" b="b"/>
            <a:pathLst>
              <a:path w="307340" h="261619">
                <a:moveTo>
                  <a:pt x="139379" y="0"/>
                </a:moveTo>
                <a:lnTo>
                  <a:pt x="94858" y="9417"/>
                </a:lnTo>
                <a:lnTo>
                  <a:pt x="56539" y="28981"/>
                </a:lnTo>
                <a:lnTo>
                  <a:pt x="26542" y="56884"/>
                </a:lnTo>
                <a:lnTo>
                  <a:pt x="6989" y="91321"/>
                </a:lnTo>
                <a:lnTo>
                  <a:pt x="0" y="130486"/>
                </a:lnTo>
                <a:lnTo>
                  <a:pt x="119" y="135703"/>
                </a:lnTo>
                <a:lnTo>
                  <a:pt x="8467" y="173298"/>
                </a:lnTo>
                <a:lnTo>
                  <a:pt x="28782" y="206261"/>
                </a:lnTo>
                <a:lnTo>
                  <a:pt x="59409" y="232933"/>
                </a:lnTo>
                <a:lnTo>
                  <a:pt x="98692" y="251656"/>
                </a:lnTo>
                <a:lnTo>
                  <a:pt x="144973" y="260770"/>
                </a:lnTo>
                <a:lnTo>
                  <a:pt x="161670" y="261387"/>
                </a:lnTo>
                <a:lnTo>
                  <a:pt x="176728" y="260114"/>
                </a:lnTo>
                <a:lnTo>
                  <a:pt x="218846" y="249137"/>
                </a:lnTo>
                <a:lnTo>
                  <a:pt x="254888" y="228383"/>
                </a:lnTo>
                <a:lnTo>
                  <a:pt x="282933" y="199090"/>
                </a:lnTo>
                <a:lnTo>
                  <a:pt x="301058" y="162491"/>
                </a:lnTo>
                <a:lnTo>
                  <a:pt x="307344" y="119825"/>
                </a:lnTo>
                <a:lnTo>
                  <a:pt x="305442" y="107366"/>
                </a:lnTo>
                <a:lnTo>
                  <a:pt x="284607" y="62056"/>
                </a:lnTo>
                <a:lnTo>
                  <a:pt x="256443" y="34431"/>
                </a:lnTo>
                <a:lnTo>
                  <a:pt x="218974" y="13972"/>
                </a:lnTo>
                <a:lnTo>
                  <a:pt x="173501" y="2226"/>
                </a:lnTo>
                <a:lnTo>
                  <a:pt x="139379" y="0"/>
                </a:lnTo>
                <a:close/>
              </a:path>
            </a:pathLst>
          </a:custGeom>
          <a:solidFill>
            <a:srgbClr val="F18B1B"/>
          </a:solidFill>
        </p:spPr>
        <p:txBody>
          <a:bodyPr wrap="square" lIns="0" tIns="0" rIns="0" bIns="0" rtlCol="0"/>
          <a:lstStyle/>
          <a:p>
            <a:endParaRPr dirty="0"/>
          </a:p>
        </p:txBody>
      </p:sp>
      <p:sp>
        <p:nvSpPr>
          <p:cNvPr id="25" name="object 25"/>
          <p:cNvSpPr txBox="1"/>
          <p:nvPr/>
        </p:nvSpPr>
        <p:spPr>
          <a:xfrm>
            <a:off x="7574133" y="2816321"/>
            <a:ext cx="87630" cy="207749"/>
          </a:xfrm>
          <a:prstGeom prst="rect">
            <a:avLst/>
          </a:prstGeom>
        </p:spPr>
        <p:txBody>
          <a:bodyPr vert="horz" wrap="square" lIns="0" tIns="0" rIns="0" bIns="0" rtlCol="0">
            <a:spAutoFit/>
          </a:bodyPr>
          <a:lstStyle/>
          <a:p>
            <a:pPr>
              <a:lnSpc>
                <a:spcPct val="100000"/>
              </a:lnSpc>
            </a:pPr>
            <a:r>
              <a:rPr sz="1350" b="1" dirty="0">
                <a:latin typeface="Calibri"/>
                <a:cs typeface="Calibri"/>
              </a:rPr>
              <a:t>8</a:t>
            </a:r>
            <a:endParaRPr sz="1350" dirty="0">
              <a:latin typeface="Calibri"/>
              <a:cs typeface="Calibri"/>
            </a:endParaRPr>
          </a:p>
        </p:txBody>
      </p:sp>
      <p:sp>
        <p:nvSpPr>
          <p:cNvPr id="26" name="object 26"/>
          <p:cNvSpPr/>
          <p:nvPr/>
        </p:nvSpPr>
        <p:spPr>
          <a:xfrm>
            <a:off x="8067326" y="2042161"/>
            <a:ext cx="492759" cy="490855"/>
          </a:xfrm>
          <a:custGeom>
            <a:avLst/>
            <a:gdLst/>
            <a:ahLst/>
            <a:cxnLst/>
            <a:rect l="l" t="t" r="r" b="b"/>
            <a:pathLst>
              <a:path w="492759" h="490855">
                <a:moveTo>
                  <a:pt x="246126" y="0"/>
                </a:moveTo>
                <a:lnTo>
                  <a:pt x="206203" y="3211"/>
                </a:lnTo>
                <a:lnTo>
                  <a:pt x="168332" y="12508"/>
                </a:lnTo>
                <a:lnTo>
                  <a:pt x="133018" y="27387"/>
                </a:lnTo>
                <a:lnTo>
                  <a:pt x="85951" y="59064"/>
                </a:lnTo>
                <a:lnTo>
                  <a:pt x="47489" y="100455"/>
                </a:lnTo>
                <a:lnTo>
                  <a:pt x="19342" y="149858"/>
                </a:lnTo>
                <a:lnTo>
                  <a:pt x="7153" y="186400"/>
                </a:lnTo>
                <a:lnTo>
                  <a:pt x="815" y="225240"/>
                </a:lnTo>
                <a:lnTo>
                  <a:pt x="0" y="245363"/>
                </a:lnTo>
                <a:lnTo>
                  <a:pt x="815" y="265487"/>
                </a:lnTo>
                <a:lnTo>
                  <a:pt x="7153" y="304327"/>
                </a:lnTo>
                <a:lnTo>
                  <a:pt x="19342" y="340869"/>
                </a:lnTo>
                <a:lnTo>
                  <a:pt x="47489" y="390272"/>
                </a:lnTo>
                <a:lnTo>
                  <a:pt x="85951" y="431663"/>
                </a:lnTo>
                <a:lnTo>
                  <a:pt x="133018" y="463340"/>
                </a:lnTo>
                <a:lnTo>
                  <a:pt x="168332" y="478219"/>
                </a:lnTo>
                <a:lnTo>
                  <a:pt x="206203" y="487516"/>
                </a:lnTo>
                <a:lnTo>
                  <a:pt x="246126" y="490727"/>
                </a:lnTo>
                <a:lnTo>
                  <a:pt x="266311" y="489914"/>
                </a:lnTo>
                <a:lnTo>
                  <a:pt x="305271" y="483596"/>
                </a:lnTo>
                <a:lnTo>
                  <a:pt x="341927" y="471445"/>
                </a:lnTo>
                <a:lnTo>
                  <a:pt x="391483" y="443386"/>
                </a:lnTo>
                <a:lnTo>
                  <a:pt x="433003" y="405043"/>
                </a:lnTo>
                <a:lnTo>
                  <a:pt x="464779" y="358122"/>
                </a:lnTo>
                <a:lnTo>
                  <a:pt x="479703" y="322917"/>
                </a:lnTo>
                <a:lnTo>
                  <a:pt x="489030" y="285162"/>
                </a:lnTo>
                <a:lnTo>
                  <a:pt x="492252" y="245363"/>
                </a:lnTo>
                <a:lnTo>
                  <a:pt x="491436" y="225240"/>
                </a:lnTo>
                <a:lnTo>
                  <a:pt x="485098" y="186400"/>
                </a:lnTo>
                <a:lnTo>
                  <a:pt x="472909" y="149858"/>
                </a:lnTo>
                <a:lnTo>
                  <a:pt x="444762" y="100455"/>
                </a:lnTo>
                <a:lnTo>
                  <a:pt x="406300" y="59064"/>
                </a:lnTo>
                <a:lnTo>
                  <a:pt x="359233" y="27387"/>
                </a:lnTo>
                <a:lnTo>
                  <a:pt x="323919" y="12508"/>
                </a:lnTo>
                <a:lnTo>
                  <a:pt x="286048" y="3211"/>
                </a:lnTo>
                <a:lnTo>
                  <a:pt x="246126" y="0"/>
                </a:lnTo>
                <a:close/>
              </a:path>
            </a:pathLst>
          </a:custGeom>
          <a:solidFill>
            <a:srgbClr val="FFC000"/>
          </a:solidFill>
        </p:spPr>
        <p:txBody>
          <a:bodyPr wrap="square" lIns="0" tIns="0" rIns="0" bIns="0" rtlCol="0"/>
          <a:lstStyle/>
          <a:p>
            <a:endParaRPr dirty="0"/>
          </a:p>
        </p:txBody>
      </p:sp>
      <p:sp>
        <p:nvSpPr>
          <p:cNvPr id="27" name="object 27"/>
          <p:cNvSpPr/>
          <p:nvPr/>
        </p:nvSpPr>
        <p:spPr>
          <a:xfrm>
            <a:off x="8103901" y="2078735"/>
            <a:ext cx="419100" cy="417830"/>
          </a:xfrm>
          <a:custGeom>
            <a:avLst/>
            <a:gdLst/>
            <a:ahLst/>
            <a:cxnLst/>
            <a:rect l="l" t="t" r="r" b="b"/>
            <a:pathLst>
              <a:path w="419100" h="417830">
                <a:moveTo>
                  <a:pt x="209550" y="0"/>
                </a:moveTo>
                <a:lnTo>
                  <a:pt x="159191" y="6067"/>
                </a:lnTo>
                <a:lnTo>
                  <a:pt x="113248" y="23303"/>
                </a:lnTo>
                <a:lnTo>
                  <a:pt x="73175" y="50257"/>
                </a:lnTo>
                <a:lnTo>
                  <a:pt x="40429" y="85478"/>
                </a:lnTo>
                <a:lnTo>
                  <a:pt x="16466" y="127515"/>
                </a:lnTo>
                <a:lnTo>
                  <a:pt x="2742" y="174920"/>
                </a:lnTo>
                <a:lnTo>
                  <a:pt x="0" y="208787"/>
                </a:lnTo>
                <a:lnTo>
                  <a:pt x="694" y="225912"/>
                </a:lnTo>
                <a:lnTo>
                  <a:pt x="10682" y="274783"/>
                </a:lnTo>
                <a:lnTo>
                  <a:pt x="31394" y="318771"/>
                </a:lnTo>
                <a:lnTo>
                  <a:pt x="61374" y="356425"/>
                </a:lnTo>
                <a:lnTo>
                  <a:pt x="99166" y="386296"/>
                </a:lnTo>
                <a:lnTo>
                  <a:pt x="143314" y="406932"/>
                </a:lnTo>
                <a:lnTo>
                  <a:pt x="192363" y="416883"/>
                </a:lnTo>
                <a:lnTo>
                  <a:pt x="209550" y="417575"/>
                </a:lnTo>
                <a:lnTo>
                  <a:pt x="226736" y="416883"/>
                </a:lnTo>
                <a:lnTo>
                  <a:pt x="275785" y="406932"/>
                </a:lnTo>
                <a:lnTo>
                  <a:pt x="319933" y="386296"/>
                </a:lnTo>
                <a:lnTo>
                  <a:pt x="357725" y="356425"/>
                </a:lnTo>
                <a:lnTo>
                  <a:pt x="387705" y="318771"/>
                </a:lnTo>
                <a:lnTo>
                  <a:pt x="408417" y="274783"/>
                </a:lnTo>
                <a:lnTo>
                  <a:pt x="418405" y="225912"/>
                </a:lnTo>
                <a:lnTo>
                  <a:pt x="419100" y="208787"/>
                </a:lnTo>
                <a:lnTo>
                  <a:pt x="418405" y="191663"/>
                </a:lnTo>
                <a:lnTo>
                  <a:pt x="408417" y="142792"/>
                </a:lnTo>
                <a:lnTo>
                  <a:pt x="387705" y="98804"/>
                </a:lnTo>
                <a:lnTo>
                  <a:pt x="357725" y="61150"/>
                </a:lnTo>
                <a:lnTo>
                  <a:pt x="319933" y="31279"/>
                </a:lnTo>
                <a:lnTo>
                  <a:pt x="275785" y="10643"/>
                </a:lnTo>
                <a:lnTo>
                  <a:pt x="226736" y="692"/>
                </a:lnTo>
                <a:lnTo>
                  <a:pt x="209550" y="0"/>
                </a:lnTo>
                <a:close/>
              </a:path>
            </a:pathLst>
          </a:custGeom>
          <a:solidFill>
            <a:srgbClr val="F18B1B"/>
          </a:solidFill>
        </p:spPr>
        <p:txBody>
          <a:bodyPr wrap="square" lIns="0" tIns="0" rIns="0" bIns="0" rtlCol="0"/>
          <a:lstStyle/>
          <a:p>
            <a:endParaRPr dirty="0"/>
          </a:p>
        </p:txBody>
      </p:sp>
      <p:sp>
        <p:nvSpPr>
          <p:cNvPr id="28" name="object 28"/>
          <p:cNvSpPr/>
          <p:nvPr/>
        </p:nvSpPr>
        <p:spPr>
          <a:xfrm>
            <a:off x="8151147" y="2097142"/>
            <a:ext cx="324485" cy="262255"/>
          </a:xfrm>
          <a:custGeom>
            <a:avLst/>
            <a:gdLst/>
            <a:ahLst/>
            <a:cxnLst/>
            <a:rect l="l" t="t" r="r" b="b"/>
            <a:pathLst>
              <a:path w="324484" h="262255">
                <a:moveTo>
                  <a:pt x="155358" y="0"/>
                </a:moveTo>
                <a:lnTo>
                  <a:pt x="108932" y="7133"/>
                </a:lnTo>
                <a:lnTo>
                  <a:pt x="68227" y="24131"/>
                </a:lnTo>
                <a:lnTo>
                  <a:pt x="35278" y="49352"/>
                </a:lnTo>
                <a:lnTo>
                  <a:pt x="12122" y="81152"/>
                </a:lnTo>
                <a:lnTo>
                  <a:pt x="795" y="117888"/>
                </a:lnTo>
                <a:lnTo>
                  <a:pt x="0" y="130946"/>
                </a:lnTo>
                <a:lnTo>
                  <a:pt x="156" y="136758"/>
                </a:lnTo>
                <a:lnTo>
                  <a:pt x="9060" y="174223"/>
                </a:lnTo>
                <a:lnTo>
                  <a:pt x="30133" y="207015"/>
                </a:lnTo>
                <a:lnTo>
                  <a:pt x="61395" y="233575"/>
                </a:lnTo>
                <a:lnTo>
                  <a:pt x="100813" y="252239"/>
                </a:lnTo>
                <a:lnTo>
                  <a:pt x="146366" y="261369"/>
                </a:lnTo>
                <a:lnTo>
                  <a:pt x="162564" y="262009"/>
                </a:lnTo>
                <a:lnTo>
                  <a:pt x="178174" y="261389"/>
                </a:lnTo>
                <a:lnTo>
                  <a:pt x="222201" y="252650"/>
                </a:lnTo>
                <a:lnTo>
                  <a:pt x="260587" y="234465"/>
                </a:lnTo>
                <a:lnTo>
                  <a:pt x="291482" y="207950"/>
                </a:lnTo>
                <a:lnTo>
                  <a:pt x="313047" y="174196"/>
                </a:lnTo>
                <a:lnTo>
                  <a:pt x="323401" y="134401"/>
                </a:lnTo>
                <a:lnTo>
                  <a:pt x="324049" y="119966"/>
                </a:lnTo>
                <a:lnTo>
                  <a:pt x="322020" y="107534"/>
                </a:lnTo>
                <a:lnTo>
                  <a:pt x="300316" y="62319"/>
                </a:lnTo>
                <a:lnTo>
                  <a:pt x="271476" y="34722"/>
                </a:lnTo>
                <a:lnTo>
                  <a:pt x="233700" y="14229"/>
                </a:lnTo>
                <a:lnTo>
                  <a:pt x="188636" y="2364"/>
                </a:lnTo>
                <a:lnTo>
                  <a:pt x="155358" y="0"/>
                </a:lnTo>
                <a:close/>
              </a:path>
            </a:pathLst>
          </a:custGeom>
          <a:solidFill>
            <a:srgbClr val="F18B1B"/>
          </a:solidFill>
        </p:spPr>
        <p:txBody>
          <a:bodyPr wrap="square" lIns="0" tIns="0" rIns="0" bIns="0" rtlCol="0"/>
          <a:lstStyle/>
          <a:p>
            <a:endParaRPr dirty="0"/>
          </a:p>
        </p:txBody>
      </p:sp>
      <p:sp>
        <p:nvSpPr>
          <p:cNvPr id="29" name="object 29"/>
          <p:cNvSpPr txBox="1"/>
          <p:nvPr/>
        </p:nvSpPr>
        <p:spPr>
          <a:xfrm>
            <a:off x="8269781" y="2155541"/>
            <a:ext cx="87630" cy="207749"/>
          </a:xfrm>
          <a:prstGeom prst="rect">
            <a:avLst/>
          </a:prstGeom>
        </p:spPr>
        <p:txBody>
          <a:bodyPr vert="horz" wrap="square" lIns="0" tIns="0" rIns="0" bIns="0" rtlCol="0">
            <a:spAutoFit/>
          </a:bodyPr>
          <a:lstStyle/>
          <a:p>
            <a:pPr>
              <a:lnSpc>
                <a:spcPct val="100000"/>
              </a:lnSpc>
            </a:pPr>
            <a:r>
              <a:rPr sz="1350" b="1" dirty="0">
                <a:latin typeface="Calibri"/>
                <a:cs typeface="Calibri"/>
              </a:rPr>
              <a:t>3</a:t>
            </a:r>
            <a:endParaRPr sz="1350" dirty="0">
              <a:latin typeface="Calibri"/>
              <a:cs typeface="Calibri"/>
            </a:endParaRPr>
          </a:p>
        </p:txBody>
      </p:sp>
      <p:sp>
        <p:nvSpPr>
          <p:cNvPr id="30" name="object 30"/>
          <p:cNvSpPr/>
          <p:nvPr/>
        </p:nvSpPr>
        <p:spPr>
          <a:xfrm>
            <a:off x="7146830" y="3398520"/>
            <a:ext cx="573405" cy="510540"/>
          </a:xfrm>
          <a:custGeom>
            <a:avLst/>
            <a:gdLst/>
            <a:ahLst/>
            <a:cxnLst/>
            <a:rect l="l" t="t" r="r" b="b"/>
            <a:pathLst>
              <a:path w="573404" h="510539">
                <a:moveTo>
                  <a:pt x="286512" y="0"/>
                </a:moveTo>
                <a:lnTo>
                  <a:pt x="240036" y="3341"/>
                </a:lnTo>
                <a:lnTo>
                  <a:pt x="195949" y="13013"/>
                </a:lnTo>
                <a:lnTo>
                  <a:pt x="154840" y="28492"/>
                </a:lnTo>
                <a:lnTo>
                  <a:pt x="117299" y="49252"/>
                </a:lnTo>
                <a:lnTo>
                  <a:pt x="83915" y="74766"/>
                </a:lnTo>
                <a:lnTo>
                  <a:pt x="55278" y="104510"/>
                </a:lnTo>
                <a:lnTo>
                  <a:pt x="31978" y="137958"/>
                </a:lnTo>
                <a:lnTo>
                  <a:pt x="14606" y="174584"/>
                </a:lnTo>
                <a:lnTo>
                  <a:pt x="3749" y="213863"/>
                </a:lnTo>
                <a:lnTo>
                  <a:pt x="0" y="255270"/>
                </a:lnTo>
                <a:lnTo>
                  <a:pt x="949" y="276206"/>
                </a:lnTo>
                <a:lnTo>
                  <a:pt x="8326" y="316614"/>
                </a:lnTo>
                <a:lnTo>
                  <a:pt x="22514" y="354633"/>
                </a:lnTo>
                <a:lnTo>
                  <a:pt x="42924" y="389735"/>
                </a:lnTo>
                <a:lnTo>
                  <a:pt x="68966" y="421397"/>
                </a:lnTo>
                <a:lnTo>
                  <a:pt x="100050" y="449092"/>
                </a:lnTo>
                <a:lnTo>
                  <a:pt x="135587" y="472294"/>
                </a:lnTo>
                <a:lnTo>
                  <a:pt x="174986" y="490479"/>
                </a:lnTo>
                <a:lnTo>
                  <a:pt x="217657" y="503121"/>
                </a:lnTo>
                <a:lnTo>
                  <a:pt x="263012" y="509693"/>
                </a:lnTo>
                <a:lnTo>
                  <a:pt x="286512" y="510540"/>
                </a:lnTo>
                <a:lnTo>
                  <a:pt x="310011" y="509693"/>
                </a:lnTo>
                <a:lnTo>
                  <a:pt x="355366" y="503121"/>
                </a:lnTo>
                <a:lnTo>
                  <a:pt x="398037" y="490479"/>
                </a:lnTo>
                <a:lnTo>
                  <a:pt x="437436" y="472294"/>
                </a:lnTo>
                <a:lnTo>
                  <a:pt x="472973" y="449092"/>
                </a:lnTo>
                <a:lnTo>
                  <a:pt x="504057" y="421397"/>
                </a:lnTo>
                <a:lnTo>
                  <a:pt x="530099" y="389735"/>
                </a:lnTo>
                <a:lnTo>
                  <a:pt x="550509" y="354633"/>
                </a:lnTo>
                <a:lnTo>
                  <a:pt x="564697" y="316614"/>
                </a:lnTo>
                <a:lnTo>
                  <a:pt x="572074" y="276206"/>
                </a:lnTo>
                <a:lnTo>
                  <a:pt x="573024" y="255270"/>
                </a:lnTo>
                <a:lnTo>
                  <a:pt x="572074" y="234333"/>
                </a:lnTo>
                <a:lnTo>
                  <a:pt x="564697" y="193925"/>
                </a:lnTo>
                <a:lnTo>
                  <a:pt x="550509" y="155906"/>
                </a:lnTo>
                <a:lnTo>
                  <a:pt x="530099" y="120804"/>
                </a:lnTo>
                <a:lnTo>
                  <a:pt x="504057" y="89142"/>
                </a:lnTo>
                <a:lnTo>
                  <a:pt x="472973" y="61447"/>
                </a:lnTo>
                <a:lnTo>
                  <a:pt x="437436" y="38245"/>
                </a:lnTo>
                <a:lnTo>
                  <a:pt x="398037" y="20060"/>
                </a:lnTo>
                <a:lnTo>
                  <a:pt x="355366" y="7418"/>
                </a:lnTo>
                <a:lnTo>
                  <a:pt x="310011" y="846"/>
                </a:lnTo>
                <a:lnTo>
                  <a:pt x="286512" y="0"/>
                </a:lnTo>
                <a:close/>
              </a:path>
            </a:pathLst>
          </a:custGeom>
          <a:solidFill>
            <a:srgbClr val="FFFF00"/>
          </a:solidFill>
        </p:spPr>
        <p:txBody>
          <a:bodyPr wrap="square" lIns="0" tIns="0" rIns="0" bIns="0" rtlCol="0"/>
          <a:lstStyle/>
          <a:p>
            <a:endParaRPr dirty="0"/>
          </a:p>
        </p:txBody>
      </p:sp>
      <p:sp>
        <p:nvSpPr>
          <p:cNvPr id="31" name="object 31"/>
          <p:cNvSpPr/>
          <p:nvPr/>
        </p:nvSpPr>
        <p:spPr>
          <a:xfrm>
            <a:off x="7189501" y="3436620"/>
            <a:ext cx="487680" cy="434340"/>
          </a:xfrm>
          <a:custGeom>
            <a:avLst/>
            <a:gdLst/>
            <a:ahLst/>
            <a:cxnLst/>
            <a:rect l="l" t="t" r="r" b="b"/>
            <a:pathLst>
              <a:path w="487679" h="434339">
                <a:moveTo>
                  <a:pt x="243840" y="0"/>
                </a:moveTo>
                <a:lnTo>
                  <a:pt x="204287" y="2842"/>
                </a:lnTo>
                <a:lnTo>
                  <a:pt x="166767" y="11071"/>
                </a:lnTo>
                <a:lnTo>
                  <a:pt x="115394" y="32537"/>
                </a:lnTo>
                <a:lnTo>
                  <a:pt x="71418" y="63607"/>
                </a:lnTo>
                <a:lnTo>
                  <a:pt x="36532" y="102774"/>
                </a:lnTo>
                <a:lnTo>
                  <a:pt x="12430" y="148527"/>
                </a:lnTo>
                <a:lnTo>
                  <a:pt x="808" y="199358"/>
                </a:lnTo>
                <a:lnTo>
                  <a:pt x="0" y="217170"/>
                </a:lnTo>
                <a:lnTo>
                  <a:pt x="808" y="234981"/>
                </a:lnTo>
                <a:lnTo>
                  <a:pt x="12430" y="285812"/>
                </a:lnTo>
                <a:lnTo>
                  <a:pt x="36532" y="331565"/>
                </a:lnTo>
                <a:lnTo>
                  <a:pt x="71418" y="370732"/>
                </a:lnTo>
                <a:lnTo>
                  <a:pt x="115394" y="401802"/>
                </a:lnTo>
                <a:lnTo>
                  <a:pt x="166767" y="423268"/>
                </a:lnTo>
                <a:lnTo>
                  <a:pt x="204287" y="431497"/>
                </a:lnTo>
                <a:lnTo>
                  <a:pt x="243840" y="434340"/>
                </a:lnTo>
                <a:lnTo>
                  <a:pt x="263838" y="433620"/>
                </a:lnTo>
                <a:lnTo>
                  <a:pt x="302438" y="428028"/>
                </a:lnTo>
                <a:lnTo>
                  <a:pt x="355899" y="410099"/>
                </a:lnTo>
                <a:lnTo>
                  <a:pt x="402529" y="382063"/>
                </a:lnTo>
                <a:lnTo>
                  <a:pt x="440633" y="345427"/>
                </a:lnTo>
                <a:lnTo>
                  <a:pt x="468518" y="301701"/>
                </a:lnTo>
                <a:lnTo>
                  <a:pt x="484488" y="252395"/>
                </a:lnTo>
                <a:lnTo>
                  <a:pt x="487680" y="217170"/>
                </a:lnTo>
                <a:lnTo>
                  <a:pt x="486871" y="199358"/>
                </a:lnTo>
                <a:lnTo>
                  <a:pt x="475249" y="148527"/>
                </a:lnTo>
                <a:lnTo>
                  <a:pt x="451147" y="102774"/>
                </a:lnTo>
                <a:lnTo>
                  <a:pt x="416261" y="63607"/>
                </a:lnTo>
                <a:lnTo>
                  <a:pt x="372285" y="32537"/>
                </a:lnTo>
                <a:lnTo>
                  <a:pt x="320912" y="11071"/>
                </a:lnTo>
                <a:lnTo>
                  <a:pt x="283392" y="2842"/>
                </a:lnTo>
                <a:lnTo>
                  <a:pt x="243840" y="0"/>
                </a:lnTo>
                <a:close/>
              </a:path>
            </a:pathLst>
          </a:custGeom>
          <a:solidFill>
            <a:srgbClr val="FFFF00"/>
          </a:solidFill>
        </p:spPr>
        <p:txBody>
          <a:bodyPr wrap="square" lIns="0" tIns="0" rIns="0" bIns="0" rtlCol="0"/>
          <a:lstStyle/>
          <a:p>
            <a:endParaRPr dirty="0"/>
          </a:p>
        </p:txBody>
      </p:sp>
      <p:sp>
        <p:nvSpPr>
          <p:cNvPr id="32" name="object 32"/>
          <p:cNvSpPr/>
          <p:nvPr/>
        </p:nvSpPr>
        <p:spPr>
          <a:xfrm>
            <a:off x="7175787" y="3442716"/>
            <a:ext cx="454659" cy="416559"/>
          </a:xfrm>
          <a:custGeom>
            <a:avLst/>
            <a:gdLst/>
            <a:ahLst/>
            <a:cxnLst/>
            <a:rect l="l" t="t" r="r" b="b"/>
            <a:pathLst>
              <a:path w="454659" h="416560">
                <a:moveTo>
                  <a:pt x="227076" y="0"/>
                </a:moveTo>
                <a:lnTo>
                  <a:pt x="172506" y="6046"/>
                </a:lnTo>
                <a:lnTo>
                  <a:pt x="122720" y="23220"/>
                </a:lnTo>
                <a:lnTo>
                  <a:pt x="79296" y="50077"/>
                </a:lnTo>
                <a:lnTo>
                  <a:pt x="43811" y="85170"/>
                </a:lnTo>
                <a:lnTo>
                  <a:pt x="17844" y="127055"/>
                </a:lnTo>
                <a:lnTo>
                  <a:pt x="2971" y="174284"/>
                </a:lnTo>
                <a:lnTo>
                  <a:pt x="0" y="208026"/>
                </a:lnTo>
                <a:lnTo>
                  <a:pt x="752" y="225086"/>
                </a:lnTo>
                <a:lnTo>
                  <a:pt x="11576" y="273776"/>
                </a:lnTo>
                <a:lnTo>
                  <a:pt x="34020" y="317602"/>
                </a:lnTo>
                <a:lnTo>
                  <a:pt x="66508" y="355120"/>
                </a:lnTo>
                <a:lnTo>
                  <a:pt x="107461" y="384883"/>
                </a:lnTo>
                <a:lnTo>
                  <a:pt x="155301" y="405446"/>
                </a:lnTo>
                <a:lnTo>
                  <a:pt x="208451" y="415362"/>
                </a:lnTo>
                <a:lnTo>
                  <a:pt x="227076" y="416052"/>
                </a:lnTo>
                <a:lnTo>
                  <a:pt x="245700" y="415362"/>
                </a:lnTo>
                <a:lnTo>
                  <a:pt x="298850" y="405446"/>
                </a:lnTo>
                <a:lnTo>
                  <a:pt x="346690" y="384883"/>
                </a:lnTo>
                <a:lnTo>
                  <a:pt x="387643" y="355120"/>
                </a:lnTo>
                <a:lnTo>
                  <a:pt x="420131" y="317602"/>
                </a:lnTo>
                <a:lnTo>
                  <a:pt x="442575" y="273776"/>
                </a:lnTo>
                <a:lnTo>
                  <a:pt x="453399" y="225086"/>
                </a:lnTo>
                <a:lnTo>
                  <a:pt x="454152" y="208026"/>
                </a:lnTo>
                <a:lnTo>
                  <a:pt x="453399" y="190965"/>
                </a:lnTo>
                <a:lnTo>
                  <a:pt x="442575" y="142275"/>
                </a:lnTo>
                <a:lnTo>
                  <a:pt x="420131" y="98449"/>
                </a:lnTo>
                <a:lnTo>
                  <a:pt x="387643" y="60931"/>
                </a:lnTo>
                <a:lnTo>
                  <a:pt x="346690" y="31168"/>
                </a:lnTo>
                <a:lnTo>
                  <a:pt x="298850" y="10605"/>
                </a:lnTo>
                <a:lnTo>
                  <a:pt x="245700" y="689"/>
                </a:lnTo>
                <a:lnTo>
                  <a:pt x="227076" y="0"/>
                </a:lnTo>
                <a:close/>
              </a:path>
            </a:pathLst>
          </a:custGeom>
          <a:solidFill>
            <a:srgbClr val="FFFF00"/>
          </a:solidFill>
        </p:spPr>
        <p:txBody>
          <a:bodyPr wrap="square" lIns="0" tIns="0" rIns="0" bIns="0" rtlCol="0"/>
          <a:lstStyle/>
          <a:p>
            <a:endParaRPr dirty="0"/>
          </a:p>
        </p:txBody>
      </p:sp>
      <p:sp>
        <p:nvSpPr>
          <p:cNvPr id="33" name="object 33"/>
          <p:cNvSpPr txBox="1"/>
          <p:nvPr/>
        </p:nvSpPr>
        <p:spPr>
          <a:xfrm>
            <a:off x="7336857" y="3598249"/>
            <a:ext cx="277752" cy="207749"/>
          </a:xfrm>
          <a:prstGeom prst="rect">
            <a:avLst/>
          </a:prstGeom>
        </p:spPr>
        <p:txBody>
          <a:bodyPr vert="horz" wrap="square" lIns="0" tIns="0" rIns="0" bIns="0" rtlCol="0">
            <a:spAutoFit/>
          </a:bodyPr>
          <a:lstStyle/>
          <a:p>
            <a:pPr>
              <a:lnSpc>
                <a:spcPct val="100000"/>
              </a:lnSpc>
            </a:pPr>
            <a:r>
              <a:rPr sz="1350" b="1" dirty="0">
                <a:latin typeface="Calibri"/>
                <a:cs typeface="Calibri"/>
              </a:rPr>
              <a:t>10</a:t>
            </a:r>
          </a:p>
        </p:txBody>
      </p:sp>
      <p:sp>
        <p:nvSpPr>
          <p:cNvPr id="34" name="object 34"/>
          <p:cNvSpPr/>
          <p:nvPr/>
        </p:nvSpPr>
        <p:spPr>
          <a:xfrm>
            <a:off x="9345962" y="2485645"/>
            <a:ext cx="501396" cy="492251"/>
          </a:xfrm>
          <a:prstGeom prst="rect">
            <a:avLst/>
          </a:prstGeom>
          <a:blipFill>
            <a:blip r:embed="rId6" cstate="print"/>
            <a:stretch>
              <a:fillRect/>
            </a:stretch>
          </a:blipFill>
        </p:spPr>
        <p:txBody>
          <a:bodyPr wrap="square" lIns="0" tIns="0" rIns="0" bIns="0" rtlCol="0"/>
          <a:lstStyle/>
          <a:p>
            <a:endParaRPr dirty="0"/>
          </a:p>
        </p:txBody>
      </p:sp>
      <p:sp>
        <p:nvSpPr>
          <p:cNvPr id="35" name="object 35"/>
          <p:cNvSpPr/>
          <p:nvPr/>
        </p:nvSpPr>
        <p:spPr>
          <a:xfrm>
            <a:off x="9384062" y="2522220"/>
            <a:ext cx="425450" cy="419100"/>
          </a:xfrm>
          <a:custGeom>
            <a:avLst/>
            <a:gdLst/>
            <a:ahLst/>
            <a:cxnLst/>
            <a:rect l="l" t="t" r="r" b="b"/>
            <a:pathLst>
              <a:path w="425450" h="419100">
                <a:moveTo>
                  <a:pt x="212597" y="0"/>
                </a:moveTo>
                <a:lnTo>
                  <a:pt x="161509" y="6089"/>
                </a:lnTo>
                <a:lnTo>
                  <a:pt x="114898" y="23388"/>
                </a:lnTo>
                <a:lnTo>
                  <a:pt x="74242" y="50441"/>
                </a:lnTo>
                <a:lnTo>
                  <a:pt x="41019" y="85790"/>
                </a:lnTo>
                <a:lnTo>
                  <a:pt x="16707" y="127982"/>
                </a:lnTo>
                <a:lnTo>
                  <a:pt x="2782" y="175558"/>
                </a:lnTo>
                <a:lnTo>
                  <a:pt x="0" y="209550"/>
                </a:lnTo>
                <a:lnTo>
                  <a:pt x="704" y="226736"/>
                </a:lnTo>
                <a:lnTo>
                  <a:pt x="10838" y="275785"/>
                </a:lnTo>
                <a:lnTo>
                  <a:pt x="31852" y="319933"/>
                </a:lnTo>
                <a:lnTo>
                  <a:pt x="62269" y="357725"/>
                </a:lnTo>
                <a:lnTo>
                  <a:pt x="100611" y="387705"/>
                </a:lnTo>
                <a:lnTo>
                  <a:pt x="145401" y="408417"/>
                </a:lnTo>
                <a:lnTo>
                  <a:pt x="195162" y="418405"/>
                </a:lnTo>
                <a:lnTo>
                  <a:pt x="212597" y="419100"/>
                </a:lnTo>
                <a:lnTo>
                  <a:pt x="230033" y="418405"/>
                </a:lnTo>
                <a:lnTo>
                  <a:pt x="279794" y="408417"/>
                </a:lnTo>
                <a:lnTo>
                  <a:pt x="324584" y="387705"/>
                </a:lnTo>
                <a:lnTo>
                  <a:pt x="362926" y="357725"/>
                </a:lnTo>
                <a:lnTo>
                  <a:pt x="393343" y="319933"/>
                </a:lnTo>
                <a:lnTo>
                  <a:pt x="414357" y="275785"/>
                </a:lnTo>
                <a:lnTo>
                  <a:pt x="424491" y="226736"/>
                </a:lnTo>
                <a:lnTo>
                  <a:pt x="425195" y="209550"/>
                </a:lnTo>
                <a:lnTo>
                  <a:pt x="424491" y="192363"/>
                </a:lnTo>
                <a:lnTo>
                  <a:pt x="414357" y="143314"/>
                </a:lnTo>
                <a:lnTo>
                  <a:pt x="393343" y="99166"/>
                </a:lnTo>
                <a:lnTo>
                  <a:pt x="362926" y="61374"/>
                </a:lnTo>
                <a:lnTo>
                  <a:pt x="324584" y="31394"/>
                </a:lnTo>
                <a:lnTo>
                  <a:pt x="279794" y="10682"/>
                </a:lnTo>
                <a:lnTo>
                  <a:pt x="230033" y="694"/>
                </a:lnTo>
                <a:lnTo>
                  <a:pt x="212597" y="0"/>
                </a:lnTo>
                <a:close/>
              </a:path>
            </a:pathLst>
          </a:custGeom>
          <a:solidFill>
            <a:srgbClr val="FF0000"/>
          </a:solidFill>
        </p:spPr>
        <p:txBody>
          <a:bodyPr wrap="square" lIns="0" tIns="0" rIns="0" bIns="0" rtlCol="0"/>
          <a:lstStyle/>
          <a:p>
            <a:endParaRPr dirty="0"/>
          </a:p>
        </p:txBody>
      </p:sp>
      <p:sp>
        <p:nvSpPr>
          <p:cNvPr id="36" name="object 36"/>
          <p:cNvSpPr/>
          <p:nvPr/>
        </p:nvSpPr>
        <p:spPr>
          <a:xfrm>
            <a:off x="9431431" y="2631276"/>
            <a:ext cx="330835" cy="342436"/>
          </a:xfrm>
          <a:custGeom>
            <a:avLst/>
            <a:gdLst/>
            <a:ahLst/>
            <a:cxnLst/>
            <a:rect l="l" t="t" r="r" b="b"/>
            <a:pathLst>
              <a:path w="330834" h="261619">
                <a:moveTo>
                  <a:pt x="155178" y="0"/>
                </a:moveTo>
                <a:lnTo>
                  <a:pt x="108671" y="7627"/>
                </a:lnTo>
                <a:lnTo>
                  <a:pt x="67963" y="24821"/>
                </a:lnTo>
                <a:lnTo>
                  <a:pt x="35056" y="49992"/>
                </a:lnTo>
                <a:lnTo>
                  <a:pt x="11956" y="81552"/>
                </a:lnTo>
                <a:lnTo>
                  <a:pt x="69" y="127658"/>
                </a:lnTo>
                <a:lnTo>
                  <a:pt x="0" y="135963"/>
                </a:lnTo>
                <a:lnTo>
                  <a:pt x="1315" y="148163"/>
                </a:lnTo>
                <a:lnTo>
                  <a:pt x="20012" y="193003"/>
                </a:lnTo>
                <a:lnTo>
                  <a:pt x="46733" y="221037"/>
                </a:lnTo>
                <a:lnTo>
                  <a:pt x="82868" y="242742"/>
                </a:lnTo>
                <a:lnTo>
                  <a:pt x="126953" y="256685"/>
                </a:lnTo>
                <a:lnTo>
                  <a:pt x="177738" y="261520"/>
                </a:lnTo>
                <a:lnTo>
                  <a:pt x="193541" y="259972"/>
                </a:lnTo>
                <a:lnTo>
                  <a:pt x="237681" y="248599"/>
                </a:lnTo>
                <a:lnTo>
                  <a:pt x="275400" y="228246"/>
                </a:lnTo>
                <a:lnTo>
                  <a:pt x="304748" y="200349"/>
                </a:lnTo>
                <a:lnTo>
                  <a:pt x="323776" y="166341"/>
                </a:lnTo>
                <a:lnTo>
                  <a:pt x="330535" y="127658"/>
                </a:lnTo>
                <a:lnTo>
                  <a:pt x="329430" y="115295"/>
                </a:lnTo>
                <a:lnTo>
                  <a:pt x="311316" y="69799"/>
                </a:lnTo>
                <a:lnTo>
                  <a:pt x="284878" y="41307"/>
                </a:lnTo>
                <a:lnTo>
                  <a:pt x="249061" y="19226"/>
                </a:lnTo>
                <a:lnTo>
                  <a:pt x="205337" y="4982"/>
                </a:lnTo>
                <a:lnTo>
                  <a:pt x="155178" y="0"/>
                </a:lnTo>
                <a:close/>
              </a:path>
            </a:pathLst>
          </a:custGeom>
          <a:solidFill>
            <a:srgbClr val="FF0000"/>
          </a:solidFill>
        </p:spPr>
        <p:txBody>
          <a:bodyPr wrap="square" lIns="0" tIns="0" rIns="0" bIns="0" rtlCol="0"/>
          <a:lstStyle/>
          <a:p>
            <a:pPr algn="ctr">
              <a:lnSpc>
                <a:spcPct val="100000"/>
              </a:lnSpc>
            </a:pPr>
            <a:r>
              <a:rPr lang="en-ZA" sz="1350" b="1" dirty="0">
                <a:solidFill>
                  <a:srgbClr val="FFFFFF"/>
                </a:solidFill>
                <a:latin typeface="Calibri"/>
                <a:cs typeface="Calibri"/>
              </a:rPr>
              <a:t>1</a:t>
            </a:r>
            <a:endParaRPr lang="en-ZA" sz="1350" dirty="0">
              <a:latin typeface="Calibri"/>
              <a:cs typeface="Calibri"/>
            </a:endParaRPr>
          </a:p>
        </p:txBody>
      </p:sp>
      <p:sp>
        <p:nvSpPr>
          <p:cNvPr id="37" name="object 37"/>
          <p:cNvSpPr/>
          <p:nvPr/>
        </p:nvSpPr>
        <p:spPr>
          <a:xfrm>
            <a:off x="7928641" y="3938015"/>
            <a:ext cx="447040" cy="489584"/>
          </a:xfrm>
          <a:custGeom>
            <a:avLst/>
            <a:gdLst/>
            <a:ahLst/>
            <a:cxnLst/>
            <a:rect l="l" t="t" r="r" b="b"/>
            <a:pathLst>
              <a:path w="447040" h="489585">
                <a:moveTo>
                  <a:pt x="223265" y="0"/>
                </a:moveTo>
                <a:lnTo>
                  <a:pt x="169613" y="7108"/>
                </a:lnTo>
                <a:lnTo>
                  <a:pt x="120663" y="27302"/>
                </a:lnTo>
                <a:lnTo>
                  <a:pt x="77967" y="58880"/>
                </a:lnTo>
                <a:lnTo>
                  <a:pt x="43077" y="100143"/>
                </a:lnTo>
                <a:lnTo>
                  <a:pt x="17545" y="149391"/>
                </a:lnTo>
                <a:lnTo>
                  <a:pt x="2922" y="204926"/>
                </a:lnTo>
                <a:lnTo>
                  <a:pt x="0" y="244601"/>
                </a:lnTo>
                <a:lnTo>
                  <a:pt x="740" y="264663"/>
                </a:lnTo>
                <a:lnTo>
                  <a:pt x="6488" y="303382"/>
                </a:lnTo>
                <a:lnTo>
                  <a:pt x="24920" y="357010"/>
                </a:lnTo>
                <a:lnTo>
                  <a:pt x="53744" y="403786"/>
                </a:lnTo>
                <a:lnTo>
                  <a:pt x="91408" y="442009"/>
                </a:lnTo>
                <a:lnTo>
                  <a:pt x="136361" y="469981"/>
                </a:lnTo>
                <a:lnTo>
                  <a:pt x="187051" y="486002"/>
                </a:lnTo>
                <a:lnTo>
                  <a:pt x="223265" y="489203"/>
                </a:lnTo>
                <a:lnTo>
                  <a:pt x="241576" y="488393"/>
                </a:lnTo>
                <a:lnTo>
                  <a:pt x="293834" y="476734"/>
                </a:lnTo>
                <a:lnTo>
                  <a:pt x="340872" y="452556"/>
                </a:lnTo>
                <a:lnTo>
                  <a:pt x="381138" y="417561"/>
                </a:lnTo>
                <a:lnTo>
                  <a:pt x="413081" y="373447"/>
                </a:lnTo>
                <a:lnTo>
                  <a:pt x="435149" y="321915"/>
                </a:lnTo>
                <a:lnTo>
                  <a:pt x="443609" y="284277"/>
                </a:lnTo>
                <a:lnTo>
                  <a:pt x="446531" y="244601"/>
                </a:lnTo>
                <a:lnTo>
                  <a:pt x="445791" y="224540"/>
                </a:lnTo>
                <a:lnTo>
                  <a:pt x="440043" y="185821"/>
                </a:lnTo>
                <a:lnTo>
                  <a:pt x="421611" y="132193"/>
                </a:lnTo>
                <a:lnTo>
                  <a:pt x="392787" y="85417"/>
                </a:lnTo>
                <a:lnTo>
                  <a:pt x="355123" y="47194"/>
                </a:lnTo>
                <a:lnTo>
                  <a:pt x="310170" y="19222"/>
                </a:lnTo>
                <a:lnTo>
                  <a:pt x="259480" y="3201"/>
                </a:lnTo>
                <a:lnTo>
                  <a:pt x="223265" y="0"/>
                </a:lnTo>
                <a:close/>
              </a:path>
            </a:pathLst>
          </a:custGeom>
          <a:solidFill>
            <a:srgbClr val="FFC000"/>
          </a:solidFill>
        </p:spPr>
        <p:txBody>
          <a:bodyPr wrap="square" lIns="0" tIns="0" rIns="0" bIns="0" rtlCol="0"/>
          <a:lstStyle/>
          <a:p>
            <a:endParaRPr dirty="0"/>
          </a:p>
        </p:txBody>
      </p:sp>
      <p:sp>
        <p:nvSpPr>
          <p:cNvPr id="38" name="object 38"/>
          <p:cNvSpPr/>
          <p:nvPr/>
        </p:nvSpPr>
        <p:spPr>
          <a:xfrm>
            <a:off x="7962170" y="3974592"/>
            <a:ext cx="379730" cy="416559"/>
          </a:xfrm>
          <a:custGeom>
            <a:avLst/>
            <a:gdLst/>
            <a:ahLst/>
            <a:cxnLst/>
            <a:rect l="l" t="t" r="r" b="b"/>
            <a:pathLst>
              <a:path w="379729" h="416560">
                <a:moveTo>
                  <a:pt x="189738" y="0"/>
                </a:moveTo>
                <a:lnTo>
                  <a:pt x="144142" y="6046"/>
                </a:lnTo>
                <a:lnTo>
                  <a:pt x="102543" y="23220"/>
                </a:lnTo>
                <a:lnTo>
                  <a:pt x="66259" y="50077"/>
                </a:lnTo>
                <a:lnTo>
                  <a:pt x="36608" y="85170"/>
                </a:lnTo>
                <a:lnTo>
                  <a:pt x="14910" y="127055"/>
                </a:lnTo>
                <a:lnTo>
                  <a:pt x="2483" y="174284"/>
                </a:lnTo>
                <a:lnTo>
                  <a:pt x="0" y="208025"/>
                </a:lnTo>
                <a:lnTo>
                  <a:pt x="628" y="225086"/>
                </a:lnTo>
                <a:lnTo>
                  <a:pt x="9673" y="273776"/>
                </a:lnTo>
                <a:lnTo>
                  <a:pt x="28427" y="317602"/>
                </a:lnTo>
                <a:lnTo>
                  <a:pt x="55573" y="355120"/>
                </a:lnTo>
                <a:lnTo>
                  <a:pt x="89792" y="384883"/>
                </a:lnTo>
                <a:lnTo>
                  <a:pt x="129766" y="405446"/>
                </a:lnTo>
                <a:lnTo>
                  <a:pt x="174176" y="415362"/>
                </a:lnTo>
                <a:lnTo>
                  <a:pt x="189738" y="416051"/>
                </a:lnTo>
                <a:lnTo>
                  <a:pt x="205299" y="415362"/>
                </a:lnTo>
                <a:lnTo>
                  <a:pt x="249709" y="405446"/>
                </a:lnTo>
                <a:lnTo>
                  <a:pt x="289683" y="384883"/>
                </a:lnTo>
                <a:lnTo>
                  <a:pt x="323902" y="355120"/>
                </a:lnTo>
                <a:lnTo>
                  <a:pt x="351048" y="317602"/>
                </a:lnTo>
                <a:lnTo>
                  <a:pt x="369802" y="273776"/>
                </a:lnTo>
                <a:lnTo>
                  <a:pt x="378847" y="225086"/>
                </a:lnTo>
                <a:lnTo>
                  <a:pt x="379476" y="208025"/>
                </a:lnTo>
                <a:lnTo>
                  <a:pt x="378847" y="190965"/>
                </a:lnTo>
                <a:lnTo>
                  <a:pt x="369802" y="142275"/>
                </a:lnTo>
                <a:lnTo>
                  <a:pt x="351048" y="98449"/>
                </a:lnTo>
                <a:lnTo>
                  <a:pt x="323902" y="60931"/>
                </a:lnTo>
                <a:lnTo>
                  <a:pt x="289683" y="31168"/>
                </a:lnTo>
                <a:lnTo>
                  <a:pt x="249709" y="10605"/>
                </a:lnTo>
                <a:lnTo>
                  <a:pt x="205299" y="689"/>
                </a:lnTo>
                <a:lnTo>
                  <a:pt x="189738" y="0"/>
                </a:lnTo>
                <a:close/>
              </a:path>
            </a:pathLst>
          </a:custGeom>
          <a:solidFill>
            <a:srgbClr val="F18B1B"/>
          </a:solidFill>
        </p:spPr>
        <p:txBody>
          <a:bodyPr wrap="square" lIns="0" tIns="0" rIns="0" bIns="0" rtlCol="0"/>
          <a:lstStyle/>
          <a:p>
            <a:endParaRPr dirty="0"/>
          </a:p>
        </p:txBody>
      </p:sp>
      <p:sp>
        <p:nvSpPr>
          <p:cNvPr id="39" name="object 39"/>
          <p:cNvSpPr/>
          <p:nvPr/>
        </p:nvSpPr>
        <p:spPr>
          <a:xfrm>
            <a:off x="8003333" y="3991579"/>
            <a:ext cx="295910" cy="262255"/>
          </a:xfrm>
          <a:custGeom>
            <a:avLst/>
            <a:gdLst/>
            <a:ahLst/>
            <a:cxnLst/>
            <a:rect l="l" t="t" r="r" b="b"/>
            <a:pathLst>
              <a:path w="295909" h="262254">
                <a:moveTo>
                  <a:pt x="139117" y="0"/>
                </a:moveTo>
                <a:lnTo>
                  <a:pt x="94849" y="8438"/>
                </a:lnTo>
                <a:lnTo>
                  <a:pt x="56619" y="27676"/>
                </a:lnTo>
                <a:lnTo>
                  <a:pt x="26610" y="55779"/>
                </a:lnTo>
                <a:lnTo>
                  <a:pt x="7004" y="90812"/>
                </a:lnTo>
                <a:lnTo>
                  <a:pt x="52" y="129680"/>
                </a:lnTo>
                <a:lnTo>
                  <a:pt x="0" y="132768"/>
                </a:lnTo>
                <a:lnTo>
                  <a:pt x="965" y="146001"/>
                </a:lnTo>
                <a:lnTo>
                  <a:pt x="12368" y="183105"/>
                </a:lnTo>
                <a:lnTo>
                  <a:pt x="35297" y="214962"/>
                </a:lnTo>
                <a:lnTo>
                  <a:pt x="68171" y="239830"/>
                </a:lnTo>
                <a:lnTo>
                  <a:pt x="109404" y="255967"/>
                </a:lnTo>
                <a:lnTo>
                  <a:pt x="157417" y="261632"/>
                </a:lnTo>
                <a:lnTo>
                  <a:pt x="172623" y="260066"/>
                </a:lnTo>
                <a:lnTo>
                  <a:pt x="214863" y="247651"/>
                </a:lnTo>
                <a:lnTo>
                  <a:pt x="250358" y="225112"/>
                </a:lnTo>
                <a:lnTo>
                  <a:pt x="276952" y="194312"/>
                </a:lnTo>
                <a:lnTo>
                  <a:pt x="292486" y="157114"/>
                </a:lnTo>
                <a:lnTo>
                  <a:pt x="295634" y="129680"/>
                </a:lnTo>
                <a:lnTo>
                  <a:pt x="294748" y="116380"/>
                </a:lnTo>
                <a:lnTo>
                  <a:pt x="283518" y="79072"/>
                </a:lnTo>
                <a:lnTo>
                  <a:pt x="260705" y="47022"/>
                </a:lnTo>
                <a:lnTo>
                  <a:pt x="227944" y="21988"/>
                </a:lnTo>
                <a:lnTo>
                  <a:pt x="186869" y="5727"/>
                </a:lnTo>
                <a:lnTo>
                  <a:pt x="139117" y="0"/>
                </a:lnTo>
                <a:close/>
              </a:path>
            </a:pathLst>
          </a:custGeom>
          <a:solidFill>
            <a:srgbClr val="F18B1B"/>
          </a:solidFill>
        </p:spPr>
        <p:txBody>
          <a:bodyPr wrap="square" lIns="0" tIns="0" rIns="0" bIns="0" rtlCol="0"/>
          <a:lstStyle/>
          <a:p>
            <a:endParaRPr dirty="0"/>
          </a:p>
        </p:txBody>
      </p:sp>
      <p:sp>
        <p:nvSpPr>
          <p:cNvPr id="40" name="object 40"/>
          <p:cNvSpPr/>
          <p:nvPr/>
        </p:nvSpPr>
        <p:spPr>
          <a:xfrm>
            <a:off x="10488962" y="2793492"/>
            <a:ext cx="538480" cy="472440"/>
          </a:xfrm>
          <a:custGeom>
            <a:avLst/>
            <a:gdLst/>
            <a:ahLst/>
            <a:cxnLst/>
            <a:rect l="l" t="t" r="r" b="b"/>
            <a:pathLst>
              <a:path w="538479" h="472439">
                <a:moveTo>
                  <a:pt x="268986" y="0"/>
                </a:moveTo>
                <a:lnTo>
                  <a:pt x="225356" y="3091"/>
                </a:lnTo>
                <a:lnTo>
                  <a:pt x="183967" y="12043"/>
                </a:lnTo>
                <a:lnTo>
                  <a:pt x="145373" y="26367"/>
                </a:lnTo>
                <a:lnTo>
                  <a:pt x="110128" y="45578"/>
                </a:lnTo>
                <a:lnTo>
                  <a:pt x="78786" y="69189"/>
                </a:lnTo>
                <a:lnTo>
                  <a:pt x="51900" y="96714"/>
                </a:lnTo>
                <a:lnTo>
                  <a:pt x="21138" y="144275"/>
                </a:lnTo>
                <a:lnTo>
                  <a:pt x="3520" y="197905"/>
                </a:lnTo>
                <a:lnTo>
                  <a:pt x="0" y="236220"/>
                </a:lnTo>
                <a:lnTo>
                  <a:pt x="891" y="255592"/>
                </a:lnTo>
                <a:lnTo>
                  <a:pt x="13713" y="310881"/>
                </a:lnTo>
                <a:lnTo>
                  <a:pt x="40301" y="360647"/>
                </a:lnTo>
                <a:lnTo>
                  <a:pt x="64751" y="389946"/>
                </a:lnTo>
                <a:lnTo>
                  <a:pt x="93934" y="415575"/>
                </a:lnTo>
                <a:lnTo>
                  <a:pt x="127297" y="437047"/>
                </a:lnTo>
                <a:lnTo>
                  <a:pt x="164286" y="453875"/>
                </a:lnTo>
                <a:lnTo>
                  <a:pt x="204347" y="465574"/>
                </a:lnTo>
                <a:lnTo>
                  <a:pt x="246925" y="471656"/>
                </a:lnTo>
                <a:lnTo>
                  <a:pt x="268986" y="472440"/>
                </a:lnTo>
                <a:lnTo>
                  <a:pt x="291046" y="471656"/>
                </a:lnTo>
                <a:lnTo>
                  <a:pt x="333624" y="465574"/>
                </a:lnTo>
                <a:lnTo>
                  <a:pt x="373685" y="453875"/>
                </a:lnTo>
                <a:lnTo>
                  <a:pt x="410674" y="437047"/>
                </a:lnTo>
                <a:lnTo>
                  <a:pt x="444037" y="415575"/>
                </a:lnTo>
                <a:lnTo>
                  <a:pt x="473220" y="389946"/>
                </a:lnTo>
                <a:lnTo>
                  <a:pt x="497670" y="360647"/>
                </a:lnTo>
                <a:lnTo>
                  <a:pt x="524258" y="310881"/>
                </a:lnTo>
                <a:lnTo>
                  <a:pt x="537080" y="255592"/>
                </a:lnTo>
                <a:lnTo>
                  <a:pt x="537972" y="236220"/>
                </a:lnTo>
                <a:lnTo>
                  <a:pt x="537080" y="216847"/>
                </a:lnTo>
                <a:lnTo>
                  <a:pt x="524258" y="161558"/>
                </a:lnTo>
                <a:lnTo>
                  <a:pt x="497670" y="111792"/>
                </a:lnTo>
                <a:lnTo>
                  <a:pt x="473220" y="82493"/>
                </a:lnTo>
                <a:lnTo>
                  <a:pt x="444037" y="56864"/>
                </a:lnTo>
                <a:lnTo>
                  <a:pt x="410674" y="35392"/>
                </a:lnTo>
                <a:lnTo>
                  <a:pt x="373685" y="18564"/>
                </a:lnTo>
                <a:lnTo>
                  <a:pt x="333624" y="6865"/>
                </a:lnTo>
                <a:lnTo>
                  <a:pt x="291046" y="783"/>
                </a:lnTo>
                <a:lnTo>
                  <a:pt x="268986" y="0"/>
                </a:lnTo>
                <a:close/>
              </a:path>
            </a:pathLst>
          </a:custGeom>
          <a:solidFill>
            <a:srgbClr val="FFFF00"/>
          </a:solidFill>
        </p:spPr>
        <p:txBody>
          <a:bodyPr wrap="square" lIns="0" tIns="0" rIns="0" bIns="0" rtlCol="0"/>
          <a:lstStyle/>
          <a:p>
            <a:endParaRPr dirty="0"/>
          </a:p>
        </p:txBody>
      </p:sp>
      <p:sp>
        <p:nvSpPr>
          <p:cNvPr id="41" name="object 41"/>
          <p:cNvSpPr/>
          <p:nvPr/>
        </p:nvSpPr>
        <p:spPr>
          <a:xfrm>
            <a:off x="10488962" y="2793492"/>
            <a:ext cx="538480" cy="472440"/>
          </a:xfrm>
          <a:custGeom>
            <a:avLst/>
            <a:gdLst/>
            <a:ahLst/>
            <a:cxnLst/>
            <a:rect l="l" t="t" r="r" b="b"/>
            <a:pathLst>
              <a:path w="538479" h="472439">
                <a:moveTo>
                  <a:pt x="0" y="236220"/>
                </a:moveTo>
                <a:lnTo>
                  <a:pt x="3520" y="197905"/>
                </a:lnTo>
                <a:lnTo>
                  <a:pt x="21138" y="144275"/>
                </a:lnTo>
                <a:lnTo>
                  <a:pt x="51900" y="96714"/>
                </a:lnTo>
                <a:lnTo>
                  <a:pt x="78786" y="69189"/>
                </a:lnTo>
                <a:lnTo>
                  <a:pt x="110128" y="45578"/>
                </a:lnTo>
                <a:lnTo>
                  <a:pt x="145373" y="26367"/>
                </a:lnTo>
                <a:lnTo>
                  <a:pt x="183967" y="12043"/>
                </a:lnTo>
                <a:lnTo>
                  <a:pt x="225356" y="3091"/>
                </a:lnTo>
                <a:lnTo>
                  <a:pt x="268986" y="0"/>
                </a:lnTo>
                <a:lnTo>
                  <a:pt x="291046" y="783"/>
                </a:lnTo>
                <a:lnTo>
                  <a:pt x="333624" y="6865"/>
                </a:lnTo>
                <a:lnTo>
                  <a:pt x="373685" y="18564"/>
                </a:lnTo>
                <a:lnTo>
                  <a:pt x="410674" y="35392"/>
                </a:lnTo>
                <a:lnTo>
                  <a:pt x="444037" y="56864"/>
                </a:lnTo>
                <a:lnTo>
                  <a:pt x="473220" y="82493"/>
                </a:lnTo>
                <a:lnTo>
                  <a:pt x="497670" y="111792"/>
                </a:lnTo>
                <a:lnTo>
                  <a:pt x="524258" y="161558"/>
                </a:lnTo>
                <a:lnTo>
                  <a:pt x="537080" y="216847"/>
                </a:lnTo>
                <a:lnTo>
                  <a:pt x="537972" y="236220"/>
                </a:lnTo>
                <a:lnTo>
                  <a:pt x="537080" y="255592"/>
                </a:lnTo>
                <a:lnTo>
                  <a:pt x="524258" y="310881"/>
                </a:lnTo>
                <a:lnTo>
                  <a:pt x="497670" y="360647"/>
                </a:lnTo>
                <a:lnTo>
                  <a:pt x="473220" y="389946"/>
                </a:lnTo>
                <a:lnTo>
                  <a:pt x="444037" y="415575"/>
                </a:lnTo>
                <a:lnTo>
                  <a:pt x="410674" y="437047"/>
                </a:lnTo>
                <a:lnTo>
                  <a:pt x="373685" y="453875"/>
                </a:lnTo>
                <a:lnTo>
                  <a:pt x="333624" y="465574"/>
                </a:lnTo>
                <a:lnTo>
                  <a:pt x="291046" y="471656"/>
                </a:lnTo>
                <a:lnTo>
                  <a:pt x="268986" y="472440"/>
                </a:lnTo>
                <a:lnTo>
                  <a:pt x="246925" y="471656"/>
                </a:lnTo>
                <a:lnTo>
                  <a:pt x="204347" y="465574"/>
                </a:lnTo>
                <a:lnTo>
                  <a:pt x="164286" y="453875"/>
                </a:lnTo>
                <a:lnTo>
                  <a:pt x="127297" y="437047"/>
                </a:lnTo>
                <a:lnTo>
                  <a:pt x="93934" y="415575"/>
                </a:lnTo>
                <a:lnTo>
                  <a:pt x="64751" y="389946"/>
                </a:lnTo>
                <a:lnTo>
                  <a:pt x="40301" y="360647"/>
                </a:lnTo>
                <a:lnTo>
                  <a:pt x="13713" y="310881"/>
                </a:lnTo>
                <a:lnTo>
                  <a:pt x="891" y="255592"/>
                </a:lnTo>
                <a:lnTo>
                  <a:pt x="0" y="236220"/>
                </a:lnTo>
                <a:close/>
              </a:path>
            </a:pathLst>
          </a:custGeom>
          <a:ln w="12192">
            <a:solidFill>
              <a:srgbClr val="FFC000"/>
            </a:solidFill>
          </a:ln>
        </p:spPr>
        <p:txBody>
          <a:bodyPr wrap="square" lIns="0" tIns="0" rIns="0" bIns="0" rtlCol="0"/>
          <a:lstStyle/>
          <a:p>
            <a:endParaRPr dirty="0"/>
          </a:p>
        </p:txBody>
      </p:sp>
      <p:sp>
        <p:nvSpPr>
          <p:cNvPr id="42" name="object 42"/>
          <p:cNvSpPr/>
          <p:nvPr/>
        </p:nvSpPr>
        <p:spPr>
          <a:xfrm>
            <a:off x="10530110" y="2828544"/>
            <a:ext cx="457200" cy="401320"/>
          </a:xfrm>
          <a:custGeom>
            <a:avLst/>
            <a:gdLst/>
            <a:ahLst/>
            <a:cxnLst/>
            <a:rect l="l" t="t" r="r" b="b"/>
            <a:pathLst>
              <a:path w="457200" h="401319">
                <a:moveTo>
                  <a:pt x="228600" y="0"/>
                </a:moveTo>
                <a:lnTo>
                  <a:pt x="173665" y="5824"/>
                </a:lnTo>
                <a:lnTo>
                  <a:pt x="123545" y="22369"/>
                </a:lnTo>
                <a:lnTo>
                  <a:pt x="79830" y="48241"/>
                </a:lnTo>
                <a:lnTo>
                  <a:pt x="44106" y="82049"/>
                </a:lnTo>
                <a:lnTo>
                  <a:pt x="17964" y="122399"/>
                </a:lnTo>
                <a:lnTo>
                  <a:pt x="2992" y="167899"/>
                </a:lnTo>
                <a:lnTo>
                  <a:pt x="0" y="200405"/>
                </a:lnTo>
                <a:lnTo>
                  <a:pt x="757" y="216842"/>
                </a:lnTo>
                <a:lnTo>
                  <a:pt x="11654" y="263749"/>
                </a:lnTo>
                <a:lnTo>
                  <a:pt x="34249" y="305971"/>
                </a:lnTo>
                <a:lnTo>
                  <a:pt x="66955" y="342114"/>
                </a:lnTo>
                <a:lnTo>
                  <a:pt x="108183" y="370786"/>
                </a:lnTo>
                <a:lnTo>
                  <a:pt x="156345" y="390595"/>
                </a:lnTo>
                <a:lnTo>
                  <a:pt x="209851" y="400147"/>
                </a:lnTo>
                <a:lnTo>
                  <a:pt x="228600" y="400811"/>
                </a:lnTo>
                <a:lnTo>
                  <a:pt x="247348" y="400147"/>
                </a:lnTo>
                <a:lnTo>
                  <a:pt x="300854" y="390595"/>
                </a:lnTo>
                <a:lnTo>
                  <a:pt x="349016" y="370786"/>
                </a:lnTo>
                <a:lnTo>
                  <a:pt x="390244" y="342114"/>
                </a:lnTo>
                <a:lnTo>
                  <a:pt x="422950" y="305971"/>
                </a:lnTo>
                <a:lnTo>
                  <a:pt x="445545" y="263749"/>
                </a:lnTo>
                <a:lnTo>
                  <a:pt x="456442" y="216842"/>
                </a:lnTo>
                <a:lnTo>
                  <a:pt x="457200" y="200405"/>
                </a:lnTo>
                <a:lnTo>
                  <a:pt x="456442" y="183969"/>
                </a:lnTo>
                <a:lnTo>
                  <a:pt x="445545" y="137062"/>
                </a:lnTo>
                <a:lnTo>
                  <a:pt x="422950" y="94840"/>
                </a:lnTo>
                <a:lnTo>
                  <a:pt x="390244" y="58697"/>
                </a:lnTo>
                <a:lnTo>
                  <a:pt x="349016" y="30025"/>
                </a:lnTo>
                <a:lnTo>
                  <a:pt x="300854" y="10216"/>
                </a:lnTo>
                <a:lnTo>
                  <a:pt x="247348" y="664"/>
                </a:lnTo>
                <a:lnTo>
                  <a:pt x="228600" y="0"/>
                </a:lnTo>
                <a:close/>
              </a:path>
            </a:pathLst>
          </a:custGeom>
          <a:solidFill>
            <a:srgbClr val="F18B1B"/>
          </a:solidFill>
        </p:spPr>
        <p:txBody>
          <a:bodyPr wrap="square" lIns="0" tIns="0" rIns="0" bIns="0" rtlCol="0"/>
          <a:lstStyle/>
          <a:p>
            <a:endParaRPr dirty="0"/>
          </a:p>
        </p:txBody>
      </p:sp>
      <p:sp>
        <p:nvSpPr>
          <p:cNvPr id="43" name="object 43"/>
          <p:cNvSpPr/>
          <p:nvPr/>
        </p:nvSpPr>
        <p:spPr>
          <a:xfrm>
            <a:off x="10530110" y="2828544"/>
            <a:ext cx="457200" cy="401320"/>
          </a:xfrm>
          <a:custGeom>
            <a:avLst/>
            <a:gdLst/>
            <a:ahLst/>
            <a:cxnLst/>
            <a:rect l="l" t="t" r="r" b="b"/>
            <a:pathLst>
              <a:path w="457200" h="401319">
                <a:moveTo>
                  <a:pt x="0" y="200405"/>
                </a:moveTo>
                <a:lnTo>
                  <a:pt x="6643" y="152246"/>
                </a:lnTo>
                <a:lnTo>
                  <a:pt x="25516" y="108308"/>
                </a:lnTo>
                <a:lnTo>
                  <a:pt x="55028" y="69984"/>
                </a:lnTo>
                <a:lnTo>
                  <a:pt x="93592" y="38666"/>
                </a:lnTo>
                <a:lnTo>
                  <a:pt x="139619" y="15748"/>
                </a:lnTo>
                <a:lnTo>
                  <a:pt x="191520" y="2622"/>
                </a:lnTo>
                <a:lnTo>
                  <a:pt x="228600" y="0"/>
                </a:lnTo>
                <a:lnTo>
                  <a:pt x="247348" y="664"/>
                </a:lnTo>
                <a:lnTo>
                  <a:pt x="300854" y="10216"/>
                </a:lnTo>
                <a:lnTo>
                  <a:pt x="349016" y="30025"/>
                </a:lnTo>
                <a:lnTo>
                  <a:pt x="390244" y="58697"/>
                </a:lnTo>
                <a:lnTo>
                  <a:pt x="422950" y="94840"/>
                </a:lnTo>
                <a:lnTo>
                  <a:pt x="445545" y="137062"/>
                </a:lnTo>
                <a:lnTo>
                  <a:pt x="456442" y="183969"/>
                </a:lnTo>
                <a:lnTo>
                  <a:pt x="457200" y="200405"/>
                </a:lnTo>
                <a:lnTo>
                  <a:pt x="456442" y="216842"/>
                </a:lnTo>
                <a:lnTo>
                  <a:pt x="445545" y="263749"/>
                </a:lnTo>
                <a:lnTo>
                  <a:pt x="422950" y="305971"/>
                </a:lnTo>
                <a:lnTo>
                  <a:pt x="390244" y="342114"/>
                </a:lnTo>
                <a:lnTo>
                  <a:pt x="349016" y="370786"/>
                </a:lnTo>
                <a:lnTo>
                  <a:pt x="300854" y="390595"/>
                </a:lnTo>
                <a:lnTo>
                  <a:pt x="247348" y="400147"/>
                </a:lnTo>
                <a:lnTo>
                  <a:pt x="228600" y="400811"/>
                </a:lnTo>
                <a:lnTo>
                  <a:pt x="209851" y="400147"/>
                </a:lnTo>
                <a:lnTo>
                  <a:pt x="156345" y="390595"/>
                </a:lnTo>
                <a:lnTo>
                  <a:pt x="108183" y="370786"/>
                </a:lnTo>
                <a:lnTo>
                  <a:pt x="66955" y="342114"/>
                </a:lnTo>
                <a:lnTo>
                  <a:pt x="34249" y="305971"/>
                </a:lnTo>
                <a:lnTo>
                  <a:pt x="11654" y="263749"/>
                </a:lnTo>
                <a:lnTo>
                  <a:pt x="757" y="216842"/>
                </a:lnTo>
                <a:lnTo>
                  <a:pt x="0" y="200405"/>
                </a:lnTo>
                <a:close/>
              </a:path>
            </a:pathLst>
          </a:custGeom>
          <a:ln w="12191">
            <a:solidFill>
              <a:srgbClr val="FFC000"/>
            </a:solidFill>
          </a:ln>
        </p:spPr>
        <p:txBody>
          <a:bodyPr wrap="square" lIns="0" tIns="0" rIns="0" bIns="0" rtlCol="0"/>
          <a:lstStyle/>
          <a:p>
            <a:endParaRPr dirty="0"/>
          </a:p>
        </p:txBody>
      </p:sp>
      <p:sp>
        <p:nvSpPr>
          <p:cNvPr id="44" name="object 44"/>
          <p:cNvSpPr/>
          <p:nvPr/>
        </p:nvSpPr>
        <p:spPr>
          <a:xfrm>
            <a:off x="9862599" y="1956817"/>
            <a:ext cx="448309" cy="390525"/>
          </a:xfrm>
          <a:custGeom>
            <a:avLst/>
            <a:gdLst/>
            <a:ahLst/>
            <a:cxnLst/>
            <a:rect l="l" t="t" r="r" b="b"/>
            <a:pathLst>
              <a:path w="448309" h="390525">
                <a:moveTo>
                  <a:pt x="224028" y="0"/>
                </a:moveTo>
                <a:lnTo>
                  <a:pt x="170192" y="5669"/>
                </a:lnTo>
                <a:lnTo>
                  <a:pt x="121075" y="21773"/>
                </a:lnTo>
                <a:lnTo>
                  <a:pt x="78234" y="46957"/>
                </a:lnTo>
                <a:lnTo>
                  <a:pt x="43225" y="79865"/>
                </a:lnTo>
                <a:lnTo>
                  <a:pt x="17605" y="119141"/>
                </a:lnTo>
                <a:lnTo>
                  <a:pt x="2932" y="163430"/>
                </a:lnTo>
                <a:lnTo>
                  <a:pt x="0" y="195072"/>
                </a:lnTo>
                <a:lnTo>
                  <a:pt x="742" y="211070"/>
                </a:lnTo>
                <a:lnTo>
                  <a:pt x="11421" y="256729"/>
                </a:lnTo>
                <a:lnTo>
                  <a:pt x="33565" y="297827"/>
                </a:lnTo>
                <a:lnTo>
                  <a:pt x="65617" y="333008"/>
                </a:lnTo>
                <a:lnTo>
                  <a:pt x="106021" y="360917"/>
                </a:lnTo>
                <a:lnTo>
                  <a:pt x="153219" y="380198"/>
                </a:lnTo>
                <a:lnTo>
                  <a:pt x="205654" y="389497"/>
                </a:lnTo>
                <a:lnTo>
                  <a:pt x="224028" y="390144"/>
                </a:lnTo>
                <a:lnTo>
                  <a:pt x="242401" y="389497"/>
                </a:lnTo>
                <a:lnTo>
                  <a:pt x="294836" y="380198"/>
                </a:lnTo>
                <a:lnTo>
                  <a:pt x="342034" y="360917"/>
                </a:lnTo>
                <a:lnTo>
                  <a:pt x="382438" y="333008"/>
                </a:lnTo>
                <a:lnTo>
                  <a:pt x="414490" y="297827"/>
                </a:lnTo>
                <a:lnTo>
                  <a:pt x="436634" y="256729"/>
                </a:lnTo>
                <a:lnTo>
                  <a:pt x="447313" y="211070"/>
                </a:lnTo>
                <a:lnTo>
                  <a:pt x="448056" y="195072"/>
                </a:lnTo>
                <a:lnTo>
                  <a:pt x="447313" y="179073"/>
                </a:lnTo>
                <a:lnTo>
                  <a:pt x="436634" y="133414"/>
                </a:lnTo>
                <a:lnTo>
                  <a:pt x="414490" y="92316"/>
                </a:lnTo>
                <a:lnTo>
                  <a:pt x="382438" y="57135"/>
                </a:lnTo>
                <a:lnTo>
                  <a:pt x="342034" y="29226"/>
                </a:lnTo>
                <a:lnTo>
                  <a:pt x="294836" y="9945"/>
                </a:lnTo>
                <a:lnTo>
                  <a:pt x="242401" y="646"/>
                </a:lnTo>
                <a:lnTo>
                  <a:pt x="224028" y="0"/>
                </a:lnTo>
                <a:close/>
              </a:path>
            </a:pathLst>
          </a:custGeom>
          <a:solidFill>
            <a:srgbClr val="FF0000"/>
          </a:solidFill>
        </p:spPr>
        <p:txBody>
          <a:bodyPr wrap="square" lIns="0" tIns="0" rIns="0" bIns="0" rtlCol="0"/>
          <a:lstStyle/>
          <a:p>
            <a:endParaRPr dirty="0"/>
          </a:p>
        </p:txBody>
      </p:sp>
      <p:sp>
        <p:nvSpPr>
          <p:cNvPr id="45" name="object 45"/>
          <p:cNvSpPr/>
          <p:nvPr/>
        </p:nvSpPr>
        <p:spPr>
          <a:xfrm>
            <a:off x="9896125" y="1991867"/>
            <a:ext cx="381000" cy="386080"/>
          </a:xfrm>
          <a:custGeom>
            <a:avLst/>
            <a:gdLst/>
            <a:ahLst/>
            <a:cxnLst/>
            <a:rect l="l" t="t" r="r" b="b"/>
            <a:pathLst>
              <a:path w="381000" h="386080">
                <a:moveTo>
                  <a:pt x="190500" y="0"/>
                </a:moveTo>
                <a:lnTo>
                  <a:pt x="144721" y="5602"/>
                </a:lnTo>
                <a:lnTo>
                  <a:pt x="102955" y="21517"/>
                </a:lnTo>
                <a:lnTo>
                  <a:pt x="66526" y="46405"/>
                </a:lnTo>
                <a:lnTo>
                  <a:pt x="36756" y="78927"/>
                </a:lnTo>
                <a:lnTo>
                  <a:pt x="14970" y="117743"/>
                </a:lnTo>
                <a:lnTo>
                  <a:pt x="2493" y="161514"/>
                </a:lnTo>
                <a:lnTo>
                  <a:pt x="0" y="192786"/>
                </a:lnTo>
                <a:lnTo>
                  <a:pt x="631" y="208597"/>
                </a:lnTo>
                <a:lnTo>
                  <a:pt x="9712" y="253722"/>
                </a:lnTo>
                <a:lnTo>
                  <a:pt x="28542" y="294339"/>
                </a:lnTo>
                <a:lnTo>
                  <a:pt x="55797" y="329107"/>
                </a:lnTo>
                <a:lnTo>
                  <a:pt x="90154" y="356689"/>
                </a:lnTo>
                <a:lnTo>
                  <a:pt x="130288" y="375744"/>
                </a:lnTo>
                <a:lnTo>
                  <a:pt x="174876" y="384932"/>
                </a:lnTo>
                <a:lnTo>
                  <a:pt x="190500" y="385572"/>
                </a:lnTo>
                <a:lnTo>
                  <a:pt x="206123" y="384932"/>
                </a:lnTo>
                <a:lnTo>
                  <a:pt x="250711" y="375744"/>
                </a:lnTo>
                <a:lnTo>
                  <a:pt x="290845" y="356689"/>
                </a:lnTo>
                <a:lnTo>
                  <a:pt x="325202" y="329107"/>
                </a:lnTo>
                <a:lnTo>
                  <a:pt x="352457" y="294339"/>
                </a:lnTo>
                <a:lnTo>
                  <a:pt x="371287" y="253722"/>
                </a:lnTo>
                <a:lnTo>
                  <a:pt x="380368" y="208597"/>
                </a:lnTo>
                <a:lnTo>
                  <a:pt x="381000" y="192786"/>
                </a:lnTo>
                <a:lnTo>
                  <a:pt x="380368" y="176974"/>
                </a:lnTo>
                <a:lnTo>
                  <a:pt x="371287" y="131849"/>
                </a:lnTo>
                <a:lnTo>
                  <a:pt x="352457" y="91232"/>
                </a:lnTo>
                <a:lnTo>
                  <a:pt x="325202" y="56464"/>
                </a:lnTo>
                <a:lnTo>
                  <a:pt x="290845" y="28882"/>
                </a:lnTo>
                <a:lnTo>
                  <a:pt x="250711" y="9827"/>
                </a:lnTo>
                <a:lnTo>
                  <a:pt x="206123" y="639"/>
                </a:lnTo>
                <a:lnTo>
                  <a:pt x="190500" y="0"/>
                </a:lnTo>
                <a:close/>
              </a:path>
            </a:pathLst>
          </a:custGeom>
          <a:solidFill>
            <a:srgbClr val="FF0000"/>
          </a:solidFill>
        </p:spPr>
        <p:txBody>
          <a:bodyPr wrap="square" lIns="0" tIns="0" rIns="0" bIns="0" rtlCol="0"/>
          <a:lstStyle/>
          <a:p>
            <a:endParaRPr dirty="0"/>
          </a:p>
        </p:txBody>
      </p:sp>
      <p:sp>
        <p:nvSpPr>
          <p:cNvPr id="46" name="object 46"/>
          <p:cNvSpPr/>
          <p:nvPr/>
        </p:nvSpPr>
        <p:spPr>
          <a:xfrm>
            <a:off x="9882416" y="1999653"/>
            <a:ext cx="361315" cy="301625"/>
          </a:xfrm>
          <a:custGeom>
            <a:avLst/>
            <a:gdLst/>
            <a:ahLst/>
            <a:cxnLst/>
            <a:rect l="l" t="t" r="r" b="b"/>
            <a:pathLst>
              <a:path w="361315" h="301625">
                <a:moveTo>
                  <a:pt x="172085" y="0"/>
                </a:moveTo>
                <a:lnTo>
                  <a:pt x="126079" y="6830"/>
                </a:lnTo>
                <a:lnTo>
                  <a:pt x="84897" y="22734"/>
                </a:lnTo>
                <a:lnTo>
                  <a:pt x="50120" y="46393"/>
                </a:lnTo>
                <a:lnTo>
                  <a:pt x="23324" y="76487"/>
                </a:lnTo>
                <a:lnTo>
                  <a:pt x="6089" y="111700"/>
                </a:lnTo>
                <a:lnTo>
                  <a:pt x="32" y="149974"/>
                </a:lnTo>
                <a:lnTo>
                  <a:pt x="0" y="151927"/>
                </a:lnTo>
                <a:lnTo>
                  <a:pt x="779" y="164856"/>
                </a:lnTo>
                <a:lnTo>
                  <a:pt x="16250" y="213037"/>
                </a:lnTo>
                <a:lnTo>
                  <a:pt x="39548" y="244209"/>
                </a:lnTo>
                <a:lnTo>
                  <a:pt x="71503" y="269781"/>
                </a:lnTo>
                <a:lnTo>
                  <a:pt x="110882" y="288544"/>
                </a:lnTo>
                <a:lnTo>
                  <a:pt x="156454" y="299289"/>
                </a:lnTo>
                <a:lnTo>
                  <a:pt x="189668" y="301400"/>
                </a:lnTo>
                <a:lnTo>
                  <a:pt x="205397" y="300175"/>
                </a:lnTo>
                <a:lnTo>
                  <a:pt x="249834" y="290086"/>
                </a:lnTo>
                <a:lnTo>
                  <a:pt x="288926" y="271382"/>
                </a:lnTo>
                <a:lnTo>
                  <a:pt x="321104" y="245356"/>
                </a:lnTo>
                <a:lnTo>
                  <a:pt x="344799" y="213298"/>
                </a:lnTo>
                <a:lnTo>
                  <a:pt x="358443" y="176501"/>
                </a:lnTo>
                <a:lnTo>
                  <a:pt x="361180" y="149974"/>
                </a:lnTo>
                <a:lnTo>
                  <a:pt x="360446" y="137011"/>
                </a:lnTo>
                <a:lnTo>
                  <a:pt x="350707" y="100148"/>
                </a:lnTo>
                <a:lnTo>
                  <a:pt x="330637" y="67275"/>
                </a:lnTo>
                <a:lnTo>
                  <a:pt x="301487" y="39608"/>
                </a:lnTo>
                <a:lnTo>
                  <a:pt x="264511" y="18362"/>
                </a:lnTo>
                <a:lnTo>
                  <a:pt x="220960" y="4754"/>
                </a:lnTo>
                <a:lnTo>
                  <a:pt x="172085" y="0"/>
                </a:lnTo>
                <a:close/>
              </a:path>
            </a:pathLst>
          </a:custGeom>
          <a:solidFill>
            <a:srgbClr val="FF0000"/>
          </a:solidFill>
        </p:spPr>
        <p:txBody>
          <a:bodyPr wrap="square" lIns="0" tIns="0" rIns="0" bIns="0" rtlCol="0"/>
          <a:lstStyle/>
          <a:p>
            <a:endParaRPr dirty="0"/>
          </a:p>
        </p:txBody>
      </p:sp>
      <p:sp>
        <p:nvSpPr>
          <p:cNvPr id="47" name="object 47"/>
          <p:cNvSpPr txBox="1"/>
          <p:nvPr/>
        </p:nvSpPr>
        <p:spPr>
          <a:xfrm>
            <a:off x="9886284" y="2571758"/>
            <a:ext cx="1597025" cy="153888"/>
          </a:xfrm>
          <a:prstGeom prst="rect">
            <a:avLst/>
          </a:prstGeom>
        </p:spPr>
        <p:txBody>
          <a:bodyPr vert="horz" wrap="square" lIns="0" tIns="0" rIns="0" bIns="0" rtlCol="0">
            <a:spAutoFit/>
          </a:bodyPr>
          <a:lstStyle/>
          <a:p>
            <a:pPr>
              <a:tabLst>
                <a:tab pos="240029" algn="l"/>
              </a:tabLst>
            </a:pPr>
            <a:r>
              <a:rPr sz="1000" b="1" dirty="0">
                <a:latin typeface="Arial" panose="020B0604020202020204" pitchFamily="34" charset="0"/>
                <a:cs typeface="Arial" panose="020B0604020202020204" pitchFamily="34" charset="0"/>
              </a:rPr>
              <a:t>Fi</a:t>
            </a:r>
            <a:r>
              <a:rPr sz="1000" b="1" spc="-5" dirty="0">
                <a:latin typeface="Arial" panose="020B0604020202020204" pitchFamily="34" charset="0"/>
                <a:cs typeface="Arial" panose="020B0604020202020204" pitchFamily="34" charset="0"/>
              </a:rPr>
              <a:t>nanc</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a</a:t>
            </a:r>
            <a:r>
              <a:rPr sz="1000" b="1" dirty="0">
                <a:latin typeface="Arial" panose="020B0604020202020204" pitchFamily="34" charset="0"/>
                <a:cs typeface="Arial" panose="020B0604020202020204" pitchFamily="34" charset="0"/>
              </a:rPr>
              <a:t>l</a:t>
            </a:r>
            <a:r>
              <a:rPr sz="1000" b="1" spc="-60" dirty="0">
                <a:latin typeface="Arial" panose="020B0604020202020204" pitchFamily="34" charset="0"/>
                <a:cs typeface="Arial" panose="020B0604020202020204" pitchFamily="34" charset="0"/>
              </a:rPr>
              <a:t> </a:t>
            </a:r>
            <a:r>
              <a:rPr sz="1000" b="1" spc="5" dirty="0">
                <a:latin typeface="Arial" panose="020B0604020202020204" pitchFamily="34" charset="0"/>
                <a:cs typeface="Arial" panose="020B0604020202020204" pitchFamily="34" charset="0"/>
              </a:rPr>
              <a:t>s</a:t>
            </a:r>
            <a:r>
              <a:rPr sz="1000" b="1" spc="-5" dirty="0">
                <a:latin typeface="Arial" panose="020B0604020202020204" pitchFamily="34" charset="0"/>
                <a:cs typeface="Arial" panose="020B0604020202020204" pitchFamily="34" charset="0"/>
              </a:rPr>
              <a:t>u</a:t>
            </a:r>
            <a:r>
              <a:rPr sz="1000" b="1" dirty="0">
                <a:latin typeface="Arial" panose="020B0604020202020204" pitchFamily="34" charset="0"/>
                <a:cs typeface="Arial" panose="020B0604020202020204" pitchFamily="34" charset="0"/>
              </a:rPr>
              <a:t>s</a:t>
            </a:r>
            <a:r>
              <a:rPr sz="1000" b="1" spc="5" dirty="0">
                <a:latin typeface="Arial" panose="020B0604020202020204" pitchFamily="34" charset="0"/>
                <a:cs typeface="Arial" panose="020B0604020202020204" pitchFamily="34" charset="0"/>
              </a:rPr>
              <a:t>t</a:t>
            </a:r>
            <a:r>
              <a:rPr sz="1000" b="1" spc="-5" dirty="0">
                <a:latin typeface="Arial" panose="020B0604020202020204" pitchFamily="34" charset="0"/>
                <a:cs typeface="Arial" panose="020B0604020202020204" pitchFamily="34" charset="0"/>
              </a:rPr>
              <a:t>a</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nab</a:t>
            </a:r>
            <a:r>
              <a:rPr sz="1000" b="1" dirty="0">
                <a:latin typeface="Arial" panose="020B0604020202020204" pitchFamily="34" charset="0"/>
                <a:cs typeface="Arial" panose="020B0604020202020204" pitchFamily="34" charset="0"/>
              </a:rPr>
              <a:t>i</a:t>
            </a:r>
            <a:r>
              <a:rPr sz="1000" b="1" spc="10" dirty="0">
                <a:latin typeface="Arial" panose="020B0604020202020204" pitchFamily="34" charset="0"/>
                <a:cs typeface="Arial" panose="020B0604020202020204" pitchFamily="34" charset="0"/>
              </a:rPr>
              <a:t>l</a:t>
            </a:r>
            <a:r>
              <a:rPr sz="1000" b="1" dirty="0">
                <a:latin typeface="Arial" panose="020B0604020202020204" pitchFamily="34" charset="0"/>
                <a:cs typeface="Arial" panose="020B0604020202020204" pitchFamily="34" charset="0"/>
              </a:rPr>
              <a:t>i</a:t>
            </a:r>
            <a:r>
              <a:rPr sz="1000" b="1" spc="-10"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y</a:t>
            </a:r>
          </a:p>
        </p:txBody>
      </p:sp>
      <p:sp>
        <p:nvSpPr>
          <p:cNvPr id="48" name="object 48"/>
          <p:cNvSpPr txBox="1"/>
          <p:nvPr/>
        </p:nvSpPr>
        <p:spPr>
          <a:xfrm>
            <a:off x="8108059" y="4050461"/>
            <a:ext cx="87630" cy="207749"/>
          </a:xfrm>
          <a:prstGeom prst="rect">
            <a:avLst/>
          </a:prstGeom>
        </p:spPr>
        <p:txBody>
          <a:bodyPr vert="horz" wrap="square" lIns="0" tIns="0" rIns="0" bIns="0" rtlCol="0">
            <a:spAutoFit/>
          </a:bodyPr>
          <a:lstStyle/>
          <a:p>
            <a:pPr>
              <a:lnSpc>
                <a:spcPct val="100000"/>
              </a:lnSpc>
            </a:pPr>
            <a:r>
              <a:rPr sz="1350" b="1" dirty="0">
                <a:latin typeface="Calibri"/>
                <a:cs typeface="Calibri"/>
              </a:rPr>
              <a:t>4</a:t>
            </a:r>
            <a:endParaRPr sz="1350" dirty="0">
              <a:latin typeface="Calibri"/>
              <a:cs typeface="Calibri"/>
            </a:endParaRPr>
          </a:p>
        </p:txBody>
      </p:sp>
      <p:sp>
        <p:nvSpPr>
          <p:cNvPr id="49" name="object 49"/>
          <p:cNvSpPr txBox="1"/>
          <p:nvPr/>
        </p:nvSpPr>
        <p:spPr>
          <a:xfrm>
            <a:off x="10724992" y="2976660"/>
            <a:ext cx="65405" cy="207749"/>
          </a:xfrm>
          <a:prstGeom prst="rect">
            <a:avLst/>
          </a:prstGeom>
        </p:spPr>
        <p:txBody>
          <a:bodyPr vert="horz" wrap="square" lIns="0" tIns="0" rIns="0" bIns="0" rtlCol="0">
            <a:spAutoFit/>
          </a:bodyPr>
          <a:lstStyle/>
          <a:p>
            <a:pPr>
              <a:lnSpc>
                <a:spcPct val="100000"/>
              </a:lnSpc>
            </a:pPr>
            <a:r>
              <a:rPr sz="1350" b="1" dirty="0">
                <a:solidFill>
                  <a:srgbClr val="3E3E3E"/>
                </a:solidFill>
                <a:latin typeface="Calibri"/>
                <a:cs typeface="Calibri"/>
              </a:rPr>
              <a:t>7</a:t>
            </a:r>
            <a:endParaRPr sz="1350" b="1" dirty="0">
              <a:latin typeface="Calibri"/>
              <a:cs typeface="Calibri"/>
            </a:endParaRPr>
          </a:p>
        </p:txBody>
      </p:sp>
      <p:sp>
        <p:nvSpPr>
          <p:cNvPr id="50" name="object 50"/>
          <p:cNvSpPr txBox="1"/>
          <p:nvPr/>
        </p:nvSpPr>
        <p:spPr>
          <a:xfrm>
            <a:off x="10019146" y="2077988"/>
            <a:ext cx="87630" cy="207749"/>
          </a:xfrm>
          <a:prstGeom prst="rect">
            <a:avLst/>
          </a:prstGeom>
        </p:spPr>
        <p:txBody>
          <a:bodyPr vert="horz" wrap="square" lIns="0" tIns="0" rIns="0" bIns="0" rtlCol="0">
            <a:spAutoFit/>
          </a:bodyPr>
          <a:lstStyle/>
          <a:p>
            <a:pPr>
              <a:lnSpc>
                <a:spcPct val="100000"/>
              </a:lnSpc>
            </a:pPr>
            <a:r>
              <a:rPr sz="1350" b="1" dirty="0">
                <a:solidFill>
                  <a:srgbClr val="FFFFFF"/>
                </a:solidFill>
                <a:latin typeface="Calibri"/>
                <a:cs typeface="Calibri"/>
              </a:rPr>
              <a:t>2</a:t>
            </a:r>
            <a:endParaRPr sz="1350" dirty="0">
              <a:latin typeface="Calibri"/>
              <a:cs typeface="Calibri"/>
            </a:endParaRPr>
          </a:p>
        </p:txBody>
      </p:sp>
      <p:sp>
        <p:nvSpPr>
          <p:cNvPr id="51" name="object 51"/>
          <p:cNvSpPr/>
          <p:nvPr/>
        </p:nvSpPr>
        <p:spPr>
          <a:xfrm>
            <a:off x="9649237" y="3352800"/>
            <a:ext cx="425450" cy="439420"/>
          </a:xfrm>
          <a:custGeom>
            <a:avLst/>
            <a:gdLst/>
            <a:ahLst/>
            <a:cxnLst/>
            <a:rect l="l" t="t" r="r" b="b"/>
            <a:pathLst>
              <a:path w="425450" h="439420">
                <a:moveTo>
                  <a:pt x="212597" y="0"/>
                </a:moveTo>
                <a:lnTo>
                  <a:pt x="161509" y="6378"/>
                </a:lnTo>
                <a:lnTo>
                  <a:pt x="114898" y="24496"/>
                </a:lnTo>
                <a:lnTo>
                  <a:pt x="74242" y="52829"/>
                </a:lnTo>
                <a:lnTo>
                  <a:pt x="41019" y="89850"/>
                </a:lnTo>
                <a:lnTo>
                  <a:pt x="16707" y="134036"/>
                </a:lnTo>
                <a:lnTo>
                  <a:pt x="2782" y="183860"/>
                </a:lnTo>
                <a:lnTo>
                  <a:pt x="0" y="219455"/>
                </a:lnTo>
                <a:lnTo>
                  <a:pt x="704" y="237453"/>
                </a:lnTo>
                <a:lnTo>
                  <a:pt x="10838" y="288818"/>
                </a:lnTo>
                <a:lnTo>
                  <a:pt x="31852" y="335053"/>
                </a:lnTo>
                <a:lnTo>
                  <a:pt x="62269" y="374632"/>
                </a:lnTo>
                <a:lnTo>
                  <a:pt x="100611" y="406030"/>
                </a:lnTo>
                <a:lnTo>
                  <a:pt x="145401" y="427723"/>
                </a:lnTo>
                <a:lnTo>
                  <a:pt x="195162" y="438184"/>
                </a:lnTo>
                <a:lnTo>
                  <a:pt x="212597" y="438911"/>
                </a:lnTo>
                <a:lnTo>
                  <a:pt x="230033" y="438184"/>
                </a:lnTo>
                <a:lnTo>
                  <a:pt x="279794" y="427723"/>
                </a:lnTo>
                <a:lnTo>
                  <a:pt x="324584" y="406030"/>
                </a:lnTo>
                <a:lnTo>
                  <a:pt x="362926" y="374632"/>
                </a:lnTo>
                <a:lnTo>
                  <a:pt x="393343" y="335053"/>
                </a:lnTo>
                <a:lnTo>
                  <a:pt x="414357" y="288818"/>
                </a:lnTo>
                <a:lnTo>
                  <a:pt x="424491" y="237453"/>
                </a:lnTo>
                <a:lnTo>
                  <a:pt x="425195" y="219455"/>
                </a:lnTo>
                <a:lnTo>
                  <a:pt x="424491" y="201458"/>
                </a:lnTo>
                <a:lnTo>
                  <a:pt x="414357" y="150093"/>
                </a:lnTo>
                <a:lnTo>
                  <a:pt x="393343" y="103858"/>
                </a:lnTo>
                <a:lnTo>
                  <a:pt x="362926" y="64279"/>
                </a:lnTo>
                <a:lnTo>
                  <a:pt x="324584" y="32881"/>
                </a:lnTo>
                <a:lnTo>
                  <a:pt x="279794" y="11188"/>
                </a:lnTo>
                <a:lnTo>
                  <a:pt x="230033" y="727"/>
                </a:lnTo>
                <a:lnTo>
                  <a:pt x="212597" y="0"/>
                </a:lnTo>
                <a:close/>
              </a:path>
            </a:pathLst>
          </a:custGeom>
          <a:solidFill>
            <a:srgbClr val="FFC000"/>
          </a:solidFill>
        </p:spPr>
        <p:txBody>
          <a:bodyPr wrap="square" lIns="0" tIns="0" rIns="0" bIns="0" rtlCol="0"/>
          <a:lstStyle/>
          <a:p>
            <a:endParaRPr dirty="0"/>
          </a:p>
        </p:txBody>
      </p:sp>
      <p:sp>
        <p:nvSpPr>
          <p:cNvPr id="52" name="object 52"/>
          <p:cNvSpPr/>
          <p:nvPr/>
        </p:nvSpPr>
        <p:spPr>
          <a:xfrm>
            <a:off x="9679717" y="3384803"/>
            <a:ext cx="363220" cy="373380"/>
          </a:xfrm>
          <a:custGeom>
            <a:avLst/>
            <a:gdLst/>
            <a:ahLst/>
            <a:cxnLst/>
            <a:rect l="l" t="t" r="r" b="b"/>
            <a:pathLst>
              <a:path w="363220" h="373379">
                <a:moveTo>
                  <a:pt x="181356" y="0"/>
                </a:moveTo>
                <a:lnTo>
                  <a:pt x="137772" y="5425"/>
                </a:lnTo>
                <a:lnTo>
                  <a:pt x="98010" y="20837"/>
                </a:lnTo>
                <a:lnTo>
                  <a:pt x="63329" y="44937"/>
                </a:lnTo>
                <a:lnTo>
                  <a:pt x="34989" y="76431"/>
                </a:lnTo>
                <a:lnTo>
                  <a:pt x="14251" y="114019"/>
                </a:lnTo>
                <a:lnTo>
                  <a:pt x="2373" y="156406"/>
                </a:lnTo>
                <a:lnTo>
                  <a:pt x="0" y="186689"/>
                </a:lnTo>
                <a:lnTo>
                  <a:pt x="601" y="202002"/>
                </a:lnTo>
                <a:lnTo>
                  <a:pt x="9245" y="245700"/>
                </a:lnTo>
                <a:lnTo>
                  <a:pt x="27170" y="285032"/>
                </a:lnTo>
                <a:lnTo>
                  <a:pt x="53116" y="318701"/>
                </a:lnTo>
                <a:lnTo>
                  <a:pt x="85823" y="345410"/>
                </a:lnTo>
                <a:lnTo>
                  <a:pt x="124031" y="363862"/>
                </a:lnTo>
                <a:lnTo>
                  <a:pt x="166481" y="372761"/>
                </a:lnTo>
                <a:lnTo>
                  <a:pt x="181356" y="373379"/>
                </a:lnTo>
                <a:lnTo>
                  <a:pt x="196230" y="372761"/>
                </a:lnTo>
                <a:lnTo>
                  <a:pt x="238680" y="363862"/>
                </a:lnTo>
                <a:lnTo>
                  <a:pt x="276888" y="345410"/>
                </a:lnTo>
                <a:lnTo>
                  <a:pt x="309595" y="318701"/>
                </a:lnTo>
                <a:lnTo>
                  <a:pt x="335541" y="285032"/>
                </a:lnTo>
                <a:lnTo>
                  <a:pt x="353466" y="245700"/>
                </a:lnTo>
                <a:lnTo>
                  <a:pt x="362110" y="202002"/>
                </a:lnTo>
                <a:lnTo>
                  <a:pt x="362712" y="186689"/>
                </a:lnTo>
                <a:lnTo>
                  <a:pt x="362110" y="171377"/>
                </a:lnTo>
                <a:lnTo>
                  <a:pt x="353466" y="127679"/>
                </a:lnTo>
                <a:lnTo>
                  <a:pt x="335541" y="88347"/>
                </a:lnTo>
                <a:lnTo>
                  <a:pt x="309595" y="54678"/>
                </a:lnTo>
                <a:lnTo>
                  <a:pt x="276888" y="27969"/>
                </a:lnTo>
                <a:lnTo>
                  <a:pt x="238680" y="9517"/>
                </a:lnTo>
                <a:lnTo>
                  <a:pt x="196230" y="618"/>
                </a:lnTo>
                <a:lnTo>
                  <a:pt x="181356" y="0"/>
                </a:lnTo>
                <a:close/>
              </a:path>
            </a:pathLst>
          </a:custGeom>
          <a:solidFill>
            <a:srgbClr val="FFC000"/>
          </a:solidFill>
        </p:spPr>
        <p:txBody>
          <a:bodyPr wrap="square" lIns="0" tIns="0" rIns="0" bIns="0" rtlCol="0"/>
          <a:lstStyle/>
          <a:p>
            <a:endParaRPr dirty="0"/>
          </a:p>
        </p:txBody>
      </p:sp>
      <p:sp>
        <p:nvSpPr>
          <p:cNvPr id="53" name="object 53"/>
          <p:cNvSpPr/>
          <p:nvPr/>
        </p:nvSpPr>
        <p:spPr>
          <a:xfrm>
            <a:off x="9676670" y="3343656"/>
            <a:ext cx="483234" cy="459105"/>
          </a:xfrm>
          <a:custGeom>
            <a:avLst/>
            <a:gdLst/>
            <a:ahLst/>
            <a:cxnLst/>
            <a:rect l="l" t="t" r="r" b="b"/>
            <a:pathLst>
              <a:path w="483234" h="459104">
                <a:moveTo>
                  <a:pt x="241554" y="0"/>
                </a:moveTo>
                <a:lnTo>
                  <a:pt x="202374" y="3002"/>
                </a:lnTo>
                <a:lnTo>
                  <a:pt x="165206" y="11693"/>
                </a:lnTo>
                <a:lnTo>
                  <a:pt x="114316" y="34364"/>
                </a:lnTo>
                <a:lnTo>
                  <a:pt x="70751" y="67179"/>
                </a:lnTo>
                <a:lnTo>
                  <a:pt x="36191" y="108545"/>
                </a:lnTo>
                <a:lnTo>
                  <a:pt x="12315" y="156867"/>
                </a:lnTo>
                <a:lnTo>
                  <a:pt x="800" y="210551"/>
                </a:lnTo>
                <a:lnTo>
                  <a:pt x="0" y="229362"/>
                </a:lnTo>
                <a:lnTo>
                  <a:pt x="800" y="248172"/>
                </a:lnTo>
                <a:lnTo>
                  <a:pt x="12315" y="301856"/>
                </a:lnTo>
                <a:lnTo>
                  <a:pt x="36191" y="350178"/>
                </a:lnTo>
                <a:lnTo>
                  <a:pt x="70751" y="391544"/>
                </a:lnTo>
                <a:lnTo>
                  <a:pt x="114316" y="424359"/>
                </a:lnTo>
                <a:lnTo>
                  <a:pt x="165206" y="447030"/>
                </a:lnTo>
                <a:lnTo>
                  <a:pt x="202374" y="455721"/>
                </a:lnTo>
                <a:lnTo>
                  <a:pt x="241554" y="458724"/>
                </a:lnTo>
                <a:lnTo>
                  <a:pt x="261364" y="457963"/>
                </a:lnTo>
                <a:lnTo>
                  <a:pt x="299600" y="452057"/>
                </a:lnTo>
                <a:lnTo>
                  <a:pt x="352559" y="433122"/>
                </a:lnTo>
                <a:lnTo>
                  <a:pt x="398752" y="403511"/>
                </a:lnTo>
                <a:lnTo>
                  <a:pt x="436500" y="364818"/>
                </a:lnTo>
                <a:lnTo>
                  <a:pt x="464124" y="318638"/>
                </a:lnTo>
                <a:lnTo>
                  <a:pt x="479946" y="266564"/>
                </a:lnTo>
                <a:lnTo>
                  <a:pt x="483108" y="229362"/>
                </a:lnTo>
                <a:lnTo>
                  <a:pt x="482307" y="210551"/>
                </a:lnTo>
                <a:lnTo>
                  <a:pt x="470792" y="156867"/>
                </a:lnTo>
                <a:lnTo>
                  <a:pt x="446916" y="108545"/>
                </a:lnTo>
                <a:lnTo>
                  <a:pt x="412356" y="67179"/>
                </a:lnTo>
                <a:lnTo>
                  <a:pt x="368791" y="34364"/>
                </a:lnTo>
                <a:lnTo>
                  <a:pt x="317901" y="11693"/>
                </a:lnTo>
                <a:lnTo>
                  <a:pt x="280733" y="3002"/>
                </a:lnTo>
                <a:lnTo>
                  <a:pt x="241554" y="0"/>
                </a:lnTo>
                <a:close/>
              </a:path>
            </a:pathLst>
          </a:custGeom>
          <a:solidFill>
            <a:srgbClr val="F18B1B"/>
          </a:solidFill>
        </p:spPr>
        <p:txBody>
          <a:bodyPr wrap="square" lIns="0" tIns="0" rIns="0" bIns="0" rtlCol="0"/>
          <a:lstStyle/>
          <a:p>
            <a:endParaRPr dirty="0"/>
          </a:p>
        </p:txBody>
      </p:sp>
      <p:sp>
        <p:nvSpPr>
          <p:cNvPr id="54" name="object 54"/>
          <p:cNvSpPr txBox="1"/>
          <p:nvPr/>
        </p:nvSpPr>
        <p:spPr>
          <a:xfrm>
            <a:off x="9851461" y="3520495"/>
            <a:ext cx="250659" cy="207749"/>
          </a:xfrm>
          <a:prstGeom prst="rect">
            <a:avLst/>
          </a:prstGeom>
        </p:spPr>
        <p:txBody>
          <a:bodyPr vert="horz" wrap="square" lIns="0" tIns="0" rIns="0" bIns="0" rtlCol="0">
            <a:spAutoFit/>
          </a:bodyPr>
          <a:lstStyle/>
          <a:p>
            <a:r>
              <a:rPr sz="1350" b="1" dirty="0">
                <a:latin typeface="Calibri"/>
                <a:cs typeface="Calibri"/>
              </a:rPr>
              <a:t>11</a:t>
            </a:r>
          </a:p>
        </p:txBody>
      </p:sp>
      <p:sp>
        <p:nvSpPr>
          <p:cNvPr id="55" name="object 55"/>
          <p:cNvSpPr txBox="1"/>
          <p:nvPr/>
        </p:nvSpPr>
        <p:spPr>
          <a:xfrm>
            <a:off x="10301636" y="4156265"/>
            <a:ext cx="1299593" cy="153888"/>
          </a:xfrm>
          <a:prstGeom prst="rect">
            <a:avLst/>
          </a:prstGeom>
        </p:spPr>
        <p:txBody>
          <a:bodyPr vert="horz" wrap="square" lIns="0" tIns="0" rIns="0" bIns="0" rtlCol="0">
            <a:spAutoFit/>
          </a:bodyPr>
          <a:lstStyle/>
          <a:p>
            <a:pPr>
              <a:lnSpc>
                <a:spcPts val="1185"/>
              </a:lnSpc>
            </a:pPr>
            <a:r>
              <a:rPr sz="1000" b="1" dirty="0">
                <a:latin typeface="Arial" panose="020B0604020202020204" pitchFamily="34" charset="0"/>
                <a:cs typeface="Arial" panose="020B0604020202020204" pitchFamily="34" charset="0"/>
              </a:rPr>
              <a:t>Se</a:t>
            </a:r>
            <a:r>
              <a:rPr sz="1000" b="1" spc="-5" dirty="0">
                <a:latin typeface="Arial" panose="020B0604020202020204" pitchFamily="34" charset="0"/>
                <a:cs typeface="Arial" panose="020B0604020202020204" pitchFamily="34" charset="0"/>
              </a:rPr>
              <a:t>cur</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y</a:t>
            </a:r>
            <a:r>
              <a:rPr sz="1000" b="1" spc="-15" dirty="0">
                <a:latin typeface="Arial" panose="020B0604020202020204" pitchFamily="34" charset="0"/>
                <a:cs typeface="Arial" panose="020B0604020202020204" pitchFamily="34" charset="0"/>
              </a:rPr>
              <a:t> </a:t>
            </a:r>
            <a:r>
              <a:rPr sz="1000" b="1" spc="-5" dirty="0">
                <a:latin typeface="Arial" panose="020B0604020202020204" pitchFamily="34" charset="0"/>
                <a:cs typeface="Arial" panose="020B0604020202020204" pitchFamily="34" charset="0"/>
              </a:rPr>
              <a:t>o</a:t>
            </a:r>
            <a:r>
              <a:rPr sz="1000" b="1" dirty="0">
                <a:latin typeface="Arial" panose="020B0604020202020204" pitchFamily="34" charset="0"/>
                <a:cs typeface="Arial" panose="020B0604020202020204" pitchFamily="34" charset="0"/>
              </a:rPr>
              <a:t>f</a:t>
            </a:r>
            <a:r>
              <a:rPr sz="1000" b="1" spc="-1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s</a:t>
            </a:r>
            <a:r>
              <a:rPr sz="1000" b="1" spc="-5" dirty="0">
                <a:latin typeface="Arial" panose="020B0604020202020204" pitchFamily="34" charset="0"/>
                <a:cs typeface="Arial" panose="020B0604020202020204" pitchFamily="34" charset="0"/>
              </a:rPr>
              <a:t>upp</a:t>
            </a:r>
            <a:r>
              <a:rPr sz="1000" b="1" spc="25" dirty="0">
                <a:latin typeface="Arial" panose="020B0604020202020204" pitchFamily="34" charset="0"/>
                <a:cs typeface="Arial" panose="020B0604020202020204" pitchFamily="34" charset="0"/>
              </a:rPr>
              <a:t>l</a:t>
            </a:r>
            <a:r>
              <a:rPr sz="1000" b="1" dirty="0">
                <a:latin typeface="Arial" panose="020B0604020202020204" pitchFamily="34" charset="0"/>
                <a:cs typeface="Arial" panose="020B0604020202020204" pitchFamily="34" charset="0"/>
              </a:rPr>
              <a:t>y</a:t>
            </a:r>
          </a:p>
        </p:txBody>
      </p:sp>
      <p:sp>
        <p:nvSpPr>
          <p:cNvPr id="56" name="object 56"/>
          <p:cNvSpPr/>
          <p:nvPr/>
        </p:nvSpPr>
        <p:spPr>
          <a:xfrm>
            <a:off x="9730010" y="4066032"/>
            <a:ext cx="516890" cy="489584"/>
          </a:xfrm>
          <a:custGeom>
            <a:avLst/>
            <a:gdLst/>
            <a:ahLst/>
            <a:cxnLst/>
            <a:rect l="l" t="t" r="r" b="b"/>
            <a:pathLst>
              <a:path w="516890" h="489585">
                <a:moveTo>
                  <a:pt x="258318" y="0"/>
                </a:moveTo>
                <a:lnTo>
                  <a:pt x="216418" y="3201"/>
                </a:lnTo>
                <a:lnTo>
                  <a:pt x="176671" y="12469"/>
                </a:lnTo>
                <a:lnTo>
                  <a:pt x="139608" y="27302"/>
                </a:lnTo>
                <a:lnTo>
                  <a:pt x="105761" y="47194"/>
                </a:lnTo>
                <a:lnTo>
                  <a:pt x="75661" y="71642"/>
                </a:lnTo>
                <a:lnTo>
                  <a:pt x="49842" y="100143"/>
                </a:lnTo>
                <a:lnTo>
                  <a:pt x="28834" y="132193"/>
                </a:lnTo>
                <a:lnTo>
                  <a:pt x="13169" y="167288"/>
                </a:lnTo>
                <a:lnTo>
                  <a:pt x="3381" y="204926"/>
                </a:lnTo>
                <a:lnTo>
                  <a:pt x="0" y="244602"/>
                </a:lnTo>
                <a:lnTo>
                  <a:pt x="856" y="264663"/>
                </a:lnTo>
                <a:lnTo>
                  <a:pt x="7507" y="303382"/>
                </a:lnTo>
                <a:lnTo>
                  <a:pt x="20300" y="339812"/>
                </a:lnTo>
                <a:lnTo>
                  <a:pt x="38703" y="373447"/>
                </a:lnTo>
                <a:lnTo>
                  <a:pt x="62183" y="403786"/>
                </a:lnTo>
                <a:lnTo>
                  <a:pt x="90209" y="430323"/>
                </a:lnTo>
                <a:lnTo>
                  <a:pt x="122249" y="452556"/>
                </a:lnTo>
                <a:lnTo>
                  <a:pt x="157771" y="469981"/>
                </a:lnTo>
                <a:lnTo>
                  <a:pt x="196243" y="482095"/>
                </a:lnTo>
                <a:lnTo>
                  <a:pt x="237132" y="488393"/>
                </a:lnTo>
                <a:lnTo>
                  <a:pt x="258318" y="489204"/>
                </a:lnTo>
                <a:lnTo>
                  <a:pt x="279503" y="488393"/>
                </a:lnTo>
                <a:lnTo>
                  <a:pt x="320392" y="482095"/>
                </a:lnTo>
                <a:lnTo>
                  <a:pt x="358864" y="469981"/>
                </a:lnTo>
                <a:lnTo>
                  <a:pt x="394386" y="452556"/>
                </a:lnTo>
                <a:lnTo>
                  <a:pt x="426426" y="430323"/>
                </a:lnTo>
                <a:lnTo>
                  <a:pt x="454452" y="403786"/>
                </a:lnTo>
                <a:lnTo>
                  <a:pt x="477932" y="373447"/>
                </a:lnTo>
                <a:lnTo>
                  <a:pt x="496335" y="339812"/>
                </a:lnTo>
                <a:lnTo>
                  <a:pt x="509128" y="303382"/>
                </a:lnTo>
                <a:lnTo>
                  <a:pt x="515779" y="264663"/>
                </a:lnTo>
                <a:lnTo>
                  <a:pt x="516636" y="244602"/>
                </a:lnTo>
                <a:lnTo>
                  <a:pt x="515779" y="224540"/>
                </a:lnTo>
                <a:lnTo>
                  <a:pt x="509128" y="185821"/>
                </a:lnTo>
                <a:lnTo>
                  <a:pt x="496335" y="149391"/>
                </a:lnTo>
                <a:lnTo>
                  <a:pt x="477932" y="115756"/>
                </a:lnTo>
                <a:lnTo>
                  <a:pt x="454452" y="85417"/>
                </a:lnTo>
                <a:lnTo>
                  <a:pt x="426426" y="58880"/>
                </a:lnTo>
                <a:lnTo>
                  <a:pt x="394386" y="36647"/>
                </a:lnTo>
                <a:lnTo>
                  <a:pt x="358864" y="19222"/>
                </a:lnTo>
                <a:lnTo>
                  <a:pt x="320392" y="7108"/>
                </a:lnTo>
                <a:lnTo>
                  <a:pt x="279503" y="810"/>
                </a:lnTo>
                <a:lnTo>
                  <a:pt x="258318" y="0"/>
                </a:lnTo>
                <a:close/>
              </a:path>
            </a:pathLst>
          </a:custGeom>
          <a:solidFill>
            <a:srgbClr val="FFC000"/>
          </a:solidFill>
        </p:spPr>
        <p:txBody>
          <a:bodyPr wrap="square" lIns="0" tIns="0" rIns="0" bIns="0" rtlCol="0"/>
          <a:lstStyle/>
          <a:p>
            <a:endParaRPr dirty="0"/>
          </a:p>
        </p:txBody>
      </p:sp>
      <p:sp>
        <p:nvSpPr>
          <p:cNvPr id="57" name="object 57"/>
          <p:cNvSpPr/>
          <p:nvPr/>
        </p:nvSpPr>
        <p:spPr>
          <a:xfrm>
            <a:off x="9746774" y="4102609"/>
            <a:ext cx="483234" cy="416559"/>
          </a:xfrm>
          <a:custGeom>
            <a:avLst/>
            <a:gdLst/>
            <a:ahLst/>
            <a:cxnLst/>
            <a:rect l="l" t="t" r="r" b="b"/>
            <a:pathLst>
              <a:path w="483234" h="416560">
                <a:moveTo>
                  <a:pt x="241554" y="0"/>
                </a:moveTo>
                <a:lnTo>
                  <a:pt x="202374" y="2722"/>
                </a:lnTo>
                <a:lnTo>
                  <a:pt x="147532" y="16348"/>
                </a:lnTo>
                <a:lnTo>
                  <a:pt x="98897" y="40138"/>
                </a:lnTo>
                <a:lnTo>
                  <a:pt x="58148" y="72647"/>
                </a:lnTo>
                <a:lnTo>
                  <a:pt x="26962" y="112428"/>
                </a:lnTo>
                <a:lnTo>
                  <a:pt x="7020" y="158036"/>
                </a:lnTo>
                <a:lnTo>
                  <a:pt x="0" y="208026"/>
                </a:lnTo>
                <a:lnTo>
                  <a:pt x="800" y="225086"/>
                </a:lnTo>
                <a:lnTo>
                  <a:pt x="12315" y="273776"/>
                </a:lnTo>
                <a:lnTo>
                  <a:pt x="36191" y="317602"/>
                </a:lnTo>
                <a:lnTo>
                  <a:pt x="70751" y="355120"/>
                </a:lnTo>
                <a:lnTo>
                  <a:pt x="114316" y="384883"/>
                </a:lnTo>
                <a:lnTo>
                  <a:pt x="165206" y="405446"/>
                </a:lnTo>
                <a:lnTo>
                  <a:pt x="221743" y="415362"/>
                </a:lnTo>
                <a:lnTo>
                  <a:pt x="241554" y="416052"/>
                </a:lnTo>
                <a:lnTo>
                  <a:pt x="261364" y="415362"/>
                </a:lnTo>
                <a:lnTo>
                  <a:pt x="299600" y="410005"/>
                </a:lnTo>
                <a:lnTo>
                  <a:pt x="352559" y="392831"/>
                </a:lnTo>
                <a:lnTo>
                  <a:pt x="398752" y="365974"/>
                </a:lnTo>
                <a:lnTo>
                  <a:pt x="436500" y="330881"/>
                </a:lnTo>
                <a:lnTo>
                  <a:pt x="464124" y="288996"/>
                </a:lnTo>
                <a:lnTo>
                  <a:pt x="479946" y="241767"/>
                </a:lnTo>
                <a:lnTo>
                  <a:pt x="483108" y="208026"/>
                </a:lnTo>
                <a:lnTo>
                  <a:pt x="482307" y="190965"/>
                </a:lnTo>
                <a:lnTo>
                  <a:pt x="470792" y="142275"/>
                </a:lnTo>
                <a:lnTo>
                  <a:pt x="446916" y="98449"/>
                </a:lnTo>
                <a:lnTo>
                  <a:pt x="412356" y="60931"/>
                </a:lnTo>
                <a:lnTo>
                  <a:pt x="368791" y="31168"/>
                </a:lnTo>
                <a:lnTo>
                  <a:pt x="317901" y="10605"/>
                </a:lnTo>
                <a:lnTo>
                  <a:pt x="261364" y="689"/>
                </a:lnTo>
                <a:lnTo>
                  <a:pt x="241554" y="0"/>
                </a:lnTo>
                <a:close/>
              </a:path>
            </a:pathLst>
          </a:custGeom>
          <a:solidFill>
            <a:srgbClr val="F18B1B"/>
          </a:solidFill>
        </p:spPr>
        <p:txBody>
          <a:bodyPr wrap="square" lIns="0" tIns="0" rIns="0" bIns="0" rtlCol="0"/>
          <a:lstStyle/>
          <a:p>
            <a:endParaRPr dirty="0"/>
          </a:p>
        </p:txBody>
      </p:sp>
      <p:sp>
        <p:nvSpPr>
          <p:cNvPr id="58" name="object 58"/>
          <p:cNvSpPr/>
          <p:nvPr/>
        </p:nvSpPr>
        <p:spPr>
          <a:xfrm>
            <a:off x="9818402" y="4119911"/>
            <a:ext cx="340995" cy="261620"/>
          </a:xfrm>
          <a:custGeom>
            <a:avLst/>
            <a:gdLst/>
            <a:ahLst/>
            <a:cxnLst/>
            <a:rect l="l" t="t" r="r" b="b"/>
            <a:pathLst>
              <a:path w="340995" h="261620">
                <a:moveTo>
                  <a:pt x="155091" y="0"/>
                </a:moveTo>
                <a:lnTo>
                  <a:pt x="108486" y="8433"/>
                </a:lnTo>
                <a:lnTo>
                  <a:pt x="67803" y="25933"/>
                </a:lnTo>
                <a:lnTo>
                  <a:pt x="34993" y="51002"/>
                </a:lnTo>
                <a:lnTo>
                  <a:pt x="12004" y="82144"/>
                </a:lnTo>
                <a:lnTo>
                  <a:pt x="0" y="130524"/>
                </a:lnTo>
                <a:lnTo>
                  <a:pt x="191" y="136783"/>
                </a:lnTo>
                <a:lnTo>
                  <a:pt x="14346" y="182939"/>
                </a:lnTo>
                <a:lnTo>
                  <a:pt x="48422" y="221159"/>
                </a:lnTo>
                <a:lnTo>
                  <a:pt x="84910" y="242675"/>
                </a:lnTo>
                <a:lnTo>
                  <a:pt x="129098" y="256548"/>
                </a:lnTo>
                <a:lnTo>
                  <a:pt x="179484" y="261416"/>
                </a:lnTo>
                <a:lnTo>
                  <a:pt x="195196" y="260239"/>
                </a:lnTo>
                <a:lnTo>
                  <a:pt x="239370" y="250343"/>
                </a:lnTo>
                <a:lnTo>
                  <a:pt x="277722" y="231680"/>
                </a:lnTo>
                <a:lnTo>
                  <a:pt x="308477" y="205256"/>
                </a:lnTo>
                <a:lnTo>
                  <a:pt x="329882" y="172018"/>
                </a:lnTo>
                <a:lnTo>
                  <a:pt x="340099" y="133133"/>
                </a:lnTo>
                <a:lnTo>
                  <a:pt x="340728" y="119048"/>
                </a:lnTo>
                <a:lnTo>
                  <a:pt x="338703" y="107381"/>
                </a:lnTo>
                <a:lnTo>
                  <a:pt x="317704" y="64655"/>
                </a:lnTo>
                <a:lnTo>
                  <a:pt x="289657" y="38074"/>
                </a:lnTo>
                <a:lnTo>
                  <a:pt x="252405" y="17590"/>
                </a:lnTo>
                <a:lnTo>
                  <a:pt x="207149" y="4474"/>
                </a:lnTo>
                <a:lnTo>
                  <a:pt x="155091" y="0"/>
                </a:lnTo>
                <a:close/>
              </a:path>
            </a:pathLst>
          </a:custGeom>
          <a:solidFill>
            <a:srgbClr val="F18B1B"/>
          </a:solidFill>
        </p:spPr>
        <p:txBody>
          <a:bodyPr wrap="square" lIns="0" tIns="0" rIns="0" bIns="0" rtlCol="0"/>
          <a:lstStyle/>
          <a:p>
            <a:endParaRPr dirty="0"/>
          </a:p>
        </p:txBody>
      </p:sp>
      <p:sp>
        <p:nvSpPr>
          <p:cNvPr id="59" name="object 59"/>
          <p:cNvSpPr txBox="1"/>
          <p:nvPr/>
        </p:nvSpPr>
        <p:spPr>
          <a:xfrm>
            <a:off x="9944891" y="4178523"/>
            <a:ext cx="87630" cy="207749"/>
          </a:xfrm>
          <a:prstGeom prst="rect">
            <a:avLst/>
          </a:prstGeom>
        </p:spPr>
        <p:txBody>
          <a:bodyPr vert="horz" wrap="square" lIns="0" tIns="0" rIns="0" bIns="0" rtlCol="0">
            <a:spAutoFit/>
          </a:bodyPr>
          <a:lstStyle/>
          <a:p>
            <a:pPr>
              <a:lnSpc>
                <a:spcPct val="100000"/>
              </a:lnSpc>
            </a:pPr>
            <a:r>
              <a:rPr sz="1350" b="1" dirty="0">
                <a:latin typeface="Calibri"/>
                <a:cs typeface="Calibri"/>
              </a:rPr>
              <a:t>6</a:t>
            </a:r>
            <a:endParaRPr sz="1350" dirty="0">
              <a:latin typeface="Calibri"/>
              <a:cs typeface="Calibri"/>
            </a:endParaRPr>
          </a:p>
        </p:txBody>
      </p:sp>
      <p:sp>
        <p:nvSpPr>
          <p:cNvPr id="60" name="object 60"/>
          <p:cNvSpPr/>
          <p:nvPr/>
        </p:nvSpPr>
        <p:spPr>
          <a:xfrm>
            <a:off x="7942358" y="4672585"/>
            <a:ext cx="455930" cy="367665"/>
          </a:xfrm>
          <a:custGeom>
            <a:avLst/>
            <a:gdLst/>
            <a:ahLst/>
            <a:cxnLst/>
            <a:rect l="l" t="t" r="r" b="b"/>
            <a:pathLst>
              <a:path w="455929" h="367664">
                <a:moveTo>
                  <a:pt x="227838" y="0"/>
                </a:moveTo>
                <a:lnTo>
                  <a:pt x="173085" y="5337"/>
                </a:lnTo>
                <a:lnTo>
                  <a:pt x="123133" y="20497"/>
                </a:lnTo>
                <a:lnTo>
                  <a:pt x="79563" y="44206"/>
                </a:lnTo>
                <a:lnTo>
                  <a:pt x="43959" y="75185"/>
                </a:lnTo>
                <a:lnTo>
                  <a:pt x="17904" y="112160"/>
                </a:lnTo>
                <a:lnTo>
                  <a:pt x="2982" y="153854"/>
                </a:lnTo>
                <a:lnTo>
                  <a:pt x="0" y="183642"/>
                </a:lnTo>
                <a:lnTo>
                  <a:pt x="755" y="198703"/>
                </a:lnTo>
                <a:lnTo>
                  <a:pt x="11615" y="241686"/>
                </a:lnTo>
                <a:lnTo>
                  <a:pt x="34135" y="280376"/>
                </a:lnTo>
                <a:lnTo>
                  <a:pt x="66732" y="313496"/>
                </a:lnTo>
                <a:lnTo>
                  <a:pt x="107822" y="339770"/>
                </a:lnTo>
                <a:lnTo>
                  <a:pt x="155823" y="357921"/>
                </a:lnTo>
                <a:lnTo>
                  <a:pt x="209151" y="366675"/>
                </a:lnTo>
                <a:lnTo>
                  <a:pt x="227838" y="367284"/>
                </a:lnTo>
                <a:lnTo>
                  <a:pt x="246524" y="366675"/>
                </a:lnTo>
                <a:lnTo>
                  <a:pt x="299852" y="357921"/>
                </a:lnTo>
                <a:lnTo>
                  <a:pt x="347853" y="339770"/>
                </a:lnTo>
                <a:lnTo>
                  <a:pt x="388943" y="313496"/>
                </a:lnTo>
                <a:lnTo>
                  <a:pt x="421540" y="280376"/>
                </a:lnTo>
                <a:lnTo>
                  <a:pt x="444060" y="241686"/>
                </a:lnTo>
                <a:lnTo>
                  <a:pt x="454920" y="198703"/>
                </a:lnTo>
                <a:lnTo>
                  <a:pt x="455676" y="183642"/>
                </a:lnTo>
                <a:lnTo>
                  <a:pt x="454920" y="168580"/>
                </a:lnTo>
                <a:lnTo>
                  <a:pt x="444060" y="125597"/>
                </a:lnTo>
                <a:lnTo>
                  <a:pt x="421540" y="86907"/>
                </a:lnTo>
                <a:lnTo>
                  <a:pt x="388943" y="53787"/>
                </a:lnTo>
                <a:lnTo>
                  <a:pt x="347853" y="27513"/>
                </a:lnTo>
                <a:lnTo>
                  <a:pt x="299852" y="9362"/>
                </a:lnTo>
                <a:lnTo>
                  <a:pt x="246524" y="608"/>
                </a:lnTo>
                <a:lnTo>
                  <a:pt x="227838" y="0"/>
                </a:lnTo>
                <a:close/>
              </a:path>
            </a:pathLst>
          </a:custGeom>
          <a:solidFill>
            <a:srgbClr val="FFFF00"/>
          </a:solidFill>
        </p:spPr>
        <p:txBody>
          <a:bodyPr wrap="square" lIns="0" tIns="0" rIns="0" bIns="0" rtlCol="0"/>
          <a:lstStyle/>
          <a:p>
            <a:endParaRPr dirty="0"/>
          </a:p>
        </p:txBody>
      </p:sp>
      <p:sp>
        <p:nvSpPr>
          <p:cNvPr id="61" name="object 61"/>
          <p:cNvSpPr/>
          <p:nvPr/>
        </p:nvSpPr>
        <p:spPr>
          <a:xfrm>
            <a:off x="7977410" y="4700201"/>
            <a:ext cx="387350" cy="312420"/>
          </a:xfrm>
          <a:custGeom>
            <a:avLst/>
            <a:gdLst/>
            <a:ahLst/>
            <a:cxnLst/>
            <a:rect l="l" t="t" r="r" b="b"/>
            <a:pathLst>
              <a:path w="387350" h="312420">
                <a:moveTo>
                  <a:pt x="184034" y="0"/>
                </a:moveTo>
                <a:lnTo>
                  <a:pt x="137296" y="6514"/>
                </a:lnTo>
                <a:lnTo>
                  <a:pt x="95119" y="21493"/>
                </a:lnTo>
                <a:lnTo>
                  <a:pt x="58935" y="43782"/>
                </a:lnTo>
                <a:lnTo>
                  <a:pt x="30178" y="72224"/>
                </a:lnTo>
                <a:lnTo>
                  <a:pt x="10278" y="105664"/>
                </a:lnTo>
                <a:lnTo>
                  <a:pt x="668" y="142944"/>
                </a:lnTo>
                <a:lnTo>
                  <a:pt x="0" y="156024"/>
                </a:lnTo>
                <a:lnTo>
                  <a:pt x="642" y="168836"/>
                </a:lnTo>
                <a:lnTo>
                  <a:pt x="15358" y="216825"/>
                </a:lnTo>
                <a:lnTo>
                  <a:pt x="37951" y="248267"/>
                </a:lnTo>
                <a:lnTo>
                  <a:pt x="69170" y="274600"/>
                </a:lnTo>
                <a:lnTo>
                  <a:pt x="107863" y="294734"/>
                </a:lnTo>
                <a:lnTo>
                  <a:pt x="152877" y="307580"/>
                </a:lnTo>
                <a:lnTo>
                  <a:pt x="203061" y="312049"/>
                </a:lnTo>
                <a:lnTo>
                  <a:pt x="219058" y="310889"/>
                </a:lnTo>
                <a:lnTo>
                  <a:pt x="264436" y="301425"/>
                </a:lnTo>
                <a:lnTo>
                  <a:pt x="304774" y="283880"/>
                </a:lnTo>
                <a:lnTo>
                  <a:pt x="338641" y="259412"/>
                </a:lnTo>
                <a:lnTo>
                  <a:pt x="364605" y="229176"/>
                </a:lnTo>
                <a:lnTo>
                  <a:pt x="381234" y="194328"/>
                </a:lnTo>
                <a:lnTo>
                  <a:pt x="387096" y="156024"/>
                </a:lnTo>
                <a:lnTo>
                  <a:pt x="386453" y="143213"/>
                </a:lnTo>
                <a:lnTo>
                  <a:pt x="371737" y="95224"/>
                </a:lnTo>
                <a:lnTo>
                  <a:pt x="349144" y="63781"/>
                </a:lnTo>
                <a:lnTo>
                  <a:pt x="317925" y="37448"/>
                </a:lnTo>
                <a:lnTo>
                  <a:pt x="279232" y="17314"/>
                </a:lnTo>
                <a:lnTo>
                  <a:pt x="234218" y="4468"/>
                </a:lnTo>
                <a:lnTo>
                  <a:pt x="184034" y="0"/>
                </a:lnTo>
                <a:close/>
              </a:path>
            </a:pathLst>
          </a:custGeom>
          <a:solidFill>
            <a:srgbClr val="FFFF00"/>
          </a:solidFill>
        </p:spPr>
        <p:txBody>
          <a:bodyPr wrap="square" lIns="0" tIns="0" rIns="0" bIns="0" rtlCol="0"/>
          <a:lstStyle/>
          <a:p>
            <a:endParaRPr dirty="0"/>
          </a:p>
        </p:txBody>
      </p:sp>
      <p:sp>
        <p:nvSpPr>
          <p:cNvPr id="62" name="object 62"/>
          <p:cNvSpPr/>
          <p:nvPr/>
        </p:nvSpPr>
        <p:spPr>
          <a:xfrm>
            <a:off x="8020082" y="4713745"/>
            <a:ext cx="302260" cy="195580"/>
          </a:xfrm>
          <a:custGeom>
            <a:avLst/>
            <a:gdLst/>
            <a:ahLst/>
            <a:cxnLst/>
            <a:rect l="l" t="t" r="r" b="b"/>
            <a:pathLst>
              <a:path w="302259" h="195579">
                <a:moveTo>
                  <a:pt x="148296" y="0"/>
                </a:moveTo>
                <a:lnTo>
                  <a:pt x="98189" y="6097"/>
                </a:lnTo>
                <a:lnTo>
                  <a:pt x="55446" y="21969"/>
                </a:lnTo>
                <a:lnTo>
                  <a:pt x="23030" y="45701"/>
                </a:lnTo>
                <a:lnTo>
                  <a:pt x="994" y="86261"/>
                </a:lnTo>
                <a:lnTo>
                  <a:pt x="0" y="97522"/>
                </a:lnTo>
                <a:lnTo>
                  <a:pt x="243" y="103102"/>
                </a:lnTo>
                <a:lnTo>
                  <a:pt x="18153" y="143755"/>
                </a:lnTo>
                <a:lnTo>
                  <a:pt x="47817" y="168300"/>
                </a:lnTo>
                <a:lnTo>
                  <a:pt x="88654" y="185774"/>
                </a:lnTo>
                <a:lnTo>
                  <a:pt x="138200" y="194397"/>
                </a:lnTo>
                <a:lnTo>
                  <a:pt x="156224" y="194997"/>
                </a:lnTo>
                <a:lnTo>
                  <a:pt x="173284" y="193987"/>
                </a:lnTo>
                <a:lnTo>
                  <a:pt x="220429" y="184000"/>
                </a:lnTo>
                <a:lnTo>
                  <a:pt x="259293" y="164869"/>
                </a:lnTo>
                <a:lnTo>
                  <a:pt x="287006" y="138245"/>
                </a:lnTo>
                <a:lnTo>
                  <a:pt x="301652" y="93949"/>
                </a:lnTo>
                <a:lnTo>
                  <a:pt x="300073" y="82931"/>
                </a:lnTo>
                <a:lnTo>
                  <a:pt x="276316" y="43434"/>
                </a:lnTo>
                <a:lnTo>
                  <a:pt x="243003" y="20529"/>
                </a:lnTo>
                <a:lnTo>
                  <a:pt x="199424" y="5435"/>
                </a:lnTo>
                <a:lnTo>
                  <a:pt x="148296" y="0"/>
                </a:lnTo>
                <a:close/>
              </a:path>
            </a:pathLst>
          </a:custGeom>
          <a:solidFill>
            <a:srgbClr val="FFFF00"/>
          </a:solidFill>
        </p:spPr>
        <p:txBody>
          <a:bodyPr wrap="square" lIns="0" tIns="0" rIns="0" bIns="0" rtlCol="0"/>
          <a:lstStyle/>
          <a:p>
            <a:endParaRPr dirty="0"/>
          </a:p>
        </p:txBody>
      </p:sp>
      <p:sp>
        <p:nvSpPr>
          <p:cNvPr id="63" name="object 63"/>
          <p:cNvSpPr txBox="1"/>
          <p:nvPr/>
        </p:nvSpPr>
        <p:spPr>
          <a:xfrm>
            <a:off x="8138061" y="4758489"/>
            <a:ext cx="65405" cy="207749"/>
          </a:xfrm>
          <a:prstGeom prst="rect">
            <a:avLst/>
          </a:prstGeom>
        </p:spPr>
        <p:txBody>
          <a:bodyPr vert="horz" wrap="square" lIns="0" tIns="0" rIns="0" bIns="0" rtlCol="0">
            <a:spAutoFit/>
          </a:bodyPr>
          <a:lstStyle/>
          <a:p>
            <a:pPr>
              <a:lnSpc>
                <a:spcPct val="100000"/>
              </a:lnSpc>
            </a:pPr>
            <a:r>
              <a:rPr sz="1350" b="1" dirty="0">
                <a:solidFill>
                  <a:srgbClr val="3E3E3E"/>
                </a:solidFill>
                <a:latin typeface="Calibri"/>
                <a:cs typeface="Calibri"/>
              </a:rPr>
              <a:t>9</a:t>
            </a:r>
            <a:endParaRPr sz="1350" dirty="0">
              <a:latin typeface="Calibri"/>
              <a:cs typeface="Calibri"/>
            </a:endParaRPr>
          </a:p>
        </p:txBody>
      </p:sp>
      <p:sp>
        <p:nvSpPr>
          <p:cNvPr id="64" name="object 64"/>
          <p:cNvSpPr txBox="1"/>
          <p:nvPr/>
        </p:nvSpPr>
        <p:spPr>
          <a:xfrm>
            <a:off x="8465050" y="4809731"/>
            <a:ext cx="1447800" cy="153888"/>
          </a:xfrm>
          <a:prstGeom prst="rect">
            <a:avLst/>
          </a:prstGeom>
        </p:spPr>
        <p:txBody>
          <a:bodyPr vert="horz" wrap="square" lIns="0" tIns="0" rIns="0" bIns="0" rtlCol="0">
            <a:spAutoFit/>
          </a:bodyPr>
          <a:lstStyle/>
          <a:p>
            <a:pPr>
              <a:lnSpc>
                <a:spcPts val="1185"/>
              </a:lnSpc>
            </a:pPr>
            <a:r>
              <a:rPr sz="1000" b="1" spc="-5" dirty="0">
                <a:latin typeface="Arial" panose="020B0604020202020204" pitchFamily="34" charset="0"/>
                <a:cs typeface="Arial" panose="020B0604020202020204" pitchFamily="34" charset="0"/>
              </a:rPr>
              <a:t>Hu</a:t>
            </a:r>
            <a:r>
              <a:rPr sz="1000" b="1" spc="10" dirty="0">
                <a:latin typeface="Arial" panose="020B0604020202020204" pitchFamily="34" charset="0"/>
                <a:cs typeface="Arial" panose="020B0604020202020204" pitchFamily="34" charset="0"/>
              </a:rPr>
              <a:t>m</a:t>
            </a:r>
            <a:r>
              <a:rPr sz="1000" b="1" spc="-5" dirty="0">
                <a:latin typeface="Arial" panose="020B0604020202020204" pitchFamily="34" charset="0"/>
                <a:cs typeface="Arial" panose="020B0604020202020204" pitchFamily="34" charset="0"/>
              </a:rPr>
              <a:t>a</a:t>
            </a:r>
            <a:r>
              <a:rPr sz="1000" b="1" dirty="0">
                <a:latin typeface="Arial" panose="020B0604020202020204" pitchFamily="34" charset="0"/>
                <a:cs typeface="Arial" panose="020B0604020202020204" pitchFamily="34" charset="0"/>
              </a:rPr>
              <a:t>n</a:t>
            </a:r>
            <a:r>
              <a:rPr sz="1000" b="1" spc="-5" dirty="0">
                <a:latin typeface="Arial" panose="020B0604020202020204" pitchFamily="34" charset="0"/>
                <a:cs typeface="Arial" panose="020B0604020202020204" pitchFamily="34" charset="0"/>
              </a:rPr>
              <a:t> Cap</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t</a:t>
            </a:r>
            <a:r>
              <a:rPr sz="1000" b="1" spc="-5" dirty="0">
                <a:latin typeface="Arial" panose="020B0604020202020204" pitchFamily="34" charset="0"/>
                <a:cs typeface="Arial" panose="020B0604020202020204" pitchFamily="34" charset="0"/>
              </a:rPr>
              <a:t>a</a:t>
            </a:r>
            <a:r>
              <a:rPr sz="1000" b="1" spc="25" dirty="0">
                <a:latin typeface="Arial" panose="020B0604020202020204" pitchFamily="34" charset="0"/>
                <a:cs typeface="Arial" panose="020B0604020202020204" pitchFamily="34" charset="0"/>
              </a:rPr>
              <a:t>l</a:t>
            </a:r>
            <a:r>
              <a:rPr sz="1000" b="1" dirty="0">
                <a:latin typeface="Arial" panose="020B0604020202020204" pitchFamily="34" charset="0"/>
                <a:cs typeface="Arial" panose="020B0604020202020204" pitchFamily="34" charset="0"/>
              </a:rPr>
              <a:t>/Pe</a:t>
            </a:r>
            <a:r>
              <a:rPr sz="1000" b="1" spc="-5" dirty="0">
                <a:latin typeface="Arial" panose="020B0604020202020204" pitchFamily="34" charset="0"/>
                <a:cs typeface="Arial" panose="020B0604020202020204" pitchFamily="34" charset="0"/>
              </a:rPr>
              <a:t>op</a:t>
            </a:r>
            <a:r>
              <a:rPr sz="1000" b="1" spc="10" dirty="0">
                <a:latin typeface="Arial" panose="020B0604020202020204" pitchFamily="34" charset="0"/>
                <a:cs typeface="Arial" panose="020B0604020202020204" pitchFamily="34" charset="0"/>
              </a:rPr>
              <a:t>l</a:t>
            </a:r>
            <a:r>
              <a:rPr sz="1000" b="1" dirty="0">
                <a:latin typeface="Arial" panose="020B0604020202020204" pitchFamily="34" charset="0"/>
                <a:cs typeface="Arial" panose="020B0604020202020204" pitchFamily="34" charset="0"/>
              </a:rPr>
              <a:t>e</a:t>
            </a:r>
          </a:p>
        </p:txBody>
      </p:sp>
      <p:sp>
        <p:nvSpPr>
          <p:cNvPr id="65" name="object 65"/>
          <p:cNvSpPr txBox="1"/>
          <p:nvPr/>
        </p:nvSpPr>
        <p:spPr>
          <a:xfrm>
            <a:off x="8476246" y="3125762"/>
            <a:ext cx="1305938" cy="301173"/>
          </a:xfrm>
          <a:prstGeom prst="rect">
            <a:avLst/>
          </a:prstGeom>
        </p:spPr>
        <p:txBody>
          <a:bodyPr vert="horz" wrap="square" lIns="0" tIns="0" rIns="0" bIns="0" rtlCol="0">
            <a:spAutoFit/>
          </a:bodyPr>
          <a:lstStyle/>
          <a:p>
            <a:pPr algn="ctr">
              <a:lnSpc>
                <a:spcPct val="101000"/>
              </a:lnSpc>
            </a:pPr>
            <a:r>
              <a:rPr sz="1000" b="1" dirty="0">
                <a:latin typeface="Arial" panose="020B0604020202020204" pitchFamily="34" charset="0"/>
                <a:cs typeface="Arial" panose="020B0604020202020204" pitchFamily="34" charset="0"/>
              </a:rPr>
              <a:t>O</a:t>
            </a:r>
            <a:r>
              <a:rPr sz="1000" b="1" spc="-5" dirty="0">
                <a:latin typeface="Arial" panose="020B0604020202020204" pitchFamily="34" charset="0"/>
                <a:cs typeface="Arial" panose="020B0604020202020204" pitchFamily="34" charset="0"/>
              </a:rPr>
              <a:t>p</a:t>
            </a:r>
            <a:r>
              <a:rPr sz="1000" b="1" spc="5"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ra</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n</a:t>
            </a:r>
            <a:r>
              <a:rPr sz="1000" b="1" dirty="0">
                <a:latin typeface="Arial" panose="020B0604020202020204" pitchFamily="34" charset="0"/>
                <a:cs typeface="Arial" panose="020B0604020202020204" pitchFamily="34" charset="0"/>
              </a:rPr>
              <a:t>g </a:t>
            </a:r>
            <a:r>
              <a:rPr sz="1000" b="1" spc="10" dirty="0">
                <a:latin typeface="Arial" panose="020B0604020202020204" pitchFamily="34" charset="0"/>
                <a:cs typeface="Arial" panose="020B0604020202020204" pitchFamily="34" charset="0"/>
              </a:rPr>
              <a:t>m</a:t>
            </a:r>
            <a:r>
              <a:rPr sz="1000" b="1" spc="-5" dirty="0">
                <a:latin typeface="Arial" panose="020B0604020202020204" pitchFamily="34" charset="0"/>
                <a:cs typeface="Arial" panose="020B0604020202020204" pitchFamily="34" charset="0"/>
              </a:rPr>
              <a:t>o</a:t>
            </a:r>
            <a:r>
              <a:rPr sz="1000" b="1" spc="5" dirty="0">
                <a:latin typeface="Arial" panose="020B0604020202020204" pitchFamily="34" charset="0"/>
                <a:cs typeface="Arial" panose="020B0604020202020204" pitchFamily="34" charset="0"/>
              </a:rPr>
              <a:t>del </a:t>
            </a:r>
            <a:r>
              <a:rPr lang="en-US" sz="1000" b="1" spc="5" dirty="0">
                <a:latin typeface="Arial" panose="020B0604020202020204" pitchFamily="34" charset="0"/>
                <a:cs typeface="Arial" panose="020B0604020202020204" pitchFamily="34" charset="0"/>
              </a:rPr>
              <a:t/>
            </a:r>
            <a:br>
              <a:rPr lang="en-US" sz="1000" b="1" spc="5" dirty="0">
                <a:latin typeface="Arial" panose="020B0604020202020204" pitchFamily="34" charset="0"/>
                <a:cs typeface="Arial" panose="020B0604020202020204" pitchFamily="34" charset="0"/>
              </a:rPr>
            </a:br>
            <a:r>
              <a:rPr sz="1000" b="1" spc="-5" dirty="0">
                <a:latin typeface="Arial" panose="020B0604020202020204" pitchFamily="34" charset="0"/>
                <a:cs typeface="Arial" panose="020B0604020202020204" pitchFamily="34" charset="0"/>
              </a:rPr>
              <a:t>an</a:t>
            </a:r>
            <a:r>
              <a:rPr sz="1000" b="1" dirty="0">
                <a:latin typeface="Arial" panose="020B0604020202020204" pitchFamily="34" charset="0"/>
                <a:cs typeface="Arial" panose="020B0604020202020204" pitchFamily="34" charset="0"/>
              </a:rPr>
              <a:t>d</a:t>
            </a:r>
            <a:r>
              <a:rPr lang="en-US" sz="1000" b="1" dirty="0">
                <a:latin typeface="Arial" panose="020B0604020202020204" pitchFamily="34" charset="0"/>
                <a:cs typeface="Arial" panose="020B0604020202020204" pitchFamily="34" charset="0"/>
              </a:rPr>
              <a:t> </a:t>
            </a:r>
            <a:r>
              <a:rPr sz="1000" b="1" spc="5" dirty="0">
                <a:latin typeface="Arial" panose="020B0604020202020204" pitchFamily="34" charset="0"/>
                <a:cs typeface="Arial" panose="020B0604020202020204" pitchFamily="34" charset="0"/>
              </a:rPr>
              <a:t>s</a:t>
            </a:r>
            <a:r>
              <a:rPr sz="1000" b="1" spc="-15" dirty="0">
                <a:latin typeface="Arial" panose="020B0604020202020204" pitchFamily="34" charset="0"/>
                <a:cs typeface="Arial" panose="020B0604020202020204" pitchFamily="34" charset="0"/>
              </a:rPr>
              <a:t>y</a:t>
            </a:r>
            <a:r>
              <a:rPr sz="1000" b="1" spc="-5" dirty="0">
                <a:latin typeface="Arial" panose="020B0604020202020204" pitchFamily="34" charset="0"/>
                <a:cs typeface="Arial" panose="020B0604020202020204" pitchFamily="34" charset="0"/>
              </a:rPr>
              <a:t>n</a:t>
            </a:r>
            <a:r>
              <a:rPr sz="1000" b="1" spc="5" dirty="0">
                <a:latin typeface="Arial" panose="020B0604020202020204" pitchFamily="34" charset="0"/>
                <a:cs typeface="Arial" panose="020B0604020202020204" pitchFamily="34" charset="0"/>
              </a:rPr>
              <a:t>e</a:t>
            </a:r>
            <a:r>
              <a:rPr sz="1000" b="1" spc="-5" dirty="0">
                <a:latin typeface="Arial" panose="020B0604020202020204" pitchFamily="34" charset="0"/>
                <a:cs typeface="Arial" panose="020B0604020202020204" pitchFamily="34" charset="0"/>
              </a:rPr>
              <a:t>r</a:t>
            </a:r>
            <a:r>
              <a:rPr sz="1000" b="1" spc="5" dirty="0">
                <a:latin typeface="Arial" panose="020B0604020202020204" pitchFamily="34" charset="0"/>
                <a:cs typeface="Arial" panose="020B0604020202020204" pitchFamily="34" charset="0"/>
              </a:rPr>
              <a:t>g</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es</a:t>
            </a:r>
            <a:endParaRPr sz="1000" b="1" dirty="0">
              <a:latin typeface="Arial" panose="020B0604020202020204" pitchFamily="34" charset="0"/>
              <a:cs typeface="Arial" panose="020B0604020202020204" pitchFamily="34" charset="0"/>
            </a:endParaRPr>
          </a:p>
        </p:txBody>
      </p:sp>
      <p:sp>
        <p:nvSpPr>
          <p:cNvPr id="67" name="object 67"/>
          <p:cNvSpPr txBox="1"/>
          <p:nvPr/>
        </p:nvSpPr>
        <p:spPr>
          <a:xfrm>
            <a:off x="11089454" y="2867125"/>
            <a:ext cx="793052" cy="153888"/>
          </a:xfrm>
          <a:prstGeom prst="rect">
            <a:avLst/>
          </a:prstGeom>
        </p:spPr>
        <p:txBody>
          <a:bodyPr vert="horz" wrap="square" lIns="0" tIns="0" rIns="0" bIns="0" rtlCol="0">
            <a:spAutoFit/>
          </a:bodyPr>
          <a:lstStyle/>
          <a:p>
            <a:pPr>
              <a:lnSpc>
                <a:spcPts val="1185"/>
              </a:lnSpc>
            </a:pPr>
            <a:r>
              <a:rPr sz="1000" b="1" dirty="0">
                <a:latin typeface="Arial" panose="020B0604020202020204" pitchFamily="34" charset="0"/>
                <a:cs typeface="Arial" panose="020B0604020202020204" pitchFamily="34" charset="0"/>
              </a:rPr>
              <a:t>Li</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g</a:t>
            </a:r>
            <a:r>
              <a:rPr sz="1000" b="1" spc="-5" dirty="0">
                <a:latin typeface="Arial" panose="020B0604020202020204" pitchFamily="34" charset="0"/>
                <a:cs typeface="Arial" panose="020B0604020202020204" pitchFamily="34" charset="0"/>
              </a:rPr>
              <a:t>a</a:t>
            </a:r>
            <a:r>
              <a:rPr sz="1000" b="1" spc="5" dirty="0">
                <a:latin typeface="Arial" panose="020B0604020202020204" pitchFamily="34" charset="0"/>
                <a:cs typeface="Arial" panose="020B0604020202020204" pitchFamily="34" charset="0"/>
              </a:rPr>
              <a:t>t</a:t>
            </a:r>
            <a:r>
              <a:rPr sz="1000" b="1" dirty="0">
                <a:latin typeface="Arial" panose="020B0604020202020204" pitchFamily="34" charset="0"/>
                <a:cs typeface="Arial" panose="020B0604020202020204" pitchFamily="34" charset="0"/>
              </a:rPr>
              <a:t>i</a:t>
            </a:r>
            <a:r>
              <a:rPr sz="1000" b="1" spc="-5" dirty="0">
                <a:latin typeface="Arial" panose="020B0604020202020204" pitchFamily="34" charset="0"/>
                <a:cs typeface="Arial" panose="020B0604020202020204" pitchFamily="34" charset="0"/>
              </a:rPr>
              <a:t>on</a:t>
            </a:r>
            <a:r>
              <a:rPr sz="1000" b="1" dirty="0">
                <a:latin typeface="Arial" panose="020B0604020202020204" pitchFamily="34" charset="0"/>
                <a:cs typeface="Arial" panose="020B0604020202020204" pitchFamily="34" charset="0"/>
              </a:rPr>
              <a:t>s</a:t>
            </a:r>
          </a:p>
        </p:txBody>
      </p:sp>
      <p:sp>
        <p:nvSpPr>
          <p:cNvPr id="68" name="object 68"/>
          <p:cNvSpPr/>
          <p:nvPr/>
        </p:nvSpPr>
        <p:spPr>
          <a:xfrm>
            <a:off x="2573510" y="6202084"/>
            <a:ext cx="2709545" cy="655955"/>
          </a:xfrm>
          <a:custGeom>
            <a:avLst/>
            <a:gdLst/>
            <a:ahLst/>
            <a:cxnLst/>
            <a:rect l="l" t="t" r="r" b="b"/>
            <a:pathLst>
              <a:path w="2709545" h="655954">
                <a:moveTo>
                  <a:pt x="0" y="655916"/>
                </a:moveTo>
                <a:lnTo>
                  <a:pt x="2709329" y="655916"/>
                </a:lnTo>
                <a:lnTo>
                  <a:pt x="2709329" y="0"/>
                </a:lnTo>
                <a:lnTo>
                  <a:pt x="0" y="0"/>
                </a:lnTo>
                <a:lnTo>
                  <a:pt x="0" y="655916"/>
                </a:lnTo>
                <a:close/>
              </a:path>
            </a:pathLst>
          </a:custGeom>
          <a:solidFill>
            <a:srgbClr val="A8C9EE"/>
          </a:solidFill>
        </p:spPr>
        <p:txBody>
          <a:bodyPr wrap="square" lIns="0" tIns="0" rIns="0" bIns="0" rtlCol="0"/>
          <a:lstStyle/>
          <a:p>
            <a:endParaRPr dirty="0"/>
          </a:p>
        </p:txBody>
      </p:sp>
      <p:sp>
        <p:nvSpPr>
          <p:cNvPr id="69" name="object 69"/>
          <p:cNvSpPr/>
          <p:nvPr/>
        </p:nvSpPr>
        <p:spPr>
          <a:xfrm>
            <a:off x="5282852" y="6202084"/>
            <a:ext cx="2709545" cy="655955"/>
          </a:xfrm>
          <a:custGeom>
            <a:avLst/>
            <a:gdLst/>
            <a:ahLst/>
            <a:cxnLst/>
            <a:rect l="l" t="t" r="r" b="b"/>
            <a:pathLst>
              <a:path w="2709545" h="655954">
                <a:moveTo>
                  <a:pt x="0" y="655916"/>
                </a:moveTo>
                <a:lnTo>
                  <a:pt x="2709329" y="655916"/>
                </a:lnTo>
                <a:lnTo>
                  <a:pt x="2709329" y="0"/>
                </a:lnTo>
                <a:lnTo>
                  <a:pt x="0" y="0"/>
                </a:lnTo>
                <a:lnTo>
                  <a:pt x="0" y="655916"/>
                </a:lnTo>
                <a:close/>
              </a:path>
            </a:pathLst>
          </a:custGeom>
          <a:solidFill>
            <a:srgbClr val="A8C9EE"/>
          </a:solidFill>
        </p:spPr>
        <p:txBody>
          <a:bodyPr wrap="square" lIns="0" tIns="0" rIns="0" bIns="0" rtlCol="0"/>
          <a:lstStyle/>
          <a:p>
            <a:endParaRPr dirty="0"/>
          </a:p>
        </p:txBody>
      </p:sp>
      <p:sp>
        <p:nvSpPr>
          <p:cNvPr id="70" name="object 70"/>
          <p:cNvSpPr/>
          <p:nvPr/>
        </p:nvSpPr>
        <p:spPr>
          <a:xfrm>
            <a:off x="7992180" y="6202084"/>
            <a:ext cx="2709545" cy="655955"/>
          </a:xfrm>
          <a:custGeom>
            <a:avLst/>
            <a:gdLst/>
            <a:ahLst/>
            <a:cxnLst/>
            <a:rect l="l" t="t" r="r" b="b"/>
            <a:pathLst>
              <a:path w="2709545" h="655954">
                <a:moveTo>
                  <a:pt x="0" y="655916"/>
                </a:moveTo>
                <a:lnTo>
                  <a:pt x="2709329" y="655916"/>
                </a:lnTo>
                <a:lnTo>
                  <a:pt x="2709329" y="0"/>
                </a:lnTo>
                <a:lnTo>
                  <a:pt x="0" y="0"/>
                </a:lnTo>
                <a:lnTo>
                  <a:pt x="0" y="655916"/>
                </a:lnTo>
                <a:close/>
              </a:path>
            </a:pathLst>
          </a:custGeom>
          <a:solidFill>
            <a:srgbClr val="A8C9EE"/>
          </a:solidFill>
        </p:spPr>
        <p:txBody>
          <a:bodyPr wrap="square" lIns="0" tIns="0" rIns="0" bIns="0" rtlCol="0"/>
          <a:lstStyle/>
          <a:p>
            <a:endParaRPr dirty="0"/>
          </a:p>
        </p:txBody>
      </p:sp>
      <p:sp>
        <p:nvSpPr>
          <p:cNvPr id="71" name="object 71"/>
          <p:cNvSpPr/>
          <p:nvPr/>
        </p:nvSpPr>
        <p:spPr>
          <a:xfrm>
            <a:off x="5282848" y="6195730"/>
            <a:ext cx="0" cy="662305"/>
          </a:xfrm>
          <a:custGeom>
            <a:avLst/>
            <a:gdLst/>
            <a:ahLst/>
            <a:cxnLst/>
            <a:rect l="l" t="t" r="r" b="b"/>
            <a:pathLst>
              <a:path h="662304">
                <a:moveTo>
                  <a:pt x="0" y="0"/>
                </a:moveTo>
                <a:lnTo>
                  <a:pt x="0" y="662270"/>
                </a:lnTo>
              </a:path>
            </a:pathLst>
          </a:custGeom>
          <a:ln w="12700">
            <a:solidFill>
              <a:srgbClr val="FFFFFF"/>
            </a:solidFill>
          </a:ln>
        </p:spPr>
        <p:txBody>
          <a:bodyPr wrap="square" lIns="0" tIns="0" rIns="0" bIns="0" rtlCol="0"/>
          <a:lstStyle/>
          <a:p>
            <a:endParaRPr dirty="0"/>
          </a:p>
        </p:txBody>
      </p:sp>
      <p:sp>
        <p:nvSpPr>
          <p:cNvPr id="72" name="object 72"/>
          <p:cNvSpPr/>
          <p:nvPr/>
        </p:nvSpPr>
        <p:spPr>
          <a:xfrm>
            <a:off x="7992179" y="6195730"/>
            <a:ext cx="0" cy="662305"/>
          </a:xfrm>
          <a:custGeom>
            <a:avLst/>
            <a:gdLst/>
            <a:ahLst/>
            <a:cxnLst/>
            <a:rect l="l" t="t" r="r" b="b"/>
            <a:pathLst>
              <a:path h="662304">
                <a:moveTo>
                  <a:pt x="0" y="0"/>
                </a:moveTo>
                <a:lnTo>
                  <a:pt x="0" y="662270"/>
                </a:lnTo>
              </a:path>
            </a:pathLst>
          </a:custGeom>
          <a:ln w="12700">
            <a:solidFill>
              <a:srgbClr val="FFFFFF"/>
            </a:solidFill>
          </a:ln>
        </p:spPr>
        <p:txBody>
          <a:bodyPr wrap="square" lIns="0" tIns="0" rIns="0" bIns="0" rtlCol="0"/>
          <a:lstStyle/>
          <a:p>
            <a:endParaRPr dirty="0"/>
          </a:p>
        </p:txBody>
      </p:sp>
      <p:sp>
        <p:nvSpPr>
          <p:cNvPr id="73" name="object 73"/>
          <p:cNvSpPr/>
          <p:nvPr/>
        </p:nvSpPr>
        <p:spPr>
          <a:xfrm>
            <a:off x="2573514" y="6195730"/>
            <a:ext cx="0" cy="662305"/>
          </a:xfrm>
          <a:custGeom>
            <a:avLst/>
            <a:gdLst/>
            <a:ahLst/>
            <a:cxnLst/>
            <a:rect l="l" t="t" r="r" b="b"/>
            <a:pathLst>
              <a:path h="662304">
                <a:moveTo>
                  <a:pt x="0" y="0"/>
                </a:moveTo>
                <a:lnTo>
                  <a:pt x="0" y="662270"/>
                </a:lnTo>
              </a:path>
            </a:pathLst>
          </a:custGeom>
          <a:ln w="12700">
            <a:solidFill>
              <a:srgbClr val="FFFFFF"/>
            </a:solidFill>
          </a:ln>
        </p:spPr>
        <p:txBody>
          <a:bodyPr wrap="square" lIns="0" tIns="0" rIns="0" bIns="0" rtlCol="0"/>
          <a:lstStyle/>
          <a:p>
            <a:endParaRPr dirty="0"/>
          </a:p>
        </p:txBody>
      </p:sp>
      <p:sp>
        <p:nvSpPr>
          <p:cNvPr id="74" name="object 74"/>
          <p:cNvSpPr/>
          <p:nvPr/>
        </p:nvSpPr>
        <p:spPr>
          <a:xfrm>
            <a:off x="10701514" y="6195730"/>
            <a:ext cx="0" cy="662305"/>
          </a:xfrm>
          <a:custGeom>
            <a:avLst/>
            <a:gdLst/>
            <a:ahLst/>
            <a:cxnLst/>
            <a:rect l="l" t="t" r="r" b="b"/>
            <a:pathLst>
              <a:path h="662304">
                <a:moveTo>
                  <a:pt x="0" y="0"/>
                </a:moveTo>
                <a:lnTo>
                  <a:pt x="0" y="662270"/>
                </a:lnTo>
              </a:path>
            </a:pathLst>
          </a:custGeom>
          <a:ln w="12700">
            <a:solidFill>
              <a:srgbClr val="FFFFFF"/>
            </a:solidFill>
          </a:ln>
        </p:spPr>
        <p:txBody>
          <a:bodyPr wrap="square" lIns="0" tIns="0" rIns="0" bIns="0" rtlCol="0"/>
          <a:lstStyle/>
          <a:p>
            <a:endParaRPr dirty="0"/>
          </a:p>
        </p:txBody>
      </p:sp>
      <p:sp>
        <p:nvSpPr>
          <p:cNvPr id="75" name="object 75"/>
          <p:cNvSpPr/>
          <p:nvPr/>
        </p:nvSpPr>
        <p:spPr>
          <a:xfrm>
            <a:off x="2567164" y="6202079"/>
            <a:ext cx="8140700" cy="0"/>
          </a:xfrm>
          <a:custGeom>
            <a:avLst/>
            <a:gdLst/>
            <a:ahLst/>
            <a:cxnLst/>
            <a:rect l="l" t="t" r="r" b="b"/>
            <a:pathLst>
              <a:path w="8140700">
                <a:moveTo>
                  <a:pt x="0" y="0"/>
                </a:moveTo>
                <a:lnTo>
                  <a:pt x="8140700" y="0"/>
                </a:lnTo>
              </a:path>
            </a:pathLst>
          </a:custGeom>
          <a:ln w="12700">
            <a:solidFill>
              <a:srgbClr val="FFFFFF"/>
            </a:solidFill>
          </a:ln>
        </p:spPr>
        <p:txBody>
          <a:bodyPr wrap="square" lIns="0" tIns="0" rIns="0" bIns="0" rtlCol="0"/>
          <a:lstStyle/>
          <a:p>
            <a:endParaRPr dirty="0"/>
          </a:p>
        </p:txBody>
      </p:sp>
      <p:sp>
        <p:nvSpPr>
          <p:cNvPr id="76" name="object 76"/>
          <p:cNvSpPr/>
          <p:nvPr/>
        </p:nvSpPr>
        <p:spPr>
          <a:xfrm>
            <a:off x="2567164" y="6858000"/>
            <a:ext cx="8140700" cy="0"/>
          </a:xfrm>
          <a:custGeom>
            <a:avLst/>
            <a:gdLst/>
            <a:ahLst/>
            <a:cxnLst/>
            <a:rect l="l" t="t" r="r" b="b"/>
            <a:pathLst>
              <a:path w="8140700">
                <a:moveTo>
                  <a:pt x="0" y="0"/>
                </a:moveTo>
                <a:lnTo>
                  <a:pt x="8140700" y="0"/>
                </a:lnTo>
              </a:path>
            </a:pathLst>
          </a:custGeom>
          <a:ln w="38100">
            <a:solidFill>
              <a:srgbClr val="FFFFFF"/>
            </a:solidFill>
          </a:ln>
        </p:spPr>
        <p:txBody>
          <a:bodyPr wrap="square" lIns="0" tIns="0" rIns="0" bIns="0" rtlCol="0"/>
          <a:lstStyle/>
          <a:p>
            <a:endParaRPr dirty="0"/>
          </a:p>
        </p:txBody>
      </p:sp>
      <p:sp>
        <p:nvSpPr>
          <p:cNvPr id="77" name="object 77"/>
          <p:cNvSpPr txBox="1"/>
          <p:nvPr/>
        </p:nvSpPr>
        <p:spPr>
          <a:xfrm>
            <a:off x="3333484" y="6270921"/>
            <a:ext cx="1096645" cy="269304"/>
          </a:xfrm>
          <a:prstGeom prst="rect">
            <a:avLst/>
          </a:prstGeom>
        </p:spPr>
        <p:txBody>
          <a:bodyPr vert="horz" wrap="square" lIns="0" tIns="0" rIns="0" bIns="0" rtlCol="0">
            <a:spAutoFit/>
          </a:bodyPr>
          <a:lstStyle/>
          <a:p>
            <a:pPr marL="12700"/>
            <a:r>
              <a:rPr sz="1750" b="1" spc="-15" dirty="0">
                <a:latin typeface="Arial"/>
                <a:cs typeface="Arial"/>
              </a:rPr>
              <a:t>EXTREME</a:t>
            </a:r>
            <a:endParaRPr sz="1750" dirty="0">
              <a:latin typeface="Arial"/>
              <a:cs typeface="Arial"/>
            </a:endParaRPr>
          </a:p>
        </p:txBody>
      </p:sp>
      <p:sp>
        <p:nvSpPr>
          <p:cNvPr id="78" name="object 78"/>
          <p:cNvSpPr txBox="1"/>
          <p:nvPr/>
        </p:nvSpPr>
        <p:spPr>
          <a:xfrm>
            <a:off x="6103689" y="6270921"/>
            <a:ext cx="578485" cy="269304"/>
          </a:xfrm>
          <a:prstGeom prst="rect">
            <a:avLst/>
          </a:prstGeom>
        </p:spPr>
        <p:txBody>
          <a:bodyPr vert="horz" wrap="square" lIns="0" tIns="0" rIns="0" bIns="0" rtlCol="0">
            <a:spAutoFit/>
          </a:bodyPr>
          <a:lstStyle/>
          <a:p>
            <a:pPr marL="12700"/>
            <a:r>
              <a:rPr sz="1750" b="1" spc="-15" dirty="0">
                <a:latin typeface="Arial"/>
                <a:cs typeface="Arial"/>
              </a:rPr>
              <a:t>H</a:t>
            </a:r>
            <a:r>
              <a:rPr sz="1750" b="1" spc="-10" dirty="0">
                <a:latin typeface="Arial"/>
                <a:cs typeface="Arial"/>
              </a:rPr>
              <a:t>I</a:t>
            </a:r>
            <a:r>
              <a:rPr sz="1750" b="1" spc="-15" dirty="0">
                <a:latin typeface="Arial"/>
                <a:cs typeface="Arial"/>
              </a:rPr>
              <a:t>GH</a:t>
            </a:r>
            <a:endParaRPr sz="1750" dirty="0">
              <a:latin typeface="Arial"/>
              <a:cs typeface="Arial"/>
            </a:endParaRPr>
          </a:p>
        </p:txBody>
      </p:sp>
      <p:sp>
        <p:nvSpPr>
          <p:cNvPr id="79" name="object 79"/>
          <p:cNvSpPr txBox="1"/>
          <p:nvPr/>
        </p:nvSpPr>
        <p:spPr>
          <a:xfrm>
            <a:off x="8628606" y="6270921"/>
            <a:ext cx="1268730" cy="269304"/>
          </a:xfrm>
          <a:prstGeom prst="rect">
            <a:avLst/>
          </a:prstGeom>
        </p:spPr>
        <p:txBody>
          <a:bodyPr vert="horz" wrap="square" lIns="0" tIns="0" rIns="0" bIns="0" rtlCol="0">
            <a:spAutoFit/>
          </a:bodyPr>
          <a:lstStyle/>
          <a:p>
            <a:pPr marL="12700"/>
            <a:r>
              <a:rPr sz="1750" b="1" spc="-15" dirty="0">
                <a:latin typeface="Arial"/>
                <a:cs typeface="Arial"/>
              </a:rPr>
              <a:t>MODER</a:t>
            </a:r>
            <a:r>
              <a:rPr sz="1750" b="1" spc="-204" dirty="0">
                <a:latin typeface="Arial"/>
                <a:cs typeface="Arial"/>
              </a:rPr>
              <a:t>A</a:t>
            </a:r>
            <a:r>
              <a:rPr sz="1750" b="1" spc="-15" dirty="0">
                <a:latin typeface="Arial"/>
                <a:cs typeface="Arial"/>
              </a:rPr>
              <a:t>TE</a:t>
            </a:r>
            <a:endParaRPr sz="1750" dirty="0">
              <a:latin typeface="Arial"/>
              <a:cs typeface="Arial"/>
            </a:endParaRPr>
          </a:p>
        </p:txBody>
      </p:sp>
      <p:sp>
        <p:nvSpPr>
          <p:cNvPr id="80" name="object 80"/>
          <p:cNvSpPr/>
          <p:nvPr/>
        </p:nvSpPr>
        <p:spPr>
          <a:xfrm>
            <a:off x="2654077" y="6254496"/>
            <a:ext cx="462280" cy="477520"/>
          </a:xfrm>
          <a:custGeom>
            <a:avLst/>
            <a:gdLst/>
            <a:ahLst/>
            <a:cxnLst/>
            <a:rect l="l" t="t" r="r" b="b"/>
            <a:pathLst>
              <a:path w="462280" h="477520">
                <a:moveTo>
                  <a:pt x="230886" y="0"/>
                </a:moveTo>
                <a:lnTo>
                  <a:pt x="175399" y="6931"/>
                </a:lnTo>
                <a:lnTo>
                  <a:pt x="124777" y="26621"/>
                </a:lnTo>
                <a:lnTo>
                  <a:pt x="80625" y="57412"/>
                </a:lnTo>
                <a:lnTo>
                  <a:pt x="44545" y="97646"/>
                </a:lnTo>
                <a:lnTo>
                  <a:pt x="18143" y="145668"/>
                </a:lnTo>
                <a:lnTo>
                  <a:pt x="3021" y="199818"/>
                </a:lnTo>
                <a:lnTo>
                  <a:pt x="0" y="238505"/>
                </a:lnTo>
                <a:lnTo>
                  <a:pt x="765" y="258067"/>
                </a:lnTo>
                <a:lnTo>
                  <a:pt x="6709" y="295822"/>
                </a:lnTo>
                <a:lnTo>
                  <a:pt x="25769" y="348113"/>
                </a:lnTo>
                <a:lnTo>
                  <a:pt x="55576" y="393723"/>
                </a:lnTo>
                <a:lnTo>
                  <a:pt x="94525" y="430994"/>
                </a:lnTo>
                <a:lnTo>
                  <a:pt x="141012" y="458269"/>
                </a:lnTo>
                <a:lnTo>
                  <a:pt x="193433" y="473890"/>
                </a:lnTo>
                <a:lnTo>
                  <a:pt x="230886" y="477011"/>
                </a:lnTo>
                <a:lnTo>
                  <a:pt x="249823" y="476221"/>
                </a:lnTo>
                <a:lnTo>
                  <a:pt x="303866" y="464852"/>
                </a:lnTo>
                <a:lnTo>
                  <a:pt x="352509" y="441278"/>
                </a:lnTo>
                <a:lnTo>
                  <a:pt x="394149" y="407155"/>
                </a:lnTo>
                <a:lnTo>
                  <a:pt x="427181" y="364141"/>
                </a:lnTo>
                <a:lnTo>
                  <a:pt x="450001" y="313892"/>
                </a:lnTo>
                <a:lnTo>
                  <a:pt x="461006" y="258067"/>
                </a:lnTo>
                <a:lnTo>
                  <a:pt x="461772" y="238505"/>
                </a:lnTo>
                <a:lnTo>
                  <a:pt x="461006" y="218944"/>
                </a:lnTo>
                <a:lnTo>
                  <a:pt x="455062" y="181189"/>
                </a:lnTo>
                <a:lnTo>
                  <a:pt x="436002" y="128898"/>
                </a:lnTo>
                <a:lnTo>
                  <a:pt x="406195" y="83288"/>
                </a:lnTo>
                <a:lnTo>
                  <a:pt x="367246" y="46017"/>
                </a:lnTo>
                <a:lnTo>
                  <a:pt x="320759" y="18742"/>
                </a:lnTo>
                <a:lnTo>
                  <a:pt x="268338" y="3121"/>
                </a:lnTo>
                <a:lnTo>
                  <a:pt x="230886" y="0"/>
                </a:lnTo>
                <a:close/>
              </a:path>
            </a:pathLst>
          </a:custGeom>
          <a:solidFill>
            <a:srgbClr val="FF0000"/>
          </a:solidFill>
        </p:spPr>
        <p:txBody>
          <a:bodyPr wrap="square" lIns="0" tIns="0" rIns="0" bIns="0" rtlCol="0"/>
          <a:lstStyle/>
          <a:p>
            <a:endParaRPr dirty="0"/>
          </a:p>
        </p:txBody>
      </p:sp>
      <p:sp>
        <p:nvSpPr>
          <p:cNvPr id="81" name="object 81"/>
          <p:cNvSpPr/>
          <p:nvPr/>
        </p:nvSpPr>
        <p:spPr>
          <a:xfrm>
            <a:off x="2689130" y="6289548"/>
            <a:ext cx="391795" cy="405765"/>
          </a:xfrm>
          <a:custGeom>
            <a:avLst/>
            <a:gdLst/>
            <a:ahLst/>
            <a:cxnLst/>
            <a:rect l="l" t="t" r="r" b="b"/>
            <a:pathLst>
              <a:path w="391794" h="405765">
                <a:moveTo>
                  <a:pt x="195834" y="0"/>
                </a:moveTo>
                <a:lnTo>
                  <a:pt x="148773" y="5891"/>
                </a:lnTo>
                <a:lnTo>
                  <a:pt x="105838" y="22625"/>
                </a:lnTo>
                <a:lnTo>
                  <a:pt x="68388" y="48793"/>
                </a:lnTo>
                <a:lnTo>
                  <a:pt x="37785" y="82987"/>
                </a:lnTo>
                <a:lnTo>
                  <a:pt x="15390" y="123797"/>
                </a:lnTo>
                <a:lnTo>
                  <a:pt x="2563" y="169815"/>
                </a:lnTo>
                <a:lnTo>
                  <a:pt x="0" y="202691"/>
                </a:lnTo>
                <a:lnTo>
                  <a:pt x="649" y="219315"/>
                </a:lnTo>
                <a:lnTo>
                  <a:pt x="9984" y="266756"/>
                </a:lnTo>
                <a:lnTo>
                  <a:pt x="29341" y="309458"/>
                </a:lnTo>
                <a:lnTo>
                  <a:pt x="57359" y="346014"/>
                </a:lnTo>
                <a:lnTo>
                  <a:pt x="92678" y="375014"/>
                </a:lnTo>
                <a:lnTo>
                  <a:pt x="133936" y="395050"/>
                </a:lnTo>
                <a:lnTo>
                  <a:pt x="179772" y="404712"/>
                </a:lnTo>
                <a:lnTo>
                  <a:pt x="195834" y="405383"/>
                </a:lnTo>
                <a:lnTo>
                  <a:pt x="211895" y="404712"/>
                </a:lnTo>
                <a:lnTo>
                  <a:pt x="257731" y="395050"/>
                </a:lnTo>
                <a:lnTo>
                  <a:pt x="298989" y="375014"/>
                </a:lnTo>
                <a:lnTo>
                  <a:pt x="334308" y="346014"/>
                </a:lnTo>
                <a:lnTo>
                  <a:pt x="362326" y="309458"/>
                </a:lnTo>
                <a:lnTo>
                  <a:pt x="381683" y="266756"/>
                </a:lnTo>
                <a:lnTo>
                  <a:pt x="391018" y="219315"/>
                </a:lnTo>
                <a:lnTo>
                  <a:pt x="391668" y="202691"/>
                </a:lnTo>
                <a:lnTo>
                  <a:pt x="391018" y="186068"/>
                </a:lnTo>
                <a:lnTo>
                  <a:pt x="381683" y="138627"/>
                </a:lnTo>
                <a:lnTo>
                  <a:pt x="362326" y="95925"/>
                </a:lnTo>
                <a:lnTo>
                  <a:pt x="334308" y="59369"/>
                </a:lnTo>
                <a:lnTo>
                  <a:pt x="298989" y="30369"/>
                </a:lnTo>
                <a:lnTo>
                  <a:pt x="257731" y="10333"/>
                </a:lnTo>
                <a:lnTo>
                  <a:pt x="211895" y="671"/>
                </a:lnTo>
                <a:lnTo>
                  <a:pt x="195834" y="0"/>
                </a:lnTo>
                <a:close/>
              </a:path>
            </a:pathLst>
          </a:custGeom>
          <a:solidFill>
            <a:srgbClr val="FF0000"/>
          </a:solidFill>
        </p:spPr>
        <p:txBody>
          <a:bodyPr wrap="square" lIns="0" tIns="0" rIns="0" bIns="0" rtlCol="0"/>
          <a:lstStyle/>
          <a:p>
            <a:endParaRPr dirty="0"/>
          </a:p>
        </p:txBody>
      </p:sp>
      <p:sp>
        <p:nvSpPr>
          <p:cNvPr id="82" name="object 82"/>
          <p:cNvSpPr/>
          <p:nvPr/>
        </p:nvSpPr>
        <p:spPr>
          <a:xfrm>
            <a:off x="2731802" y="6308153"/>
            <a:ext cx="306705" cy="254000"/>
          </a:xfrm>
          <a:custGeom>
            <a:avLst/>
            <a:gdLst/>
            <a:ahLst/>
            <a:cxnLst/>
            <a:rect l="l" t="t" r="r" b="b"/>
            <a:pathLst>
              <a:path w="306705" h="254000">
                <a:moveTo>
                  <a:pt x="142259" y="0"/>
                </a:moveTo>
                <a:lnTo>
                  <a:pt x="96934" y="8530"/>
                </a:lnTo>
                <a:lnTo>
                  <a:pt x="57837" y="27324"/>
                </a:lnTo>
                <a:lnTo>
                  <a:pt x="27177" y="54546"/>
                </a:lnTo>
                <a:lnTo>
                  <a:pt x="7162" y="88362"/>
                </a:lnTo>
                <a:lnTo>
                  <a:pt x="0" y="126936"/>
                </a:lnTo>
                <a:lnTo>
                  <a:pt x="269" y="134542"/>
                </a:lnTo>
                <a:lnTo>
                  <a:pt x="15001" y="181381"/>
                </a:lnTo>
                <a:lnTo>
                  <a:pt x="39487" y="210869"/>
                </a:lnTo>
                <a:lnTo>
                  <a:pt x="73996" y="233783"/>
                </a:lnTo>
                <a:lnTo>
                  <a:pt x="117183" y="248556"/>
                </a:lnTo>
                <a:lnTo>
                  <a:pt x="167702" y="253623"/>
                </a:lnTo>
                <a:lnTo>
                  <a:pt x="183018" y="251766"/>
                </a:lnTo>
                <a:lnTo>
                  <a:pt x="225474" y="239004"/>
                </a:lnTo>
                <a:lnTo>
                  <a:pt x="261051" y="216676"/>
                </a:lnTo>
                <a:lnTo>
                  <a:pt x="287635" y="186346"/>
                </a:lnTo>
                <a:lnTo>
                  <a:pt x="303115" y="149579"/>
                </a:lnTo>
                <a:lnTo>
                  <a:pt x="306222" y="122263"/>
                </a:lnTo>
                <a:lnTo>
                  <a:pt x="304918" y="109662"/>
                </a:lnTo>
                <a:lnTo>
                  <a:pt x="285687" y="63660"/>
                </a:lnTo>
                <a:lnTo>
                  <a:pt x="258143" y="35471"/>
                </a:lnTo>
                <a:lnTo>
                  <a:pt x="221065" y="14499"/>
                </a:lnTo>
                <a:lnTo>
                  <a:pt x="175991" y="2370"/>
                </a:lnTo>
                <a:lnTo>
                  <a:pt x="142259" y="0"/>
                </a:lnTo>
                <a:close/>
              </a:path>
            </a:pathLst>
          </a:custGeom>
          <a:solidFill>
            <a:srgbClr val="FF0000"/>
          </a:solidFill>
        </p:spPr>
        <p:txBody>
          <a:bodyPr wrap="square" lIns="0" tIns="0" rIns="0" bIns="0" rtlCol="0"/>
          <a:lstStyle/>
          <a:p>
            <a:endParaRPr dirty="0"/>
          </a:p>
        </p:txBody>
      </p:sp>
      <p:sp>
        <p:nvSpPr>
          <p:cNvPr id="83" name="object 83"/>
          <p:cNvSpPr/>
          <p:nvPr/>
        </p:nvSpPr>
        <p:spPr>
          <a:xfrm>
            <a:off x="5534439" y="6280403"/>
            <a:ext cx="460375" cy="477520"/>
          </a:xfrm>
          <a:custGeom>
            <a:avLst/>
            <a:gdLst/>
            <a:ahLst/>
            <a:cxnLst/>
            <a:rect l="l" t="t" r="r" b="b"/>
            <a:pathLst>
              <a:path w="460375" h="477520">
                <a:moveTo>
                  <a:pt x="230124" y="0"/>
                </a:moveTo>
                <a:lnTo>
                  <a:pt x="174824" y="6931"/>
                </a:lnTo>
                <a:lnTo>
                  <a:pt x="124371" y="26621"/>
                </a:lnTo>
                <a:lnTo>
                  <a:pt x="80363" y="57412"/>
                </a:lnTo>
                <a:lnTo>
                  <a:pt x="44402" y="97646"/>
                </a:lnTo>
                <a:lnTo>
                  <a:pt x="18084" y="145668"/>
                </a:lnTo>
                <a:lnTo>
                  <a:pt x="3012" y="199818"/>
                </a:lnTo>
                <a:lnTo>
                  <a:pt x="0" y="238506"/>
                </a:lnTo>
                <a:lnTo>
                  <a:pt x="762" y="258067"/>
                </a:lnTo>
                <a:lnTo>
                  <a:pt x="6688" y="295822"/>
                </a:lnTo>
                <a:lnTo>
                  <a:pt x="25686" y="348113"/>
                </a:lnTo>
                <a:lnTo>
                  <a:pt x="55396" y="393723"/>
                </a:lnTo>
                <a:lnTo>
                  <a:pt x="94217" y="430994"/>
                </a:lnTo>
                <a:lnTo>
                  <a:pt x="140551" y="458269"/>
                </a:lnTo>
                <a:lnTo>
                  <a:pt x="192797" y="473890"/>
                </a:lnTo>
                <a:lnTo>
                  <a:pt x="230124" y="477012"/>
                </a:lnTo>
                <a:lnTo>
                  <a:pt x="248997" y="476221"/>
                </a:lnTo>
                <a:lnTo>
                  <a:pt x="302859" y="464852"/>
                </a:lnTo>
                <a:lnTo>
                  <a:pt x="351341" y="441278"/>
                </a:lnTo>
                <a:lnTo>
                  <a:pt x="392844" y="407155"/>
                </a:lnTo>
                <a:lnTo>
                  <a:pt x="425768" y="364141"/>
                </a:lnTo>
                <a:lnTo>
                  <a:pt x="448515" y="313892"/>
                </a:lnTo>
                <a:lnTo>
                  <a:pt x="459485" y="258067"/>
                </a:lnTo>
                <a:lnTo>
                  <a:pt x="460248" y="238506"/>
                </a:lnTo>
                <a:lnTo>
                  <a:pt x="459485" y="218944"/>
                </a:lnTo>
                <a:lnTo>
                  <a:pt x="453559" y="181189"/>
                </a:lnTo>
                <a:lnTo>
                  <a:pt x="434561" y="128898"/>
                </a:lnTo>
                <a:lnTo>
                  <a:pt x="404851" y="83288"/>
                </a:lnTo>
                <a:lnTo>
                  <a:pt x="366030" y="46017"/>
                </a:lnTo>
                <a:lnTo>
                  <a:pt x="319696" y="18742"/>
                </a:lnTo>
                <a:lnTo>
                  <a:pt x="267450" y="3121"/>
                </a:lnTo>
                <a:lnTo>
                  <a:pt x="230124" y="0"/>
                </a:lnTo>
                <a:close/>
              </a:path>
            </a:pathLst>
          </a:custGeom>
          <a:solidFill>
            <a:srgbClr val="FFC000"/>
          </a:solidFill>
        </p:spPr>
        <p:txBody>
          <a:bodyPr wrap="square" lIns="0" tIns="0" rIns="0" bIns="0" rtlCol="0"/>
          <a:lstStyle/>
          <a:p>
            <a:endParaRPr dirty="0"/>
          </a:p>
        </p:txBody>
      </p:sp>
      <p:sp>
        <p:nvSpPr>
          <p:cNvPr id="84" name="object 84"/>
          <p:cNvSpPr/>
          <p:nvPr/>
        </p:nvSpPr>
        <p:spPr>
          <a:xfrm>
            <a:off x="5567965" y="6316980"/>
            <a:ext cx="393700" cy="405765"/>
          </a:xfrm>
          <a:custGeom>
            <a:avLst/>
            <a:gdLst/>
            <a:ahLst/>
            <a:cxnLst/>
            <a:rect l="l" t="t" r="r" b="b"/>
            <a:pathLst>
              <a:path w="393700" h="405765">
                <a:moveTo>
                  <a:pt x="196596" y="0"/>
                </a:moveTo>
                <a:lnTo>
                  <a:pt x="149353" y="5891"/>
                </a:lnTo>
                <a:lnTo>
                  <a:pt x="106250" y="22625"/>
                </a:lnTo>
                <a:lnTo>
                  <a:pt x="68655" y="48793"/>
                </a:lnTo>
                <a:lnTo>
                  <a:pt x="37932" y="82987"/>
                </a:lnTo>
                <a:lnTo>
                  <a:pt x="15450" y="123797"/>
                </a:lnTo>
                <a:lnTo>
                  <a:pt x="2573" y="169815"/>
                </a:lnTo>
                <a:lnTo>
                  <a:pt x="0" y="202692"/>
                </a:lnTo>
                <a:lnTo>
                  <a:pt x="651" y="219315"/>
                </a:lnTo>
                <a:lnTo>
                  <a:pt x="10023" y="266756"/>
                </a:lnTo>
                <a:lnTo>
                  <a:pt x="29455" y="309458"/>
                </a:lnTo>
                <a:lnTo>
                  <a:pt x="57583" y="346014"/>
                </a:lnTo>
                <a:lnTo>
                  <a:pt x="93039" y="375014"/>
                </a:lnTo>
                <a:lnTo>
                  <a:pt x="134458" y="395050"/>
                </a:lnTo>
                <a:lnTo>
                  <a:pt x="180472" y="404712"/>
                </a:lnTo>
                <a:lnTo>
                  <a:pt x="196596" y="405384"/>
                </a:lnTo>
                <a:lnTo>
                  <a:pt x="212719" y="404712"/>
                </a:lnTo>
                <a:lnTo>
                  <a:pt x="258733" y="395050"/>
                </a:lnTo>
                <a:lnTo>
                  <a:pt x="300152" y="375014"/>
                </a:lnTo>
                <a:lnTo>
                  <a:pt x="335608" y="346014"/>
                </a:lnTo>
                <a:lnTo>
                  <a:pt x="363736" y="309458"/>
                </a:lnTo>
                <a:lnTo>
                  <a:pt x="383168" y="266756"/>
                </a:lnTo>
                <a:lnTo>
                  <a:pt x="392540" y="219315"/>
                </a:lnTo>
                <a:lnTo>
                  <a:pt x="393192" y="202692"/>
                </a:lnTo>
                <a:lnTo>
                  <a:pt x="392540" y="186068"/>
                </a:lnTo>
                <a:lnTo>
                  <a:pt x="383168" y="138627"/>
                </a:lnTo>
                <a:lnTo>
                  <a:pt x="363736" y="95925"/>
                </a:lnTo>
                <a:lnTo>
                  <a:pt x="335608" y="59369"/>
                </a:lnTo>
                <a:lnTo>
                  <a:pt x="300152" y="30369"/>
                </a:lnTo>
                <a:lnTo>
                  <a:pt x="258733" y="10333"/>
                </a:lnTo>
                <a:lnTo>
                  <a:pt x="212719" y="671"/>
                </a:lnTo>
                <a:lnTo>
                  <a:pt x="196596" y="0"/>
                </a:lnTo>
                <a:close/>
              </a:path>
            </a:pathLst>
          </a:custGeom>
          <a:solidFill>
            <a:srgbClr val="F18B1B"/>
          </a:solidFill>
        </p:spPr>
        <p:txBody>
          <a:bodyPr wrap="square" lIns="0" tIns="0" rIns="0" bIns="0" rtlCol="0"/>
          <a:lstStyle/>
          <a:p>
            <a:endParaRPr dirty="0"/>
          </a:p>
        </p:txBody>
      </p:sp>
      <p:sp>
        <p:nvSpPr>
          <p:cNvPr id="85" name="object 85"/>
          <p:cNvSpPr/>
          <p:nvPr/>
        </p:nvSpPr>
        <p:spPr>
          <a:xfrm>
            <a:off x="5612161" y="6334021"/>
            <a:ext cx="304800" cy="254000"/>
          </a:xfrm>
          <a:custGeom>
            <a:avLst/>
            <a:gdLst/>
            <a:ahLst/>
            <a:cxnLst/>
            <a:rect l="l" t="t" r="r" b="b"/>
            <a:pathLst>
              <a:path w="304800" h="254000">
                <a:moveTo>
                  <a:pt x="142253" y="0"/>
                </a:moveTo>
                <a:lnTo>
                  <a:pt x="96956" y="8406"/>
                </a:lnTo>
                <a:lnTo>
                  <a:pt x="57865" y="27158"/>
                </a:lnTo>
                <a:lnTo>
                  <a:pt x="27196" y="54404"/>
                </a:lnTo>
                <a:lnTo>
                  <a:pt x="7168" y="88294"/>
                </a:lnTo>
                <a:lnTo>
                  <a:pt x="0" y="126976"/>
                </a:lnTo>
                <a:lnTo>
                  <a:pt x="148" y="132638"/>
                </a:lnTo>
                <a:lnTo>
                  <a:pt x="14171" y="180170"/>
                </a:lnTo>
                <a:lnTo>
                  <a:pt x="38289" y="210148"/>
                </a:lnTo>
                <a:lnTo>
                  <a:pt x="72465" y="233482"/>
                </a:lnTo>
                <a:lnTo>
                  <a:pt x="115263" y="248563"/>
                </a:lnTo>
                <a:lnTo>
                  <a:pt x="165245" y="253784"/>
                </a:lnTo>
                <a:lnTo>
                  <a:pt x="180639" y="252044"/>
                </a:lnTo>
                <a:lnTo>
                  <a:pt x="223396" y="239505"/>
                </a:lnTo>
                <a:lnTo>
                  <a:pt x="259170" y="217355"/>
                </a:lnTo>
                <a:lnTo>
                  <a:pt x="285968" y="187165"/>
                </a:lnTo>
                <a:lnTo>
                  <a:pt x="301594" y="150608"/>
                </a:lnTo>
                <a:lnTo>
                  <a:pt x="304744" y="123512"/>
                </a:lnTo>
                <a:lnTo>
                  <a:pt x="303576" y="110804"/>
                </a:lnTo>
                <a:lnTo>
                  <a:pt x="284764" y="64377"/>
                </a:lnTo>
                <a:lnTo>
                  <a:pt x="257456" y="35898"/>
                </a:lnTo>
                <a:lnTo>
                  <a:pt x="220598" y="14692"/>
                </a:lnTo>
                <a:lnTo>
                  <a:pt x="175776" y="2411"/>
                </a:lnTo>
                <a:lnTo>
                  <a:pt x="142253" y="0"/>
                </a:lnTo>
                <a:close/>
              </a:path>
            </a:pathLst>
          </a:custGeom>
          <a:solidFill>
            <a:srgbClr val="F18B1B"/>
          </a:solidFill>
        </p:spPr>
        <p:txBody>
          <a:bodyPr wrap="square" lIns="0" tIns="0" rIns="0" bIns="0" rtlCol="0"/>
          <a:lstStyle/>
          <a:p>
            <a:endParaRPr dirty="0"/>
          </a:p>
        </p:txBody>
      </p:sp>
      <p:sp>
        <p:nvSpPr>
          <p:cNvPr id="86" name="object 86"/>
          <p:cNvSpPr/>
          <p:nvPr/>
        </p:nvSpPr>
        <p:spPr>
          <a:xfrm>
            <a:off x="8177054" y="3137916"/>
            <a:ext cx="460375" cy="477520"/>
          </a:xfrm>
          <a:custGeom>
            <a:avLst/>
            <a:gdLst/>
            <a:ahLst/>
            <a:cxnLst/>
            <a:rect l="l" t="t" r="r" b="b"/>
            <a:pathLst>
              <a:path w="460375" h="477520">
                <a:moveTo>
                  <a:pt x="230124" y="0"/>
                </a:moveTo>
                <a:lnTo>
                  <a:pt x="174824" y="6931"/>
                </a:lnTo>
                <a:lnTo>
                  <a:pt x="124371" y="26621"/>
                </a:lnTo>
                <a:lnTo>
                  <a:pt x="80363" y="57412"/>
                </a:lnTo>
                <a:lnTo>
                  <a:pt x="44402" y="97646"/>
                </a:lnTo>
                <a:lnTo>
                  <a:pt x="18084" y="145668"/>
                </a:lnTo>
                <a:lnTo>
                  <a:pt x="3012" y="199818"/>
                </a:lnTo>
                <a:lnTo>
                  <a:pt x="0" y="238505"/>
                </a:lnTo>
                <a:lnTo>
                  <a:pt x="762" y="258067"/>
                </a:lnTo>
                <a:lnTo>
                  <a:pt x="6688" y="295822"/>
                </a:lnTo>
                <a:lnTo>
                  <a:pt x="25686" y="348113"/>
                </a:lnTo>
                <a:lnTo>
                  <a:pt x="55396" y="393723"/>
                </a:lnTo>
                <a:lnTo>
                  <a:pt x="94217" y="430994"/>
                </a:lnTo>
                <a:lnTo>
                  <a:pt x="140551" y="458269"/>
                </a:lnTo>
                <a:lnTo>
                  <a:pt x="192797" y="473890"/>
                </a:lnTo>
                <a:lnTo>
                  <a:pt x="230124" y="477011"/>
                </a:lnTo>
                <a:lnTo>
                  <a:pt x="248997" y="476221"/>
                </a:lnTo>
                <a:lnTo>
                  <a:pt x="302859" y="464852"/>
                </a:lnTo>
                <a:lnTo>
                  <a:pt x="351341" y="441278"/>
                </a:lnTo>
                <a:lnTo>
                  <a:pt x="392844" y="407155"/>
                </a:lnTo>
                <a:lnTo>
                  <a:pt x="425768" y="364141"/>
                </a:lnTo>
                <a:lnTo>
                  <a:pt x="448515" y="313892"/>
                </a:lnTo>
                <a:lnTo>
                  <a:pt x="459485" y="258067"/>
                </a:lnTo>
                <a:lnTo>
                  <a:pt x="460248" y="238505"/>
                </a:lnTo>
                <a:lnTo>
                  <a:pt x="459485" y="218944"/>
                </a:lnTo>
                <a:lnTo>
                  <a:pt x="453559" y="181189"/>
                </a:lnTo>
                <a:lnTo>
                  <a:pt x="434561" y="128898"/>
                </a:lnTo>
                <a:lnTo>
                  <a:pt x="404851" y="83288"/>
                </a:lnTo>
                <a:lnTo>
                  <a:pt x="366030" y="46017"/>
                </a:lnTo>
                <a:lnTo>
                  <a:pt x="319696" y="18742"/>
                </a:lnTo>
                <a:lnTo>
                  <a:pt x="267450" y="3121"/>
                </a:lnTo>
                <a:lnTo>
                  <a:pt x="230124" y="0"/>
                </a:lnTo>
                <a:close/>
              </a:path>
            </a:pathLst>
          </a:custGeom>
          <a:solidFill>
            <a:srgbClr val="FF0000"/>
          </a:solidFill>
        </p:spPr>
        <p:txBody>
          <a:bodyPr wrap="square" lIns="0" tIns="0" rIns="0" bIns="0" rtlCol="0"/>
          <a:lstStyle/>
          <a:p>
            <a:endParaRPr dirty="0"/>
          </a:p>
        </p:txBody>
      </p:sp>
      <p:sp>
        <p:nvSpPr>
          <p:cNvPr id="87" name="object 87"/>
          <p:cNvSpPr/>
          <p:nvPr/>
        </p:nvSpPr>
        <p:spPr>
          <a:xfrm>
            <a:off x="8212106" y="3172968"/>
            <a:ext cx="391795" cy="405765"/>
          </a:xfrm>
          <a:custGeom>
            <a:avLst/>
            <a:gdLst/>
            <a:ahLst/>
            <a:cxnLst/>
            <a:rect l="l" t="t" r="r" b="b"/>
            <a:pathLst>
              <a:path w="391795" h="405764">
                <a:moveTo>
                  <a:pt x="195834" y="0"/>
                </a:moveTo>
                <a:lnTo>
                  <a:pt x="148773" y="5891"/>
                </a:lnTo>
                <a:lnTo>
                  <a:pt x="105838" y="22625"/>
                </a:lnTo>
                <a:lnTo>
                  <a:pt x="68388" y="48793"/>
                </a:lnTo>
                <a:lnTo>
                  <a:pt x="37785" y="82987"/>
                </a:lnTo>
                <a:lnTo>
                  <a:pt x="15390" y="123797"/>
                </a:lnTo>
                <a:lnTo>
                  <a:pt x="2563" y="169815"/>
                </a:lnTo>
                <a:lnTo>
                  <a:pt x="0" y="202691"/>
                </a:lnTo>
                <a:lnTo>
                  <a:pt x="649" y="219315"/>
                </a:lnTo>
                <a:lnTo>
                  <a:pt x="9984" y="266756"/>
                </a:lnTo>
                <a:lnTo>
                  <a:pt x="29341" y="309458"/>
                </a:lnTo>
                <a:lnTo>
                  <a:pt x="57359" y="346014"/>
                </a:lnTo>
                <a:lnTo>
                  <a:pt x="92678" y="375014"/>
                </a:lnTo>
                <a:lnTo>
                  <a:pt x="133936" y="395050"/>
                </a:lnTo>
                <a:lnTo>
                  <a:pt x="179772" y="404712"/>
                </a:lnTo>
                <a:lnTo>
                  <a:pt x="195834" y="405383"/>
                </a:lnTo>
                <a:lnTo>
                  <a:pt x="211895" y="404712"/>
                </a:lnTo>
                <a:lnTo>
                  <a:pt x="257731" y="395050"/>
                </a:lnTo>
                <a:lnTo>
                  <a:pt x="298989" y="375014"/>
                </a:lnTo>
                <a:lnTo>
                  <a:pt x="334308" y="346014"/>
                </a:lnTo>
                <a:lnTo>
                  <a:pt x="362326" y="309458"/>
                </a:lnTo>
                <a:lnTo>
                  <a:pt x="381683" y="266756"/>
                </a:lnTo>
                <a:lnTo>
                  <a:pt x="391018" y="219315"/>
                </a:lnTo>
                <a:lnTo>
                  <a:pt x="391668" y="202691"/>
                </a:lnTo>
                <a:lnTo>
                  <a:pt x="391018" y="186068"/>
                </a:lnTo>
                <a:lnTo>
                  <a:pt x="381683" y="138627"/>
                </a:lnTo>
                <a:lnTo>
                  <a:pt x="362326" y="95925"/>
                </a:lnTo>
                <a:lnTo>
                  <a:pt x="334308" y="59369"/>
                </a:lnTo>
                <a:lnTo>
                  <a:pt x="298989" y="30369"/>
                </a:lnTo>
                <a:lnTo>
                  <a:pt x="257731" y="10333"/>
                </a:lnTo>
                <a:lnTo>
                  <a:pt x="211895" y="671"/>
                </a:lnTo>
                <a:lnTo>
                  <a:pt x="195834" y="0"/>
                </a:lnTo>
                <a:close/>
              </a:path>
            </a:pathLst>
          </a:custGeom>
          <a:solidFill>
            <a:srgbClr val="FF0000"/>
          </a:solidFill>
        </p:spPr>
        <p:txBody>
          <a:bodyPr wrap="square" lIns="0" tIns="0" rIns="0" bIns="0" rtlCol="0"/>
          <a:lstStyle/>
          <a:p>
            <a:endParaRPr dirty="0"/>
          </a:p>
        </p:txBody>
      </p:sp>
      <p:sp>
        <p:nvSpPr>
          <p:cNvPr id="88" name="object 88"/>
          <p:cNvSpPr/>
          <p:nvPr/>
        </p:nvSpPr>
        <p:spPr>
          <a:xfrm>
            <a:off x="8254777" y="3190009"/>
            <a:ext cx="304800" cy="254000"/>
          </a:xfrm>
          <a:custGeom>
            <a:avLst/>
            <a:gdLst/>
            <a:ahLst/>
            <a:cxnLst/>
            <a:rect l="l" t="t" r="r" b="b"/>
            <a:pathLst>
              <a:path w="304800" h="254000">
                <a:moveTo>
                  <a:pt x="142253" y="0"/>
                </a:moveTo>
                <a:lnTo>
                  <a:pt x="96956" y="8406"/>
                </a:lnTo>
                <a:lnTo>
                  <a:pt x="57865" y="27158"/>
                </a:lnTo>
                <a:lnTo>
                  <a:pt x="27196" y="54404"/>
                </a:lnTo>
                <a:lnTo>
                  <a:pt x="7168" y="88294"/>
                </a:lnTo>
                <a:lnTo>
                  <a:pt x="0" y="126976"/>
                </a:lnTo>
                <a:lnTo>
                  <a:pt x="148" y="132638"/>
                </a:lnTo>
                <a:lnTo>
                  <a:pt x="14171" y="180170"/>
                </a:lnTo>
                <a:lnTo>
                  <a:pt x="38289" y="210148"/>
                </a:lnTo>
                <a:lnTo>
                  <a:pt x="72465" y="233482"/>
                </a:lnTo>
                <a:lnTo>
                  <a:pt x="115263" y="248563"/>
                </a:lnTo>
                <a:lnTo>
                  <a:pt x="165245" y="253784"/>
                </a:lnTo>
                <a:lnTo>
                  <a:pt x="180639" y="252044"/>
                </a:lnTo>
                <a:lnTo>
                  <a:pt x="223396" y="239505"/>
                </a:lnTo>
                <a:lnTo>
                  <a:pt x="259170" y="217355"/>
                </a:lnTo>
                <a:lnTo>
                  <a:pt x="285968" y="187165"/>
                </a:lnTo>
                <a:lnTo>
                  <a:pt x="301594" y="150608"/>
                </a:lnTo>
                <a:lnTo>
                  <a:pt x="304744" y="123512"/>
                </a:lnTo>
                <a:lnTo>
                  <a:pt x="303576" y="110804"/>
                </a:lnTo>
                <a:lnTo>
                  <a:pt x="284764" y="64377"/>
                </a:lnTo>
                <a:lnTo>
                  <a:pt x="257456" y="35898"/>
                </a:lnTo>
                <a:lnTo>
                  <a:pt x="220598" y="14692"/>
                </a:lnTo>
                <a:lnTo>
                  <a:pt x="175776" y="2411"/>
                </a:lnTo>
                <a:lnTo>
                  <a:pt x="142253" y="0"/>
                </a:lnTo>
                <a:close/>
              </a:path>
            </a:pathLst>
          </a:custGeom>
          <a:solidFill>
            <a:srgbClr val="FF0000"/>
          </a:solidFill>
        </p:spPr>
        <p:txBody>
          <a:bodyPr wrap="square" lIns="0" tIns="0" rIns="0" bIns="0" rtlCol="0"/>
          <a:lstStyle/>
          <a:p>
            <a:endParaRPr dirty="0"/>
          </a:p>
        </p:txBody>
      </p:sp>
      <p:sp>
        <p:nvSpPr>
          <p:cNvPr id="89" name="object 89"/>
          <p:cNvSpPr txBox="1"/>
          <p:nvPr/>
        </p:nvSpPr>
        <p:spPr>
          <a:xfrm>
            <a:off x="8363897" y="3245508"/>
            <a:ext cx="87630" cy="207749"/>
          </a:xfrm>
          <a:prstGeom prst="rect">
            <a:avLst/>
          </a:prstGeom>
        </p:spPr>
        <p:txBody>
          <a:bodyPr vert="horz" wrap="square" lIns="0" tIns="0" rIns="0" bIns="0" rtlCol="0">
            <a:spAutoFit/>
          </a:bodyPr>
          <a:lstStyle/>
          <a:p>
            <a:pPr>
              <a:lnSpc>
                <a:spcPct val="100000"/>
              </a:lnSpc>
            </a:pPr>
            <a:r>
              <a:rPr sz="1350" b="1" dirty="0">
                <a:solidFill>
                  <a:srgbClr val="FFFFFF"/>
                </a:solidFill>
                <a:latin typeface="Calibri"/>
                <a:cs typeface="Calibri"/>
              </a:rPr>
              <a:t>5</a:t>
            </a:r>
            <a:endParaRPr sz="1350" dirty="0">
              <a:latin typeface="Calibri"/>
              <a:cs typeface="Calibri"/>
            </a:endParaRPr>
          </a:p>
        </p:txBody>
      </p:sp>
      <p:sp>
        <p:nvSpPr>
          <p:cNvPr id="90" name="object 90"/>
          <p:cNvSpPr/>
          <p:nvPr/>
        </p:nvSpPr>
        <p:spPr>
          <a:xfrm>
            <a:off x="8061229" y="6245352"/>
            <a:ext cx="462280" cy="477520"/>
          </a:xfrm>
          <a:custGeom>
            <a:avLst/>
            <a:gdLst/>
            <a:ahLst/>
            <a:cxnLst/>
            <a:rect l="l" t="t" r="r" b="b"/>
            <a:pathLst>
              <a:path w="462279" h="477520">
                <a:moveTo>
                  <a:pt x="230886" y="0"/>
                </a:moveTo>
                <a:lnTo>
                  <a:pt x="175399" y="6931"/>
                </a:lnTo>
                <a:lnTo>
                  <a:pt x="124777" y="26621"/>
                </a:lnTo>
                <a:lnTo>
                  <a:pt x="80625" y="57412"/>
                </a:lnTo>
                <a:lnTo>
                  <a:pt x="44545" y="97646"/>
                </a:lnTo>
                <a:lnTo>
                  <a:pt x="18143" y="145668"/>
                </a:lnTo>
                <a:lnTo>
                  <a:pt x="3021" y="199818"/>
                </a:lnTo>
                <a:lnTo>
                  <a:pt x="0" y="238506"/>
                </a:lnTo>
                <a:lnTo>
                  <a:pt x="765" y="258067"/>
                </a:lnTo>
                <a:lnTo>
                  <a:pt x="6709" y="295822"/>
                </a:lnTo>
                <a:lnTo>
                  <a:pt x="25769" y="348113"/>
                </a:lnTo>
                <a:lnTo>
                  <a:pt x="55576" y="393723"/>
                </a:lnTo>
                <a:lnTo>
                  <a:pt x="94525" y="430994"/>
                </a:lnTo>
                <a:lnTo>
                  <a:pt x="141012" y="458269"/>
                </a:lnTo>
                <a:lnTo>
                  <a:pt x="193433" y="473890"/>
                </a:lnTo>
                <a:lnTo>
                  <a:pt x="230886" y="477012"/>
                </a:lnTo>
                <a:lnTo>
                  <a:pt x="249823" y="476221"/>
                </a:lnTo>
                <a:lnTo>
                  <a:pt x="303866" y="464852"/>
                </a:lnTo>
                <a:lnTo>
                  <a:pt x="352509" y="441278"/>
                </a:lnTo>
                <a:lnTo>
                  <a:pt x="394149" y="407155"/>
                </a:lnTo>
                <a:lnTo>
                  <a:pt x="427181" y="364141"/>
                </a:lnTo>
                <a:lnTo>
                  <a:pt x="450001" y="313892"/>
                </a:lnTo>
                <a:lnTo>
                  <a:pt x="461006" y="258067"/>
                </a:lnTo>
                <a:lnTo>
                  <a:pt x="461772" y="238506"/>
                </a:lnTo>
                <a:lnTo>
                  <a:pt x="461006" y="218944"/>
                </a:lnTo>
                <a:lnTo>
                  <a:pt x="455062" y="181189"/>
                </a:lnTo>
                <a:lnTo>
                  <a:pt x="436002" y="128898"/>
                </a:lnTo>
                <a:lnTo>
                  <a:pt x="406195" y="83288"/>
                </a:lnTo>
                <a:lnTo>
                  <a:pt x="367246" y="46017"/>
                </a:lnTo>
                <a:lnTo>
                  <a:pt x="320759" y="18742"/>
                </a:lnTo>
                <a:lnTo>
                  <a:pt x="268338" y="3121"/>
                </a:lnTo>
                <a:lnTo>
                  <a:pt x="230886" y="0"/>
                </a:lnTo>
                <a:close/>
              </a:path>
            </a:pathLst>
          </a:custGeom>
          <a:solidFill>
            <a:srgbClr val="FFFF00"/>
          </a:solidFill>
        </p:spPr>
        <p:txBody>
          <a:bodyPr wrap="square" lIns="0" tIns="0" rIns="0" bIns="0" rtlCol="0"/>
          <a:lstStyle/>
          <a:p>
            <a:endParaRPr dirty="0"/>
          </a:p>
        </p:txBody>
      </p:sp>
      <p:sp>
        <p:nvSpPr>
          <p:cNvPr id="91" name="object 91"/>
          <p:cNvSpPr/>
          <p:nvPr/>
        </p:nvSpPr>
        <p:spPr>
          <a:xfrm>
            <a:off x="8096283" y="6280404"/>
            <a:ext cx="391795" cy="405765"/>
          </a:xfrm>
          <a:custGeom>
            <a:avLst/>
            <a:gdLst/>
            <a:ahLst/>
            <a:cxnLst/>
            <a:rect l="l" t="t" r="r" b="b"/>
            <a:pathLst>
              <a:path w="391795" h="405765">
                <a:moveTo>
                  <a:pt x="195834" y="0"/>
                </a:moveTo>
                <a:lnTo>
                  <a:pt x="148773" y="5891"/>
                </a:lnTo>
                <a:lnTo>
                  <a:pt x="105838" y="22625"/>
                </a:lnTo>
                <a:lnTo>
                  <a:pt x="68388" y="48793"/>
                </a:lnTo>
                <a:lnTo>
                  <a:pt x="37785" y="82987"/>
                </a:lnTo>
                <a:lnTo>
                  <a:pt x="15390" y="123797"/>
                </a:lnTo>
                <a:lnTo>
                  <a:pt x="2563" y="169815"/>
                </a:lnTo>
                <a:lnTo>
                  <a:pt x="0" y="202692"/>
                </a:lnTo>
                <a:lnTo>
                  <a:pt x="649" y="219315"/>
                </a:lnTo>
                <a:lnTo>
                  <a:pt x="9984" y="266756"/>
                </a:lnTo>
                <a:lnTo>
                  <a:pt x="29341" y="309458"/>
                </a:lnTo>
                <a:lnTo>
                  <a:pt x="57359" y="346014"/>
                </a:lnTo>
                <a:lnTo>
                  <a:pt x="92678" y="375014"/>
                </a:lnTo>
                <a:lnTo>
                  <a:pt x="133936" y="395050"/>
                </a:lnTo>
                <a:lnTo>
                  <a:pt x="179772" y="404712"/>
                </a:lnTo>
                <a:lnTo>
                  <a:pt x="195834" y="405384"/>
                </a:lnTo>
                <a:lnTo>
                  <a:pt x="211895" y="404712"/>
                </a:lnTo>
                <a:lnTo>
                  <a:pt x="257731" y="395050"/>
                </a:lnTo>
                <a:lnTo>
                  <a:pt x="298989" y="375014"/>
                </a:lnTo>
                <a:lnTo>
                  <a:pt x="334308" y="346014"/>
                </a:lnTo>
                <a:lnTo>
                  <a:pt x="362326" y="309458"/>
                </a:lnTo>
                <a:lnTo>
                  <a:pt x="381683" y="266756"/>
                </a:lnTo>
                <a:lnTo>
                  <a:pt x="391018" y="219315"/>
                </a:lnTo>
                <a:lnTo>
                  <a:pt x="391668" y="202692"/>
                </a:lnTo>
                <a:lnTo>
                  <a:pt x="391018" y="186068"/>
                </a:lnTo>
                <a:lnTo>
                  <a:pt x="381683" y="138627"/>
                </a:lnTo>
                <a:lnTo>
                  <a:pt x="362326" y="95925"/>
                </a:lnTo>
                <a:lnTo>
                  <a:pt x="334308" y="59369"/>
                </a:lnTo>
                <a:lnTo>
                  <a:pt x="298989" y="30369"/>
                </a:lnTo>
                <a:lnTo>
                  <a:pt x="257731" y="10333"/>
                </a:lnTo>
                <a:lnTo>
                  <a:pt x="211895" y="671"/>
                </a:lnTo>
                <a:lnTo>
                  <a:pt x="195834" y="0"/>
                </a:lnTo>
                <a:close/>
              </a:path>
            </a:pathLst>
          </a:custGeom>
          <a:solidFill>
            <a:srgbClr val="FFFF00"/>
          </a:solidFill>
        </p:spPr>
        <p:txBody>
          <a:bodyPr wrap="square" lIns="0" tIns="0" rIns="0" bIns="0" rtlCol="0"/>
          <a:lstStyle/>
          <a:p>
            <a:endParaRPr dirty="0"/>
          </a:p>
        </p:txBody>
      </p:sp>
      <p:sp>
        <p:nvSpPr>
          <p:cNvPr id="92" name="object 92"/>
          <p:cNvSpPr/>
          <p:nvPr/>
        </p:nvSpPr>
        <p:spPr>
          <a:xfrm>
            <a:off x="8138954" y="6297485"/>
            <a:ext cx="306705" cy="254000"/>
          </a:xfrm>
          <a:custGeom>
            <a:avLst/>
            <a:gdLst/>
            <a:ahLst/>
            <a:cxnLst/>
            <a:rect l="l" t="t" r="r" b="b"/>
            <a:pathLst>
              <a:path w="306704" h="254000">
                <a:moveTo>
                  <a:pt x="142259" y="0"/>
                </a:moveTo>
                <a:lnTo>
                  <a:pt x="96934" y="8530"/>
                </a:lnTo>
                <a:lnTo>
                  <a:pt x="57837" y="27324"/>
                </a:lnTo>
                <a:lnTo>
                  <a:pt x="27177" y="54546"/>
                </a:lnTo>
                <a:lnTo>
                  <a:pt x="7162" y="88362"/>
                </a:lnTo>
                <a:lnTo>
                  <a:pt x="0" y="126936"/>
                </a:lnTo>
                <a:lnTo>
                  <a:pt x="269" y="134542"/>
                </a:lnTo>
                <a:lnTo>
                  <a:pt x="15001" y="181381"/>
                </a:lnTo>
                <a:lnTo>
                  <a:pt x="39487" y="210869"/>
                </a:lnTo>
                <a:lnTo>
                  <a:pt x="73996" y="233783"/>
                </a:lnTo>
                <a:lnTo>
                  <a:pt x="117183" y="248556"/>
                </a:lnTo>
                <a:lnTo>
                  <a:pt x="167702" y="253623"/>
                </a:lnTo>
                <a:lnTo>
                  <a:pt x="183018" y="251766"/>
                </a:lnTo>
                <a:lnTo>
                  <a:pt x="225474" y="239004"/>
                </a:lnTo>
                <a:lnTo>
                  <a:pt x="261051" y="216676"/>
                </a:lnTo>
                <a:lnTo>
                  <a:pt x="287635" y="186346"/>
                </a:lnTo>
                <a:lnTo>
                  <a:pt x="303115" y="149579"/>
                </a:lnTo>
                <a:lnTo>
                  <a:pt x="306222" y="122263"/>
                </a:lnTo>
                <a:lnTo>
                  <a:pt x="304918" y="109662"/>
                </a:lnTo>
                <a:lnTo>
                  <a:pt x="285687" y="63660"/>
                </a:lnTo>
                <a:lnTo>
                  <a:pt x="258143" y="35471"/>
                </a:lnTo>
                <a:lnTo>
                  <a:pt x="221065" y="14499"/>
                </a:lnTo>
                <a:lnTo>
                  <a:pt x="175991" y="2370"/>
                </a:lnTo>
                <a:lnTo>
                  <a:pt x="142259" y="0"/>
                </a:lnTo>
                <a:close/>
              </a:path>
            </a:pathLst>
          </a:custGeom>
          <a:solidFill>
            <a:srgbClr val="FFFF00"/>
          </a:solidFill>
        </p:spPr>
        <p:txBody>
          <a:bodyPr wrap="square" lIns="0" tIns="0" rIns="0" bIns="0" rtlCol="0"/>
          <a:lstStyle/>
          <a:p>
            <a:endParaRPr dirty="0"/>
          </a:p>
        </p:txBody>
      </p:sp>
      <p:graphicFrame>
        <p:nvGraphicFramePr>
          <p:cNvPr id="66" name="object 66"/>
          <p:cNvGraphicFramePr>
            <a:graphicFrameLocks noGrp="1"/>
          </p:cNvGraphicFramePr>
          <p:nvPr/>
        </p:nvGraphicFramePr>
        <p:xfrm>
          <a:off x="427902" y="1491496"/>
          <a:ext cx="4901402" cy="4541618"/>
        </p:xfrm>
        <a:graphic>
          <a:graphicData uri="http://schemas.openxmlformats.org/drawingml/2006/table">
            <a:tbl>
              <a:tblPr firstRow="1" bandRow="1">
                <a:tableStyleId>{2D5ABB26-0587-4C30-8999-92F81FD0307C}</a:tableStyleId>
              </a:tblPr>
              <a:tblGrid>
                <a:gridCol w="3432968">
                  <a:extLst>
                    <a:ext uri="{9D8B030D-6E8A-4147-A177-3AD203B41FA5}">
                      <a16:colId xmlns:a16="http://schemas.microsoft.com/office/drawing/2014/main" xmlns="" val="20000"/>
                    </a:ext>
                  </a:extLst>
                </a:gridCol>
                <a:gridCol w="1468434">
                  <a:extLst>
                    <a:ext uri="{9D8B030D-6E8A-4147-A177-3AD203B41FA5}">
                      <a16:colId xmlns:a16="http://schemas.microsoft.com/office/drawing/2014/main" xmlns="" val="20001"/>
                    </a:ext>
                  </a:extLst>
                </a:gridCol>
              </a:tblGrid>
              <a:tr h="370450">
                <a:tc>
                  <a:txBody>
                    <a:bodyPr/>
                    <a:lstStyle/>
                    <a:p>
                      <a:pPr marL="81280">
                        <a:lnSpc>
                          <a:spcPct val="100000"/>
                        </a:lnSpc>
                      </a:pPr>
                      <a:r>
                        <a:rPr sz="1700" b="1" spc="5" dirty="0">
                          <a:solidFill>
                            <a:srgbClr val="FFFFFF"/>
                          </a:solidFill>
                          <a:latin typeface="Arial"/>
                          <a:cs typeface="Arial"/>
                        </a:rPr>
                        <a:t>R</a:t>
                      </a:r>
                      <a:r>
                        <a:rPr sz="1700" b="1" spc="-10" dirty="0">
                          <a:solidFill>
                            <a:srgbClr val="FFFFFF"/>
                          </a:solidFill>
                          <a:latin typeface="Arial"/>
                          <a:cs typeface="Arial"/>
                        </a:rPr>
                        <a:t>i</a:t>
                      </a:r>
                      <a:r>
                        <a:rPr sz="1700" b="1" dirty="0">
                          <a:solidFill>
                            <a:srgbClr val="FFFFFF"/>
                          </a:solidFill>
                          <a:latin typeface="Arial"/>
                          <a:cs typeface="Arial"/>
                        </a:rPr>
                        <a:t>sks</a:t>
                      </a:r>
                      <a:endParaRPr sz="1700" dirty="0">
                        <a:latin typeface="Arial"/>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61B2"/>
                    </a:solidFill>
                  </a:tcPr>
                </a:tc>
                <a:tc>
                  <a:txBody>
                    <a:bodyPr/>
                    <a:lstStyle/>
                    <a:p>
                      <a:pPr marL="81280">
                        <a:lnSpc>
                          <a:spcPct val="100000"/>
                        </a:lnSpc>
                      </a:pPr>
                      <a:r>
                        <a:rPr sz="1700" b="1" dirty="0">
                          <a:solidFill>
                            <a:srgbClr val="FFFFFF"/>
                          </a:solidFill>
                          <a:latin typeface="Arial"/>
                          <a:cs typeface="Arial"/>
                        </a:rPr>
                        <a:t>Exposu</a:t>
                      </a:r>
                      <a:r>
                        <a:rPr sz="1700" b="1" spc="-5" dirty="0">
                          <a:solidFill>
                            <a:srgbClr val="FFFFFF"/>
                          </a:solidFill>
                          <a:latin typeface="Arial"/>
                          <a:cs typeface="Arial"/>
                        </a:rPr>
                        <a:t>r</a:t>
                      </a:r>
                      <a:r>
                        <a:rPr sz="1700" b="1" dirty="0">
                          <a:solidFill>
                            <a:srgbClr val="FFFFFF"/>
                          </a:solidFill>
                          <a:latin typeface="Arial"/>
                          <a:cs typeface="Arial"/>
                        </a:rPr>
                        <a:t>e</a:t>
                      </a:r>
                      <a:endParaRPr sz="1700" dirty="0">
                        <a:latin typeface="Arial"/>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61B2"/>
                    </a:solidFill>
                  </a:tcPr>
                </a:tc>
                <a:extLst>
                  <a:ext uri="{0D108BD9-81ED-4DB2-BD59-A6C34878D82A}">
                    <a16:rowId xmlns:a16="http://schemas.microsoft.com/office/drawing/2014/main" xmlns="" val="10000"/>
                  </a:ext>
                </a:extLst>
              </a:tr>
              <a:tr h="345050">
                <a:tc>
                  <a:txBody>
                    <a:bodyPr/>
                    <a:lstStyle/>
                    <a:p>
                      <a:pPr marL="81280">
                        <a:lnSpc>
                          <a:spcPct val="100000"/>
                        </a:lnSpc>
                      </a:pPr>
                      <a:r>
                        <a:rPr sz="1700" dirty="0">
                          <a:latin typeface="Arial"/>
                          <a:cs typeface="Arial"/>
                        </a:rPr>
                        <a:t>F</a:t>
                      </a:r>
                      <a:r>
                        <a:rPr sz="1700" spc="5" dirty="0">
                          <a:latin typeface="Arial"/>
                          <a:cs typeface="Arial"/>
                        </a:rPr>
                        <a:t>i</a:t>
                      </a:r>
                      <a:r>
                        <a:rPr sz="1700" dirty="0">
                          <a:latin typeface="Arial"/>
                          <a:cs typeface="Arial"/>
                        </a:rPr>
                        <a:t>nanc</a:t>
                      </a:r>
                      <a:r>
                        <a:rPr sz="1700" spc="5" dirty="0">
                          <a:latin typeface="Arial"/>
                          <a:cs typeface="Arial"/>
                        </a:rPr>
                        <a:t>i</a:t>
                      </a:r>
                      <a:r>
                        <a:rPr sz="1700" dirty="0">
                          <a:latin typeface="Arial"/>
                          <a:cs typeface="Arial"/>
                        </a:rPr>
                        <a:t>al</a:t>
                      </a:r>
                      <a:r>
                        <a:rPr sz="1700" spc="-25" dirty="0">
                          <a:latin typeface="Arial"/>
                          <a:cs typeface="Arial"/>
                        </a:rPr>
                        <a:t> </a:t>
                      </a:r>
                      <a:r>
                        <a:rPr sz="1700" dirty="0">
                          <a:latin typeface="Arial"/>
                          <a:cs typeface="Arial"/>
                        </a:rPr>
                        <a:t>sus</a:t>
                      </a:r>
                      <a:r>
                        <a:rPr sz="1700" spc="-10" dirty="0">
                          <a:latin typeface="Arial"/>
                          <a:cs typeface="Arial"/>
                        </a:rPr>
                        <a:t>t</a:t>
                      </a:r>
                      <a:r>
                        <a:rPr sz="1700" dirty="0">
                          <a:latin typeface="Arial"/>
                          <a:cs typeface="Arial"/>
                        </a:rPr>
                        <a:t>a</a:t>
                      </a:r>
                      <a:r>
                        <a:rPr sz="1700" spc="5" dirty="0">
                          <a:latin typeface="Arial"/>
                          <a:cs typeface="Arial"/>
                        </a:rPr>
                        <a:t>i</a:t>
                      </a:r>
                      <a:r>
                        <a:rPr sz="1700" dirty="0">
                          <a:latin typeface="Arial"/>
                          <a:cs typeface="Arial"/>
                        </a:rPr>
                        <a:t>nab</a:t>
                      </a:r>
                      <a:r>
                        <a:rPr sz="1700" spc="5" dirty="0">
                          <a:latin typeface="Arial"/>
                          <a:cs typeface="Arial"/>
                        </a:rPr>
                        <a:t>ili</a:t>
                      </a:r>
                      <a:r>
                        <a:rPr sz="1700" spc="-10" dirty="0">
                          <a:latin typeface="Arial"/>
                          <a:cs typeface="Arial"/>
                        </a:rPr>
                        <a:t>t</a:t>
                      </a:r>
                      <a:r>
                        <a:rPr sz="1700" dirty="0">
                          <a:latin typeface="Arial"/>
                          <a:cs typeface="Arial"/>
                        </a:rPr>
                        <a:t>y</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BD2E4"/>
                    </a:solidFill>
                  </a:tcPr>
                </a:tc>
                <a:tc>
                  <a:txBody>
                    <a:bodyPr/>
                    <a:lstStyle/>
                    <a:p>
                      <a:pPr marL="81280">
                        <a:lnSpc>
                          <a:spcPct val="100000"/>
                        </a:lnSpc>
                      </a:pPr>
                      <a:r>
                        <a:rPr sz="1700" dirty="0">
                          <a:latin typeface="Arial"/>
                          <a:cs typeface="Arial"/>
                        </a:rPr>
                        <a:t>E</a:t>
                      </a:r>
                      <a:r>
                        <a:rPr sz="1700" spc="-15" dirty="0">
                          <a:latin typeface="Arial"/>
                          <a:cs typeface="Arial"/>
                        </a:rPr>
                        <a:t>x</a:t>
                      </a:r>
                      <a:r>
                        <a:rPr sz="1700" spc="-10" dirty="0">
                          <a:latin typeface="Arial"/>
                          <a:cs typeface="Arial"/>
                        </a:rPr>
                        <a:t>t</a:t>
                      </a:r>
                      <a:r>
                        <a:rPr sz="1700" spc="-5" dirty="0">
                          <a:latin typeface="Arial"/>
                          <a:cs typeface="Arial"/>
                        </a:rPr>
                        <a:t>r</a:t>
                      </a:r>
                      <a:r>
                        <a:rPr sz="1700" dirty="0">
                          <a:latin typeface="Arial"/>
                          <a:cs typeface="Arial"/>
                        </a:rPr>
                        <a:t>e</a:t>
                      </a:r>
                      <a:r>
                        <a:rPr sz="1700" spc="-5" dirty="0">
                          <a:latin typeface="Arial"/>
                          <a:cs typeface="Arial"/>
                        </a:rPr>
                        <a:t>me</a:t>
                      </a:r>
                      <a:endParaRPr sz="1700" dirty="0">
                        <a:latin typeface="Arial"/>
                        <a:cs typeface="Arial"/>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BD2E4"/>
                    </a:solidFill>
                  </a:tcPr>
                </a:tc>
                <a:extLst>
                  <a:ext uri="{0D108BD9-81ED-4DB2-BD59-A6C34878D82A}">
                    <a16:rowId xmlns:a16="http://schemas.microsoft.com/office/drawing/2014/main" xmlns="" val="10001"/>
                  </a:ext>
                </a:extLst>
              </a:tr>
              <a:tr h="357750">
                <a:tc>
                  <a:txBody>
                    <a:bodyPr/>
                    <a:lstStyle/>
                    <a:p>
                      <a:pPr marL="81280">
                        <a:lnSpc>
                          <a:spcPct val="100000"/>
                        </a:lnSpc>
                      </a:pPr>
                      <a:r>
                        <a:rPr sz="1700" dirty="0">
                          <a:latin typeface="Arial"/>
                          <a:cs typeface="Arial"/>
                        </a:rPr>
                        <a:t>S</a:t>
                      </a:r>
                      <a:r>
                        <a:rPr sz="1700" spc="-10" dirty="0">
                          <a:latin typeface="Arial"/>
                          <a:cs typeface="Arial"/>
                        </a:rPr>
                        <a:t>t</a:t>
                      </a:r>
                      <a:r>
                        <a:rPr sz="1700" spc="-5" dirty="0">
                          <a:latin typeface="Arial"/>
                          <a:cs typeface="Arial"/>
                        </a:rPr>
                        <a:t>r</a:t>
                      </a:r>
                      <a:r>
                        <a:rPr sz="1700" dirty="0">
                          <a:latin typeface="Arial"/>
                          <a:cs typeface="Arial"/>
                        </a:rPr>
                        <a:t>a</a:t>
                      </a:r>
                      <a:r>
                        <a:rPr sz="1700" spc="-10" dirty="0">
                          <a:latin typeface="Arial"/>
                          <a:cs typeface="Arial"/>
                        </a:rPr>
                        <a:t>t</a:t>
                      </a:r>
                      <a:r>
                        <a:rPr sz="1700" dirty="0">
                          <a:latin typeface="Arial"/>
                          <a:cs typeface="Arial"/>
                        </a:rPr>
                        <a:t>egy</a:t>
                      </a:r>
                      <a:r>
                        <a:rPr sz="1700" spc="15" dirty="0">
                          <a:latin typeface="Arial"/>
                          <a:cs typeface="Arial"/>
                        </a:rPr>
                        <a:t> </a:t>
                      </a:r>
                      <a:r>
                        <a:rPr sz="1700" dirty="0">
                          <a:latin typeface="Arial"/>
                          <a:cs typeface="Arial"/>
                        </a:rPr>
                        <a:t>and</a:t>
                      </a:r>
                      <a:r>
                        <a:rPr sz="1700" spc="5" dirty="0">
                          <a:latin typeface="Arial"/>
                          <a:cs typeface="Arial"/>
                        </a:rPr>
                        <a:t> </a:t>
                      </a:r>
                      <a:r>
                        <a:rPr sz="1700" dirty="0">
                          <a:latin typeface="Arial"/>
                          <a:cs typeface="Arial"/>
                        </a:rPr>
                        <a:t>p</a:t>
                      </a:r>
                      <a:r>
                        <a:rPr sz="1700" spc="-5" dirty="0">
                          <a:latin typeface="Arial"/>
                          <a:cs typeface="Arial"/>
                        </a:rPr>
                        <a:t>r</a:t>
                      </a:r>
                      <a:r>
                        <a:rPr sz="1700" dirty="0">
                          <a:latin typeface="Arial"/>
                          <a:cs typeface="Arial"/>
                        </a:rPr>
                        <a:t>o</a:t>
                      </a:r>
                      <a:r>
                        <a:rPr sz="1700" spc="5" dirty="0">
                          <a:latin typeface="Arial"/>
                          <a:cs typeface="Arial"/>
                        </a:rPr>
                        <a:t>j</a:t>
                      </a:r>
                      <a:r>
                        <a:rPr sz="1700" dirty="0">
                          <a:latin typeface="Arial"/>
                          <a:cs typeface="Arial"/>
                        </a:rPr>
                        <a:t>ec</a:t>
                      </a:r>
                      <a:r>
                        <a:rPr sz="1700" spc="-10" dirty="0">
                          <a:latin typeface="Arial"/>
                          <a:cs typeface="Arial"/>
                        </a:rPr>
                        <a:t>t</a:t>
                      </a:r>
                      <a:r>
                        <a:rPr sz="1700" dirty="0">
                          <a:latin typeface="Arial"/>
                          <a:cs typeface="Arial"/>
                        </a:rPr>
                        <a:t>s</a:t>
                      </a:r>
                      <a:r>
                        <a:rPr sz="1700" spc="-5" dirty="0">
                          <a:latin typeface="Arial"/>
                          <a:cs typeface="Arial"/>
                        </a:rPr>
                        <a:t> </a:t>
                      </a:r>
                      <a:r>
                        <a:rPr sz="1700" dirty="0">
                          <a:latin typeface="Arial"/>
                          <a:cs typeface="Arial"/>
                        </a:rPr>
                        <a:t>e</a:t>
                      </a:r>
                      <a:r>
                        <a:rPr sz="1700" spc="-15" dirty="0">
                          <a:latin typeface="Arial"/>
                          <a:cs typeface="Arial"/>
                        </a:rPr>
                        <a:t>x</a:t>
                      </a:r>
                      <a:r>
                        <a:rPr sz="1700" dirty="0">
                          <a:latin typeface="Arial"/>
                          <a:cs typeface="Arial"/>
                        </a:rPr>
                        <a:t>ecu</a:t>
                      </a:r>
                      <a:r>
                        <a:rPr sz="1700" spc="-10" dirty="0">
                          <a:latin typeface="Arial"/>
                          <a:cs typeface="Arial"/>
                        </a:rPr>
                        <a:t>t</a:t>
                      </a:r>
                      <a:r>
                        <a:rPr sz="1700" spc="5" dirty="0">
                          <a:latin typeface="Arial"/>
                          <a:cs typeface="Arial"/>
                        </a:rPr>
                        <a:t>i</a:t>
                      </a:r>
                      <a:r>
                        <a:rPr sz="1700" dirty="0">
                          <a:latin typeface="Arial"/>
                          <a:cs typeface="Arial"/>
                        </a:rPr>
                        <a:t>on</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tc>
                  <a:txBody>
                    <a:bodyPr/>
                    <a:lstStyle/>
                    <a:p>
                      <a:pPr marL="81280">
                        <a:lnSpc>
                          <a:spcPct val="100000"/>
                        </a:lnSpc>
                      </a:pPr>
                      <a:r>
                        <a:rPr sz="1700" dirty="0">
                          <a:latin typeface="Arial"/>
                          <a:cs typeface="Arial"/>
                        </a:rPr>
                        <a:t>E</a:t>
                      </a:r>
                      <a:r>
                        <a:rPr sz="1700" spc="-15" dirty="0">
                          <a:latin typeface="Arial"/>
                          <a:cs typeface="Arial"/>
                        </a:rPr>
                        <a:t>x</a:t>
                      </a:r>
                      <a:r>
                        <a:rPr sz="1700" spc="-10" dirty="0">
                          <a:latin typeface="Arial"/>
                          <a:cs typeface="Arial"/>
                        </a:rPr>
                        <a:t>t</a:t>
                      </a:r>
                      <a:r>
                        <a:rPr sz="1700" spc="-5" dirty="0">
                          <a:latin typeface="Arial"/>
                          <a:cs typeface="Arial"/>
                        </a:rPr>
                        <a:t>r</a:t>
                      </a:r>
                      <a:r>
                        <a:rPr sz="1700" dirty="0">
                          <a:latin typeface="Arial"/>
                          <a:cs typeface="Arial"/>
                        </a:rPr>
                        <a:t>e</a:t>
                      </a:r>
                      <a:r>
                        <a:rPr sz="1700" spc="-5" dirty="0">
                          <a:latin typeface="Arial"/>
                          <a:cs typeface="Arial"/>
                        </a:rPr>
                        <a:t>me</a:t>
                      </a:r>
                      <a:endParaRPr sz="1700" dirty="0">
                        <a:latin typeface="Arial"/>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extLst>
                  <a:ext uri="{0D108BD9-81ED-4DB2-BD59-A6C34878D82A}">
                    <a16:rowId xmlns:a16="http://schemas.microsoft.com/office/drawing/2014/main" xmlns="" val="10002"/>
                  </a:ext>
                </a:extLst>
              </a:tr>
              <a:tr h="357750">
                <a:tc>
                  <a:txBody>
                    <a:bodyPr/>
                    <a:lstStyle/>
                    <a:p>
                      <a:pPr marL="81280">
                        <a:lnSpc>
                          <a:spcPct val="100000"/>
                        </a:lnSpc>
                      </a:pPr>
                      <a:r>
                        <a:rPr sz="1700" spc="5" dirty="0">
                          <a:latin typeface="Arial"/>
                          <a:cs typeface="Arial"/>
                        </a:rPr>
                        <a:t>C</a:t>
                      </a:r>
                      <a:r>
                        <a:rPr sz="1700" dirty="0">
                          <a:latin typeface="Arial"/>
                          <a:cs typeface="Arial"/>
                        </a:rPr>
                        <a:t>o</a:t>
                      </a:r>
                      <a:r>
                        <a:rPr sz="1700" spc="-5" dirty="0">
                          <a:latin typeface="Arial"/>
                          <a:cs typeface="Arial"/>
                        </a:rPr>
                        <a:t>r</a:t>
                      </a:r>
                      <a:r>
                        <a:rPr sz="1700" dirty="0">
                          <a:latin typeface="Arial"/>
                          <a:cs typeface="Arial"/>
                        </a:rPr>
                        <a:t>po</a:t>
                      </a:r>
                      <a:r>
                        <a:rPr sz="1700" spc="-5" dirty="0">
                          <a:latin typeface="Arial"/>
                          <a:cs typeface="Arial"/>
                        </a:rPr>
                        <a:t>r</a:t>
                      </a:r>
                      <a:r>
                        <a:rPr sz="1700" dirty="0">
                          <a:latin typeface="Arial"/>
                          <a:cs typeface="Arial"/>
                        </a:rPr>
                        <a:t>a</a:t>
                      </a:r>
                      <a:r>
                        <a:rPr sz="1700" spc="-10" dirty="0">
                          <a:latin typeface="Arial"/>
                          <a:cs typeface="Arial"/>
                        </a:rPr>
                        <a:t>t</a:t>
                      </a:r>
                      <a:r>
                        <a:rPr sz="1700" dirty="0">
                          <a:latin typeface="Arial"/>
                          <a:cs typeface="Arial"/>
                        </a:rPr>
                        <a:t>e</a:t>
                      </a:r>
                      <a:r>
                        <a:rPr sz="1700" spc="5" dirty="0">
                          <a:latin typeface="Arial"/>
                          <a:cs typeface="Arial"/>
                        </a:rPr>
                        <a:t> </a:t>
                      </a:r>
                      <a:r>
                        <a:rPr sz="1700" spc="-10" dirty="0">
                          <a:latin typeface="Arial"/>
                          <a:cs typeface="Arial"/>
                        </a:rPr>
                        <a:t>G</a:t>
                      </a:r>
                      <a:r>
                        <a:rPr sz="1700" dirty="0">
                          <a:latin typeface="Arial"/>
                          <a:cs typeface="Arial"/>
                        </a:rPr>
                        <a:t>ove</a:t>
                      </a:r>
                      <a:r>
                        <a:rPr sz="1700" spc="-5" dirty="0">
                          <a:latin typeface="Arial"/>
                          <a:cs typeface="Arial"/>
                        </a:rPr>
                        <a:t>r</a:t>
                      </a:r>
                      <a:r>
                        <a:rPr sz="1700" dirty="0">
                          <a:latin typeface="Arial"/>
                          <a:cs typeface="Arial"/>
                        </a:rPr>
                        <a:t>nance</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tc>
                  <a:txBody>
                    <a:bodyPr/>
                    <a:lstStyle/>
                    <a:p>
                      <a:pPr marL="81280">
                        <a:lnSpc>
                          <a:spcPct val="100000"/>
                        </a:lnSpc>
                      </a:pPr>
                      <a:r>
                        <a:rPr sz="1700" spc="5" dirty="0">
                          <a:latin typeface="Arial"/>
                          <a:cs typeface="Arial"/>
                        </a:rPr>
                        <a:t>Hi</a:t>
                      </a:r>
                      <a:r>
                        <a:rPr sz="1700" dirty="0">
                          <a:latin typeface="Arial"/>
                          <a:cs typeface="Arial"/>
                        </a:rPr>
                        <a:t>gh</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extLst>
                  <a:ext uri="{0D108BD9-81ED-4DB2-BD59-A6C34878D82A}">
                    <a16:rowId xmlns:a16="http://schemas.microsoft.com/office/drawing/2014/main" xmlns="" val="10003"/>
                  </a:ext>
                </a:extLst>
              </a:tr>
              <a:tr h="606371">
                <a:tc>
                  <a:txBody>
                    <a:bodyPr/>
                    <a:lstStyle/>
                    <a:p>
                      <a:pPr marL="81280" marR="731520">
                        <a:lnSpc>
                          <a:spcPct val="100000"/>
                        </a:lnSpc>
                      </a:pPr>
                      <a:r>
                        <a:rPr sz="1700" dirty="0">
                          <a:latin typeface="Arial"/>
                          <a:cs typeface="Arial"/>
                        </a:rPr>
                        <a:t>S</a:t>
                      </a:r>
                      <a:r>
                        <a:rPr sz="1700" spc="-10" dirty="0">
                          <a:latin typeface="Arial"/>
                          <a:cs typeface="Arial"/>
                        </a:rPr>
                        <a:t>t</a:t>
                      </a:r>
                      <a:r>
                        <a:rPr sz="1700" dirty="0">
                          <a:latin typeface="Arial"/>
                          <a:cs typeface="Arial"/>
                        </a:rPr>
                        <a:t>akeho</a:t>
                      </a:r>
                      <a:r>
                        <a:rPr sz="1700" spc="5" dirty="0">
                          <a:latin typeface="Arial"/>
                          <a:cs typeface="Arial"/>
                        </a:rPr>
                        <a:t>l</a:t>
                      </a:r>
                      <a:r>
                        <a:rPr sz="1700" dirty="0">
                          <a:latin typeface="Arial"/>
                          <a:cs typeface="Arial"/>
                        </a:rPr>
                        <a:t>der and</a:t>
                      </a:r>
                      <a:r>
                        <a:rPr sz="1700" spc="5" dirty="0">
                          <a:latin typeface="Arial"/>
                          <a:cs typeface="Arial"/>
                        </a:rPr>
                        <a:t> </a:t>
                      </a:r>
                      <a:r>
                        <a:rPr sz="1700" spc="-5" dirty="0">
                          <a:latin typeface="Arial"/>
                          <a:cs typeface="Arial"/>
                        </a:rPr>
                        <a:t>r</a:t>
                      </a:r>
                      <a:r>
                        <a:rPr sz="1700" dirty="0">
                          <a:latin typeface="Arial"/>
                          <a:cs typeface="Arial"/>
                        </a:rPr>
                        <a:t>epu</a:t>
                      </a:r>
                      <a:r>
                        <a:rPr sz="1700" spc="-10" dirty="0">
                          <a:latin typeface="Arial"/>
                          <a:cs typeface="Arial"/>
                        </a:rPr>
                        <a:t>t</a:t>
                      </a:r>
                      <a:r>
                        <a:rPr sz="1700" dirty="0">
                          <a:latin typeface="Arial"/>
                          <a:cs typeface="Arial"/>
                        </a:rPr>
                        <a:t>a</a:t>
                      </a:r>
                      <a:r>
                        <a:rPr sz="1700" spc="-10" dirty="0">
                          <a:latin typeface="Arial"/>
                          <a:cs typeface="Arial"/>
                        </a:rPr>
                        <a:t>t</a:t>
                      </a:r>
                      <a:r>
                        <a:rPr sz="1700" spc="5" dirty="0">
                          <a:latin typeface="Arial"/>
                          <a:cs typeface="Arial"/>
                        </a:rPr>
                        <a:t>i</a:t>
                      </a:r>
                      <a:r>
                        <a:rPr sz="1700" dirty="0">
                          <a:latin typeface="Arial"/>
                          <a:cs typeface="Arial"/>
                        </a:rPr>
                        <a:t>on </a:t>
                      </a:r>
                      <a:r>
                        <a:rPr sz="1700" spc="-5" dirty="0">
                          <a:latin typeface="Arial"/>
                          <a:cs typeface="Arial"/>
                        </a:rPr>
                        <a:t>m</a:t>
                      </a:r>
                      <a:r>
                        <a:rPr sz="1700" dirty="0">
                          <a:latin typeface="Arial"/>
                          <a:cs typeface="Arial"/>
                        </a:rPr>
                        <a:t>anage</a:t>
                      </a:r>
                      <a:r>
                        <a:rPr sz="1700" spc="-5" dirty="0">
                          <a:latin typeface="Arial"/>
                          <a:cs typeface="Arial"/>
                        </a:rPr>
                        <a:t>m</a:t>
                      </a:r>
                      <a:r>
                        <a:rPr sz="1700" dirty="0">
                          <a:latin typeface="Arial"/>
                          <a:cs typeface="Arial"/>
                        </a:rPr>
                        <a:t>ent</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tc>
                  <a:txBody>
                    <a:bodyPr/>
                    <a:lstStyle/>
                    <a:p>
                      <a:pPr marL="81280">
                        <a:lnSpc>
                          <a:spcPct val="100000"/>
                        </a:lnSpc>
                      </a:pPr>
                      <a:r>
                        <a:rPr sz="1700" spc="5" dirty="0">
                          <a:latin typeface="Arial"/>
                          <a:cs typeface="Arial"/>
                        </a:rPr>
                        <a:t>Hi</a:t>
                      </a:r>
                      <a:r>
                        <a:rPr sz="1700" dirty="0">
                          <a:latin typeface="Arial"/>
                          <a:cs typeface="Arial"/>
                        </a:rPr>
                        <a:t>gh</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extLst>
                  <a:ext uri="{0D108BD9-81ED-4DB2-BD59-A6C34878D82A}">
                    <a16:rowId xmlns:a16="http://schemas.microsoft.com/office/drawing/2014/main" xmlns="" val="10004"/>
                  </a:ext>
                </a:extLst>
              </a:tr>
              <a:tr h="357750">
                <a:tc>
                  <a:txBody>
                    <a:bodyPr/>
                    <a:lstStyle/>
                    <a:p>
                      <a:pPr marL="81280">
                        <a:lnSpc>
                          <a:spcPct val="100000"/>
                        </a:lnSpc>
                      </a:pPr>
                      <a:r>
                        <a:rPr sz="1700" spc="-10" dirty="0">
                          <a:latin typeface="Arial"/>
                          <a:cs typeface="Arial"/>
                        </a:rPr>
                        <a:t>O</a:t>
                      </a:r>
                      <a:r>
                        <a:rPr sz="1700" dirty="0">
                          <a:latin typeface="Arial"/>
                          <a:cs typeface="Arial"/>
                        </a:rPr>
                        <a:t>pe</a:t>
                      </a:r>
                      <a:r>
                        <a:rPr sz="1700" spc="-5" dirty="0">
                          <a:latin typeface="Arial"/>
                          <a:cs typeface="Arial"/>
                        </a:rPr>
                        <a:t>r</a:t>
                      </a:r>
                      <a:r>
                        <a:rPr sz="1700" dirty="0">
                          <a:latin typeface="Arial"/>
                          <a:cs typeface="Arial"/>
                        </a:rPr>
                        <a:t>a</a:t>
                      </a:r>
                      <a:r>
                        <a:rPr sz="1700" spc="-10" dirty="0">
                          <a:latin typeface="Arial"/>
                          <a:cs typeface="Arial"/>
                        </a:rPr>
                        <a:t>t</a:t>
                      </a:r>
                      <a:r>
                        <a:rPr sz="1700" spc="5" dirty="0">
                          <a:latin typeface="Arial"/>
                          <a:cs typeface="Arial"/>
                        </a:rPr>
                        <a:t>i</a:t>
                      </a:r>
                      <a:r>
                        <a:rPr sz="1700" dirty="0">
                          <a:latin typeface="Arial"/>
                          <a:cs typeface="Arial"/>
                        </a:rPr>
                        <a:t>ng</a:t>
                      </a:r>
                      <a:r>
                        <a:rPr sz="1700" spc="15" dirty="0">
                          <a:latin typeface="Arial"/>
                          <a:cs typeface="Arial"/>
                        </a:rPr>
                        <a:t> </a:t>
                      </a:r>
                      <a:r>
                        <a:rPr sz="1700" spc="-5" dirty="0">
                          <a:latin typeface="Arial"/>
                          <a:cs typeface="Arial"/>
                        </a:rPr>
                        <a:t>M</a:t>
                      </a:r>
                      <a:r>
                        <a:rPr sz="1700" dirty="0">
                          <a:latin typeface="Arial"/>
                          <a:cs typeface="Arial"/>
                        </a:rPr>
                        <a:t>odel and</a:t>
                      </a:r>
                      <a:r>
                        <a:rPr sz="1700" spc="5" dirty="0">
                          <a:latin typeface="Arial"/>
                          <a:cs typeface="Arial"/>
                        </a:rPr>
                        <a:t> </a:t>
                      </a:r>
                      <a:r>
                        <a:rPr sz="1700" dirty="0">
                          <a:latin typeface="Arial"/>
                          <a:cs typeface="Arial"/>
                        </a:rPr>
                        <a:t>s</a:t>
                      </a:r>
                      <a:r>
                        <a:rPr sz="1700" spc="-25" dirty="0">
                          <a:latin typeface="Arial"/>
                          <a:cs typeface="Arial"/>
                        </a:rPr>
                        <a:t>y</a:t>
                      </a:r>
                      <a:r>
                        <a:rPr sz="1700" dirty="0">
                          <a:latin typeface="Arial"/>
                          <a:cs typeface="Arial"/>
                        </a:rPr>
                        <a:t>ne</a:t>
                      </a:r>
                      <a:r>
                        <a:rPr sz="1700" spc="-5" dirty="0">
                          <a:latin typeface="Arial"/>
                          <a:cs typeface="Arial"/>
                        </a:rPr>
                        <a:t>r</a:t>
                      </a:r>
                      <a:r>
                        <a:rPr sz="1700" dirty="0">
                          <a:latin typeface="Arial"/>
                          <a:cs typeface="Arial"/>
                        </a:rPr>
                        <a:t>g</a:t>
                      </a:r>
                      <a:r>
                        <a:rPr sz="1700" spc="5" dirty="0">
                          <a:latin typeface="Arial"/>
                          <a:cs typeface="Arial"/>
                        </a:rPr>
                        <a:t>i</a:t>
                      </a:r>
                      <a:r>
                        <a:rPr sz="1700" dirty="0">
                          <a:latin typeface="Arial"/>
                          <a:cs typeface="Arial"/>
                        </a:rPr>
                        <a:t>es</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tc>
                  <a:txBody>
                    <a:bodyPr/>
                    <a:lstStyle/>
                    <a:p>
                      <a:pPr marL="81280">
                        <a:lnSpc>
                          <a:spcPct val="100000"/>
                        </a:lnSpc>
                      </a:pPr>
                      <a:r>
                        <a:rPr sz="1700" dirty="0">
                          <a:latin typeface="Arial"/>
                          <a:cs typeface="Arial"/>
                        </a:rPr>
                        <a:t>E</a:t>
                      </a:r>
                      <a:r>
                        <a:rPr sz="1700" spc="-15" dirty="0">
                          <a:latin typeface="Arial"/>
                          <a:cs typeface="Arial"/>
                        </a:rPr>
                        <a:t>x</a:t>
                      </a:r>
                      <a:r>
                        <a:rPr sz="1700" spc="-10" dirty="0">
                          <a:latin typeface="Arial"/>
                          <a:cs typeface="Arial"/>
                        </a:rPr>
                        <a:t>t</a:t>
                      </a:r>
                      <a:r>
                        <a:rPr sz="1700" spc="-5" dirty="0">
                          <a:latin typeface="Arial"/>
                          <a:cs typeface="Arial"/>
                        </a:rPr>
                        <a:t>r</a:t>
                      </a:r>
                      <a:r>
                        <a:rPr sz="1700" dirty="0">
                          <a:latin typeface="Arial"/>
                          <a:cs typeface="Arial"/>
                        </a:rPr>
                        <a:t>e</a:t>
                      </a:r>
                      <a:r>
                        <a:rPr sz="1700" spc="-5" dirty="0">
                          <a:latin typeface="Arial"/>
                          <a:cs typeface="Arial"/>
                        </a:rPr>
                        <a:t>me</a:t>
                      </a:r>
                      <a:endParaRPr sz="1700" dirty="0">
                        <a:latin typeface="Arial"/>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extLst>
                  <a:ext uri="{0D108BD9-81ED-4DB2-BD59-A6C34878D82A}">
                    <a16:rowId xmlns:a16="http://schemas.microsoft.com/office/drawing/2014/main" xmlns="" val="10005"/>
                  </a:ext>
                </a:extLst>
              </a:tr>
              <a:tr h="357750">
                <a:tc>
                  <a:txBody>
                    <a:bodyPr/>
                    <a:lstStyle/>
                    <a:p>
                      <a:pPr marL="81280">
                        <a:lnSpc>
                          <a:spcPct val="100000"/>
                        </a:lnSpc>
                      </a:pPr>
                      <a:r>
                        <a:rPr sz="1700" dirty="0">
                          <a:latin typeface="Arial"/>
                          <a:cs typeface="Arial"/>
                        </a:rPr>
                        <a:t>Secu</a:t>
                      </a:r>
                      <a:r>
                        <a:rPr sz="1700" spc="-5" dirty="0">
                          <a:latin typeface="Arial"/>
                          <a:cs typeface="Arial"/>
                        </a:rPr>
                        <a:t>r</a:t>
                      </a:r>
                      <a:r>
                        <a:rPr sz="1700" spc="5" dirty="0">
                          <a:latin typeface="Arial"/>
                          <a:cs typeface="Arial"/>
                        </a:rPr>
                        <a:t>i</a:t>
                      </a:r>
                      <a:r>
                        <a:rPr sz="1700" spc="-10" dirty="0">
                          <a:latin typeface="Arial"/>
                          <a:cs typeface="Arial"/>
                        </a:rPr>
                        <a:t>t</a:t>
                      </a:r>
                      <a:r>
                        <a:rPr sz="1700" dirty="0">
                          <a:latin typeface="Arial"/>
                          <a:cs typeface="Arial"/>
                        </a:rPr>
                        <a:t>y</a:t>
                      </a:r>
                      <a:r>
                        <a:rPr sz="1700" spc="-5" dirty="0">
                          <a:latin typeface="Arial"/>
                          <a:cs typeface="Arial"/>
                        </a:rPr>
                        <a:t> </a:t>
                      </a:r>
                      <a:r>
                        <a:rPr sz="1700" dirty="0">
                          <a:latin typeface="Arial"/>
                          <a:cs typeface="Arial"/>
                        </a:rPr>
                        <a:t>of supp</a:t>
                      </a:r>
                      <a:r>
                        <a:rPr sz="1700" spc="5" dirty="0">
                          <a:latin typeface="Arial"/>
                          <a:cs typeface="Arial"/>
                        </a:rPr>
                        <a:t>l</a:t>
                      </a:r>
                      <a:r>
                        <a:rPr sz="1700" dirty="0">
                          <a:latin typeface="Arial"/>
                          <a:cs typeface="Arial"/>
                        </a:rPr>
                        <a:t>y</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tc>
                  <a:txBody>
                    <a:bodyPr/>
                    <a:lstStyle/>
                    <a:p>
                      <a:pPr marL="81280">
                        <a:lnSpc>
                          <a:spcPct val="100000"/>
                        </a:lnSpc>
                      </a:pPr>
                      <a:r>
                        <a:rPr sz="1700" spc="5" dirty="0">
                          <a:latin typeface="Arial"/>
                          <a:cs typeface="Arial"/>
                        </a:rPr>
                        <a:t>Hi</a:t>
                      </a:r>
                      <a:r>
                        <a:rPr sz="1700" dirty="0">
                          <a:latin typeface="Arial"/>
                          <a:cs typeface="Arial"/>
                        </a:rPr>
                        <a:t>gh</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extLst>
                  <a:ext uri="{0D108BD9-81ED-4DB2-BD59-A6C34878D82A}">
                    <a16:rowId xmlns:a16="http://schemas.microsoft.com/office/drawing/2014/main" xmlns="" val="10006"/>
                  </a:ext>
                </a:extLst>
              </a:tr>
              <a:tr h="357750">
                <a:tc>
                  <a:txBody>
                    <a:bodyPr/>
                    <a:lstStyle/>
                    <a:p>
                      <a:pPr marL="81280">
                        <a:lnSpc>
                          <a:spcPct val="100000"/>
                        </a:lnSpc>
                      </a:pPr>
                      <a:r>
                        <a:rPr sz="1700" dirty="0">
                          <a:latin typeface="Arial"/>
                          <a:cs typeface="Arial"/>
                        </a:rPr>
                        <a:t>L</a:t>
                      </a:r>
                      <a:r>
                        <a:rPr sz="1700" spc="5" dirty="0">
                          <a:latin typeface="Arial"/>
                          <a:cs typeface="Arial"/>
                        </a:rPr>
                        <a:t>i</a:t>
                      </a:r>
                      <a:r>
                        <a:rPr sz="1700" spc="-10" dirty="0">
                          <a:latin typeface="Arial"/>
                          <a:cs typeface="Arial"/>
                        </a:rPr>
                        <a:t>t</a:t>
                      </a:r>
                      <a:r>
                        <a:rPr sz="1700" spc="5" dirty="0">
                          <a:latin typeface="Arial"/>
                          <a:cs typeface="Arial"/>
                        </a:rPr>
                        <a:t>i</a:t>
                      </a:r>
                      <a:r>
                        <a:rPr sz="1700" dirty="0">
                          <a:latin typeface="Arial"/>
                          <a:cs typeface="Arial"/>
                        </a:rPr>
                        <a:t>ga</a:t>
                      </a:r>
                      <a:r>
                        <a:rPr sz="1700" spc="-10" dirty="0">
                          <a:latin typeface="Arial"/>
                          <a:cs typeface="Arial"/>
                        </a:rPr>
                        <a:t>t</a:t>
                      </a:r>
                      <a:r>
                        <a:rPr sz="1700" spc="5" dirty="0">
                          <a:latin typeface="Arial"/>
                          <a:cs typeface="Arial"/>
                        </a:rPr>
                        <a:t>i</a:t>
                      </a:r>
                      <a:r>
                        <a:rPr sz="1700" dirty="0">
                          <a:latin typeface="Arial"/>
                          <a:cs typeface="Arial"/>
                        </a:rPr>
                        <a:t>ons</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tc>
                  <a:txBody>
                    <a:bodyPr/>
                    <a:lstStyle/>
                    <a:p>
                      <a:pPr marL="81280">
                        <a:lnSpc>
                          <a:spcPct val="100000"/>
                        </a:lnSpc>
                      </a:pPr>
                      <a:r>
                        <a:rPr sz="1700" spc="5" dirty="0">
                          <a:latin typeface="Arial"/>
                          <a:cs typeface="Arial"/>
                        </a:rPr>
                        <a:t>Hi</a:t>
                      </a:r>
                      <a:r>
                        <a:rPr sz="1700" dirty="0">
                          <a:latin typeface="Arial"/>
                          <a:cs typeface="Arial"/>
                        </a:rPr>
                        <a:t>gh</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extLst>
                  <a:ext uri="{0D108BD9-81ED-4DB2-BD59-A6C34878D82A}">
                    <a16:rowId xmlns:a16="http://schemas.microsoft.com/office/drawing/2014/main" xmlns="" val="10007"/>
                  </a:ext>
                </a:extLst>
              </a:tr>
              <a:tr h="357750">
                <a:tc>
                  <a:txBody>
                    <a:bodyPr/>
                    <a:lstStyle/>
                    <a:p>
                      <a:pPr marL="81280">
                        <a:lnSpc>
                          <a:spcPct val="100000"/>
                        </a:lnSpc>
                      </a:pPr>
                      <a:r>
                        <a:rPr sz="1700" spc="5" dirty="0">
                          <a:latin typeface="Arial"/>
                          <a:cs typeface="Arial"/>
                        </a:rPr>
                        <a:t>R</a:t>
                      </a:r>
                      <a:r>
                        <a:rPr sz="1700" dirty="0">
                          <a:latin typeface="Arial"/>
                          <a:cs typeface="Arial"/>
                        </a:rPr>
                        <a:t>egu</a:t>
                      </a:r>
                      <a:r>
                        <a:rPr sz="1700" spc="5" dirty="0">
                          <a:latin typeface="Arial"/>
                          <a:cs typeface="Arial"/>
                        </a:rPr>
                        <a:t>l</a:t>
                      </a:r>
                      <a:r>
                        <a:rPr sz="1700" dirty="0">
                          <a:latin typeface="Arial"/>
                          <a:cs typeface="Arial"/>
                        </a:rPr>
                        <a:t>a</a:t>
                      </a:r>
                      <a:r>
                        <a:rPr sz="1700" spc="-10" dirty="0">
                          <a:latin typeface="Arial"/>
                          <a:cs typeface="Arial"/>
                        </a:rPr>
                        <a:t>t</a:t>
                      </a:r>
                      <a:r>
                        <a:rPr sz="1700" dirty="0">
                          <a:latin typeface="Arial"/>
                          <a:cs typeface="Arial"/>
                        </a:rPr>
                        <a:t>o</a:t>
                      </a:r>
                      <a:r>
                        <a:rPr sz="1700" spc="-5" dirty="0">
                          <a:latin typeface="Arial"/>
                          <a:cs typeface="Arial"/>
                        </a:rPr>
                        <a:t>r</a:t>
                      </a:r>
                      <a:r>
                        <a:rPr sz="1700" dirty="0">
                          <a:latin typeface="Arial"/>
                          <a:cs typeface="Arial"/>
                        </a:rPr>
                        <a:t>y</a:t>
                      </a:r>
                      <a:r>
                        <a:rPr sz="1700" spc="-5" dirty="0">
                          <a:latin typeface="Arial"/>
                          <a:cs typeface="Arial"/>
                        </a:rPr>
                        <a:t> </a:t>
                      </a:r>
                      <a:r>
                        <a:rPr sz="1700" dirty="0">
                          <a:latin typeface="Arial"/>
                          <a:cs typeface="Arial"/>
                        </a:rPr>
                        <a:t>and</a:t>
                      </a:r>
                      <a:r>
                        <a:rPr sz="1700" spc="5" dirty="0">
                          <a:latin typeface="Arial"/>
                          <a:cs typeface="Arial"/>
                        </a:rPr>
                        <a:t> </a:t>
                      </a:r>
                      <a:r>
                        <a:rPr sz="1700" dirty="0">
                          <a:latin typeface="Arial"/>
                          <a:cs typeface="Arial"/>
                        </a:rPr>
                        <a:t>co</a:t>
                      </a:r>
                      <a:r>
                        <a:rPr sz="1700" spc="-5" dirty="0">
                          <a:latin typeface="Arial"/>
                          <a:cs typeface="Arial"/>
                        </a:rPr>
                        <a:t>m</a:t>
                      </a:r>
                      <a:r>
                        <a:rPr sz="1700" dirty="0">
                          <a:latin typeface="Arial"/>
                          <a:cs typeface="Arial"/>
                        </a:rPr>
                        <a:t>p</a:t>
                      </a:r>
                      <a:r>
                        <a:rPr sz="1700" spc="5" dirty="0">
                          <a:latin typeface="Arial"/>
                          <a:cs typeface="Arial"/>
                        </a:rPr>
                        <a:t>li</a:t>
                      </a:r>
                      <a:r>
                        <a:rPr sz="1700" dirty="0">
                          <a:latin typeface="Arial"/>
                          <a:cs typeface="Arial"/>
                        </a:rPr>
                        <a:t>ance</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tc>
                  <a:txBody>
                    <a:bodyPr/>
                    <a:lstStyle/>
                    <a:p>
                      <a:pPr marL="81280">
                        <a:lnSpc>
                          <a:spcPct val="100000"/>
                        </a:lnSpc>
                      </a:pPr>
                      <a:r>
                        <a:rPr sz="1700" spc="5" dirty="0">
                          <a:latin typeface="Arial"/>
                          <a:cs typeface="Arial"/>
                        </a:rPr>
                        <a:t>Hi</a:t>
                      </a:r>
                      <a:r>
                        <a:rPr sz="1700" dirty="0">
                          <a:latin typeface="Arial"/>
                          <a:cs typeface="Arial"/>
                        </a:rPr>
                        <a:t>gh</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extLst>
                  <a:ext uri="{0D108BD9-81ED-4DB2-BD59-A6C34878D82A}">
                    <a16:rowId xmlns:a16="http://schemas.microsoft.com/office/drawing/2014/main" xmlns="" val="10008"/>
                  </a:ext>
                </a:extLst>
              </a:tr>
              <a:tr h="357748">
                <a:tc>
                  <a:txBody>
                    <a:bodyPr/>
                    <a:lstStyle/>
                    <a:p>
                      <a:pPr marL="81280">
                        <a:lnSpc>
                          <a:spcPct val="100000"/>
                        </a:lnSpc>
                      </a:pPr>
                      <a:r>
                        <a:rPr sz="1700" spc="5" dirty="0">
                          <a:latin typeface="Arial"/>
                          <a:cs typeface="Arial"/>
                        </a:rPr>
                        <a:t>H</a:t>
                      </a:r>
                      <a:r>
                        <a:rPr sz="1700" dirty="0">
                          <a:latin typeface="Arial"/>
                          <a:cs typeface="Arial"/>
                        </a:rPr>
                        <a:t>u</a:t>
                      </a:r>
                      <a:r>
                        <a:rPr sz="1700" spc="-5" dirty="0">
                          <a:latin typeface="Arial"/>
                          <a:cs typeface="Arial"/>
                        </a:rPr>
                        <a:t>m</a:t>
                      </a:r>
                      <a:r>
                        <a:rPr sz="1700" dirty="0">
                          <a:latin typeface="Arial"/>
                          <a:cs typeface="Arial"/>
                        </a:rPr>
                        <a:t>an</a:t>
                      </a:r>
                      <a:r>
                        <a:rPr sz="1700" spc="-5" dirty="0">
                          <a:latin typeface="Arial"/>
                          <a:cs typeface="Arial"/>
                        </a:rPr>
                        <a:t> </a:t>
                      </a:r>
                      <a:r>
                        <a:rPr sz="1700" dirty="0">
                          <a:latin typeface="Arial"/>
                          <a:cs typeface="Arial"/>
                        </a:rPr>
                        <a:t>cap</a:t>
                      </a:r>
                      <a:r>
                        <a:rPr sz="1700" spc="5" dirty="0">
                          <a:latin typeface="Arial"/>
                          <a:cs typeface="Arial"/>
                        </a:rPr>
                        <a:t>i</a:t>
                      </a:r>
                      <a:r>
                        <a:rPr sz="1700" spc="-10" dirty="0">
                          <a:latin typeface="Arial"/>
                          <a:cs typeface="Arial"/>
                        </a:rPr>
                        <a:t>t</a:t>
                      </a:r>
                      <a:r>
                        <a:rPr sz="1700" dirty="0">
                          <a:latin typeface="Arial"/>
                          <a:cs typeface="Arial"/>
                        </a:rPr>
                        <a:t>a</a:t>
                      </a:r>
                      <a:r>
                        <a:rPr sz="1700" spc="5" dirty="0">
                          <a:latin typeface="Arial"/>
                          <a:cs typeface="Arial"/>
                        </a:rPr>
                        <a:t>l</a:t>
                      </a:r>
                      <a:r>
                        <a:rPr sz="1700" spc="-10" dirty="0">
                          <a:latin typeface="Arial"/>
                          <a:cs typeface="Arial"/>
                        </a:rPr>
                        <a:t>/</a:t>
                      </a:r>
                      <a:r>
                        <a:rPr sz="1700" dirty="0">
                          <a:latin typeface="Arial"/>
                          <a:cs typeface="Arial"/>
                        </a:rPr>
                        <a:t>peop</a:t>
                      </a:r>
                      <a:r>
                        <a:rPr sz="1700" spc="5" dirty="0">
                          <a:latin typeface="Arial"/>
                          <a:cs typeface="Arial"/>
                        </a:rPr>
                        <a:t>l</a:t>
                      </a:r>
                      <a:r>
                        <a:rPr sz="1700" dirty="0">
                          <a:latin typeface="Arial"/>
                          <a:cs typeface="Arial"/>
                        </a:rPr>
                        <a:t>e</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tc>
                  <a:txBody>
                    <a:bodyPr/>
                    <a:lstStyle/>
                    <a:p>
                      <a:pPr marL="81280">
                        <a:lnSpc>
                          <a:spcPct val="100000"/>
                        </a:lnSpc>
                      </a:pPr>
                      <a:r>
                        <a:rPr sz="1700" spc="5" dirty="0">
                          <a:latin typeface="Arial"/>
                          <a:cs typeface="Arial"/>
                        </a:rPr>
                        <a:t>Hi</a:t>
                      </a:r>
                      <a:r>
                        <a:rPr sz="1700" dirty="0">
                          <a:latin typeface="Arial"/>
                          <a:cs typeface="Arial"/>
                        </a:rPr>
                        <a:t>gh</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extLst>
                  <a:ext uri="{0D108BD9-81ED-4DB2-BD59-A6C34878D82A}">
                    <a16:rowId xmlns:a16="http://schemas.microsoft.com/office/drawing/2014/main" xmlns="" val="10009"/>
                  </a:ext>
                </a:extLst>
              </a:tr>
              <a:tr h="357751">
                <a:tc>
                  <a:txBody>
                    <a:bodyPr/>
                    <a:lstStyle/>
                    <a:p>
                      <a:pPr marL="81280">
                        <a:lnSpc>
                          <a:spcPct val="100000"/>
                        </a:lnSpc>
                      </a:pPr>
                      <a:r>
                        <a:rPr sz="1700" spc="5" dirty="0">
                          <a:latin typeface="Arial"/>
                          <a:cs typeface="Arial"/>
                        </a:rPr>
                        <a:t>H</a:t>
                      </a:r>
                      <a:r>
                        <a:rPr sz="1700" dirty="0">
                          <a:latin typeface="Arial"/>
                          <a:cs typeface="Arial"/>
                        </a:rPr>
                        <a:t>SEQ</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tc>
                  <a:txBody>
                    <a:bodyPr/>
                    <a:lstStyle/>
                    <a:p>
                      <a:pPr marL="81280">
                        <a:lnSpc>
                          <a:spcPct val="100000"/>
                        </a:lnSpc>
                      </a:pPr>
                      <a:r>
                        <a:rPr sz="1700" spc="-5" dirty="0">
                          <a:latin typeface="Arial"/>
                          <a:cs typeface="Arial"/>
                        </a:rPr>
                        <a:t>M</a:t>
                      </a:r>
                      <a:r>
                        <a:rPr sz="1700" dirty="0">
                          <a:latin typeface="Arial"/>
                          <a:cs typeface="Arial"/>
                        </a:rPr>
                        <a:t>ode</a:t>
                      </a:r>
                      <a:r>
                        <a:rPr sz="1700" spc="-5" dirty="0">
                          <a:latin typeface="Arial"/>
                          <a:cs typeface="Arial"/>
                        </a:rPr>
                        <a:t>r</a:t>
                      </a:r>
                      <a:r>
                        <a:rPr sz="1700" dirty="0">
                          <a:latin typeface="Arial"/>
                          <a:cs typeface="Arial"/>
                        </a:rPr>
                        <a:t>a</a:t>
                      </a:r>
                      <a:r>
                        <a:rPr sz="1700" spc="-10" dirty="0">
                          <a:latin typeface="Arial"/>
                          <a:cs typeface="Arial"/>
                        </a:rPr>
                        <a:t>t</a:t>
                      </a:r>
                      <a:r>
                        <a:rPr sz="1700" dirty="0">
                          <a:latin typeface="Arial"/>
                          <a:cs typeface="Arial"/>
                        </a:rPr>
                        <a:t>e</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AF2"/>
                    </a:solidFill>
                  </a:tcPr>
                </a:tc>
                <a:extLst>
                  <a:ext uri="{0D108BD9-81ED-4DB2-BD59-A6C34878D82A}">
                    <a16:rowId xmlns:a16="http://schemas.microsoft.com/office/drawing/2014/main" xmlns="" val="10010"/>
                  </a:ext>
                </a:extLst>
              </a:tr>
              <a:tr h="357748">
                <a:tc>
                  <a:txBody>
                    <a:bodyPr/>
                    <a:lstStyle/>
                    <a:p>
                      <a:pPr marL="81280">
                        <a:lnSpc>
                          <a:spcPct val="100000"/>
                        </a:lnSpc>
                      </a:pPr>
                      <a:r>
                        <a:rPr sz="1700" spc="5" dirty="0">
                          <a:latin typeface="Arial"/>
                          <a:cs typeface="Arial"/>
                        </a:rPr>
                        <a:t>D</a:t>
                      </a:r>
                      <a:r>
                        <a:rPr sz="1700" dirty="0">
                          <a:latin typeface="Arial"/>
                          <a:cs typeface="Arial"/>
                        </a:rPr>
                        <a:t>eco</a:t>
                      </a:r>
                      <a:r>
                        <a:rPr sz="1700" spc="-5" dirty="0">
                          <a:latin typeface="Arial"/>
                          <a:cs typeface="Arial"/>
                        </a:rPr>
                        <a:t>mm</a:t>
                      </a:r>
                      <a:r>
                        <a:rPr sz="1700" spc="5" dirty="0">
                          <a:latin typeface="Arial"/>
                          <a:cs typeface="Arial"/>
                        </a:rPr>
                        <a:t>i</a:t>
                      </a:r>
                      <a:r>
                        <a:rPr sz="1700" dirty="0">
                          <a:latin typeface="Arial"/>
                          <a:cs typeface="Arial"/>
                        </a:rPr>
                        <a:t>ss</a:t>
                      </a:r>
                      <a:r>
                        <a:rPr sz="1700" spc="5" dirty="0">
                          <a:latin typeface="Arial"/>
                          <a:cs typeface="Arial"/>
                        </a:rPr>
                        <a:t>i</a:t>
                      </a:r>
                      <a:r>
                        <a:rPr sz="1700" dirty="0">
                          <a:latin typeface="Arial"/>
                          <a:cs typeface="Arial"/>
                        </a:rPr>
                        <a:t>on</a:t>
                      </a:r>
                      <a:r>
                        <a:rPr sz="1700" spc="-10" dirty="0">
                          <a:latin typeface="Arial"/>
                          <a:cs typeface="Arial"/>
                        </a:rPr>
                        <a:t>i</a:t>
                      </a:r>
                      <a:r>
                        <a:rPr sz="1700" dirty="0">
                          <a:latin typeface="Arial"/>
                          <a:cs typeface="Arial"/>
                        </a:rPr>
                        <a:t>ng</a:t>
                      </a:r>
                      <a:r>
                        <a:rPr sz="1700" spc="-30" dirty="0">
                          <a:latin typeface="Arial"/>
                          <a:cs typeface="Arial"/>
                        </a:rPr>
                        <a:t> </a:t>
                      </a:r>
                      <a:r>
                        <a:rPr sz="1700" dirty="0">
                          <a:latin typeface="Arial"/>
                          <a:cs typeface="Arial"/>
                        </a:rPr>
                        <a:t>L</a:t>
                      </a:r>
                      <a:r>
                        <a:rPr sz="1700" spc="5" dirty="0">
                          <a:latin typeface="Arial"/>
                          <a:cs typeface="Arial"/>
                        </a:rPr>
                        <a:t>i</a:t>
                      </a:r>
                      <a:r>
                        <a:rPr sz="1700" dirty="0">
                          <a:latin typeface="Arial"/>
                          <a:cs typeface="Arial"/>
                        </a:rPr>
                        <a:t>ab</a:t>
                      </a:r>
                      <a:r>
                        <a:rPr sz="1700" spc="5" dirty="0">
                          <a:latin typeface="Arial"/>
                          <a:cs typeface="Arial"/>
                        </a:rPr>
                        <a:t>ili</a:t>
                      </a:r>
                      <a:r>
                        <a:rPr sz="1700" spc="-10" dirty="0">
                          <a:latin typeface="Arial"/>
                          <a:cs typeface="Arial"/>
                        </a:rPr>
                        <a:t>t</a:t>
                      </a:r>
                      <a:r>
                        <a:rPr sz="1700" dirty="0">
                          <a:latin typeface="Arial"/>
                          <a:cs typeface="Arial"/>
                        </a:rPr>
                        <a:t>y</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tc>
                  <a:txBody>
                    <a:bodyPr/>
                    <a:lstStyle/>
                    <a:p>
                      <a:pPr marL="81280">
                        <a:lnSpc>
                          <a:spcPct val="100000"/>
                        </a:lnSpc>
                      </a:pPr>
                      <a:r>
                        <a:rPr sz="1700" spc="-5" dirty="0">
                          <a:latin typeface="Arial"/>
                          <a:cs typeface="Arial"/>
                        </a:rPr>
                        <a:t>M</a:t>
                      </a:r>
                      <a:r>
                        <a:rPr sz="1700" dirty="0">
                          <a:latin typeface="Arial"/>
                          <a:cs typeface="Arial"/>
                        </a:rPr>
                        <a:t>ode</a:t>
                      </a:r>
                      <a:r>
                        <a:rPr sz="1700" spc="-5" dirty="0">
                          <a:latin typeface="Arial"/>
                          <a:cs typeface="Arial"/>
                        </a:rPr>
                        <a:t>r</a:t>
                      </a:r>
                      <a:r>
                        <a:rPr sz="1700" dirty="0">
                          <a:latin typeface="Arial"/>
                          <a:cs typeface="Arial"/>
                        </a:rPr>
                        <a:t>a</a:t>
                      </a:r>
                      <a:r>
                        <a:rPr sz="1700" spc="-10" dirty="0">
                          <a:latin typeface="Arial"/>
                          <a:cs typeface="Arial"/>
                        </a:rPr>
                        <a:t>t</a:t>
                      </a:r>
                      <a:r>
                        <a:rPr sz="1700" dirty="0">
                          <a:latin typeface="Arial"/>
                          <a:cs typeface="Arial"/>
                        </a:rPr>
                        <a:t>e</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D2E4"/>
                    </a:solidFill>
                  </a:tcPr>
                </a:tc>
                <a:extLst>
                  <a:ext uri="{0D108BD9-81ED-4DB2-BD59-A6C34878D82A}">
                    <a16:rowId xmlns:a16="http://schemas.microsoft.com/office/drawing/2014/main" xmlns="" val="10011"/>
                  </a:ext>
                </a:extLst>
              </a:tr>
            </a:tbl>
          </a:graphicData>
        </a:graphic>
      </p:graphicFrame>
      <p:sp>
        <p:nvSpPr>
          <p:cNvPr id="93" name="Slide Number Placeholder 1"/>
          <p:cNvSpPr>
            <a:spLocks noGrp="1"/>
          </p:cNvSpPr>
          <p:nvPr>
            <p:ph type="sldNum" sz="quarter" idx="4"/>
          </p:nvPr>
        </p:nvSpPr>
        <p:spPr>
          <a:xfrm>
            <a:off x="9793297" y="0"/>
            <a:ext cx="2844800" cy="327030"/>
          </a:xfrm>
        </p:spPr>
        <p:txBody>
          <a:bodyPr/>
          <a:lstStyle/>
          <a:p>
            <a:fld id="{F667033A-4247-4ED4-8A21-2B1E2D674746}" type="slidenum">
              <a:rPr lang="en-ZA" smtClean="0"/>
              <a:pPr/>
              <a:t>22</a:t>
            </a:fld>
            <a:endParaRPr lang="en-ZA"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795" y="20305"/>
            <a:ext cx="6327072" cy="578894"/>
          </a:xfrm>
          <a:noFill/>
          <a:ln w="9525">
            <a:noFill/>
            <a:miter lim="800000"/>
            <a:headEnd/>
            <a:tailEnd/>
          </a:ln>
        </p:spPr>
        <p:txBody>
          <a:bodyPr vert="horz" wrap="square" lIns="0" tIns="45720" rIns="0" bIns="45720" numCol="1" anchor="ctr" anchorCtr="0" compatLnSpc="1">
            <a:prstTxWarp prst="textNoShape">
              <a:avLst/>
            </a:prstTxWarp>
          </a:bodyPr>
          <a:lstStyle/>
          <a:p>
            <a:r>
              <a:rPr lang="en-US" dirty="0">
                <a:solidFill>
                  <a:schemeClr val="accent1"/>
                </a:solidFill>
              </a:rPr>
              <a:t>Risks Mitigation Initiatives </a:t>
            </a:r>
          </a:p>
        </p:txBody>
      </p:sp>
      <p:cxnSp>
        <p:nvCxnSpPr>
          <p:cNvPr id="12" name="Straight Connector 11"/>
          <p:cNvCxnSpPr/>
          <p:nvPr/>
        </p:nvCxnSpPr>
        <p:spPr>
          <a:xfrm>
            <a:off x="2890361" y="2141842"/>
            <a:ext cx="8964000" cy="0"/>
          </a:xfrm>
          <a:prstGeom prst="line">
            <a:avLst/>
          </a:prstGeom>
          <a:noFill/>
          <a:ln w="6350" cap="flat" cmpd="sng" algn="ctr">
            <a:solidFill>
              <a:sysClr val="window" lastClr="FFFFFF">
                <a:lumMod val="75000"/>
              </a:sysClr>
            </a:solidFill>
            <a:prstDash val="solid"/>
            <a:miter lim="800000"/>
            <a:tailEnd type="oval"/>
          </a:ln>
          <a:effectLst/>
        </p:spPr>
      </p:cxnSp>
      <p:cxnSp>
        <p:nvCxnSpPr>
          <p:cNvPr id="13" name="Straight Connector 12"/>
          <p:cNvCxnSpPr>
            <a:cxnSpLocks/>
          </p:cNvCxnSpPr>
          <p:nvPr/>
        </p:nvCxnSpPr>
        <p:spPr>
          <a:xfrm flipV="1">
            <a:off x="2890361" y="3429000"/>
            <a:ext cx="8964000" cy="0"/>
          </a:xfrm>
          <a:prstGeom prst="line">
            <a:avLst/>
          </a:prstGeom>
          <a:noFill/>
          <a:ln w="6350" cap="flat" cmpd="sng" algn="ctr">
            <a:solidFill>
              <a:sysClr val="window" lastClr="FFFFFF">
                <a:lumMod val="75000"/>
              </a:sysClr>
            </a:solidFill>
            <a:prstDash val="solid"/>
            <a:miter lim="800000"/>
            <a:tailEnd type="oval"/>
          </a:ln>
          <a:effectLst/>
        </p:spPr>
      </p:cxnSp>
      <p:cxnSp>
        <p:nvCxnSpPr>
          <p:cNvPr id="14" name="Straight Connector 13"/>
          <p:cNvCxnSpPr>
            <a:cxnSpLocks/>
          </p:cNvCxnSpPr>
          <p:nvPr/>
        </p:nvCxnSpPr>
        <p:spPr>
          <a:xfrm flipV="1">
            <a:off x="2890361" y="4617335"/>
            <a:ext cx="8964000" cy="0"/>
          </a:xfrm>
          <a:prstGeom prst="line">
            <a:avLst/>
          </a:prstGeom>
          <a:noFill/>
          <a:ln w="6350" cap="flat" cmpd="sng" algn="ctr">
            <a:solidFill>
              <a:sysClr val="window" lastClr="FFFFFF">
                <a:lumMod val="75000"/>
              </a:sysClr>
            </a:solidFill>
            <a:prstDash val="solid"/>
            <a:miter lim="800000"/>
            <a:tailEnd type="oval"/>
          </a:ln>
          <a:effectLst/>
        </p:spPr>
      </p:cxnSp>
      <p:sp>
        <p:nvSpPr>
          <p:cNvPr id="19" name="Rectangle 18"/>
          <p:cNvSpPr/>
          <p:nvPr/>
        </p:nvSpPr>
        <p:spPr>
          <a:xfrm>
            <a:off x="2862015" y="2288238"/>
            <a:ext cx="9082718" cy="1131720"/>
          </a:xfrm>
          <a:prstGeom prst="rect">
            <a:avLst/>
          </a:prstGeom>
        </p:spPr>
        <p:txBody>
          <a:bodyPr wrap="square">
            <a:spAutoFit/>
          </a:bodyPr>
          <a:lstStyle/>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Obtain legal validation of the merger archetype as requested from Cabinet</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onitor and strengthen project execution in the growth projects through project framework</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velop the CEF Group acquisition and growth strategy</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velop group integrated funding and investment model</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entralize business development through parenting strategy and subsidiaries handing some project CEF</a:t>
            </a:r>
            <a:endParaRPr kumimoji="0" lang="en-ZA"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20" name="Rectangle 19"/>
          <p:cNvSpPr/>
          <p:nvPr/>
        </p:nvSpPr>
        <p:spPr>
          <a:xfrm>
            <a:off x="2862015" y="3451747"/>
            <a:ext cx="9082718" cy="1131720"/>
          </a:xfrm>
          <a:prstGeom prst="rect">
            <a:avLst/>
          </a:prstGeom>
        </p:spPr>
        <p:txBody>
          <a:bodyPr wrap="square">
            <a:spAutoFit/>
          </a:bodyPr>
          <a:lstStyle/>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dvance the PetroSA, SFF and iGAS merger project and the projects work streams</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Leadership forums to deal with issues of misalignment</a:t>
            </a:r>
            <a:endParaRPr kumimoji="0" lang="en-ZA"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nforce synergies through target setting in the scorecard.</a:t>
            </a:r>
            <a:endParaRPr kumimoji="0" lang="en-ZA"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velop and implement Group wide policies to ensure there are integrated processes</a:t>
            </a:r>
          </a:p>
          <a:p>
            <a:pPr marL="0" marR="0" lvl="0" indent="0" algn="just" defTabSz="882122" rtl="0" eaLnBrk="1" fontAlgn="auto" latinLnBrk="0" hangingPunct="1">
              <a:lnSpc>
                <a:spcPct val="100000"/>
              </a:lnSpc>
              <a:spcBef>
                <a:spcPts val="0"/>
              </a:spcBef>
              <a:spcAft>
                <a:spcPts val="0"/>
              </a:spcAft>
              <a:buClr>
                <a:srgbClr val="E96E09"/>
              </a:buClr>
              <a:buSzPts val="1100"/>
              <a:buFontTx/>
              <a:buNone/>
              <a:tabLst/>
              <a:defRPr/>
            </a:pPr>
            <a:endPar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21" name="Rectangle 20"/>
          <p:cNvSpPr/>
          <p:nvPr/>
        </p:nvSpPr>
        <p:spPr>
          <a:xfrm>
            <a:off x="2862015" y="4604319"/>
            <a:ext cx="9082718" cy="1131720"/>
          </a:xfrm>
          <a:prstGeom prst="rect">
            <a:avLst/>
          </a:prstGeom>
        </p:spPr>
        <p:txBody>
          <a:bodyPr wrap="square">
            <a:spAutoFit/>
          </a:bodyPr>
          <a:lstStyle/>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ZA"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Implement the Holding Company parenting strategy as defined</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AU"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Report and enforce implementation of MOI’s and shareholder compacts </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AU"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Board and subcommittee enforce compliance through </a:t>
            </a:r>
            <a:r>
              <a:rPr kumimoji="0" lang="en-AU" sz="1351"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oR</a:t>
            </a:r>
            <a:r>
              <a:rPr kumimoji="0" lang="en-AU"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nd performance contract</a:t>
            </a:r>
            <a:endParaRPr kumimoji="0" lang="en-ZA"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AU"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tringent business performance review process against compacted corporate plans</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AU"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Operationalise Group EXCO to drive performance and oversight. </a:t>
            </a:r>
          </a:p>
        </p:txBody>
      </p:sp>
      <p:cxnSp>
        <p:nvCxnSpPr>
          <p:cNvPr id="24" name="Straight Connector 23"/>
          <p:cNvCxnSpPr>
            <a:cxnSpLocks/>
          </p:cNvCxnSpPr>
          <p:nvPr/>
        </p:nvCxnSpPr>
        <p:spPr>
          <a:xfrm>
            <a:off x="2890361" y="5669955"/>
            <a:ext cx="8964000" cy="0"/>
          </a:xfrm>
          <a:prstGeom prst="line">
            <a:avLst/>
          </a:prstGeom>
          <a:noFill/>
          <a:ln w="6350" cap="flat" cmpd="sng" algn="ctr">
            <a:solidFill>
              <a:sysClr val="window" lastClr="FFFFFF">
                <a:lumMod val="75000"/>
              </a:sysClr>
            </a:solidFill>
            <a:prstDash val="solid"/>
            <a:miter lim="800000"/>
            <a:tailEnd type="oval"/>
          </a:ln>
          <a:effectLst/>
        </p:spPr>
      </p:cxnSp>
      <p:sp>
        <p:nvSpPr>
          <p:cNvPr id="25" name="Rectangle 24"/>
          <p:cNvSpPr/>
          <p:nvPr/>
        </p:nvSpPr>
        <p:spPr>
          <a:xfrm>
            <a:off x="2862015" y="5732041"/>
            <a:ext cx="9082718" cy="923843"/>
          </a:xfrm>
          <a:prstGeom prst="rect">
            <a:avLst/>
          </a:prstGeom>
        </p:spPr>
        <p:txBody>
          <a:bodyPr wrap="square">
            <a:spAutoFit/>
          </a:bodyPr>
          <a:lstStyle/>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ntinue and maintain engagements with shareholder at various levels to achieve alignment and support. </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chedule frequent alignment meeting with DMRE – SOE Oversight Office, DG and Minister</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Regular communication on the organizational performance and remedial actions</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mbrace high performance culture and CEF values</a:t>
            </a:r>
          </a:p>
        </p:txBody>
      </p:sp>
      <p:sp>
        <p:nvSpPr>
          <p:cNvPr id="3" name="Rectangle 2"/>
          <p:cNvSpPr/>
          <p:nvPr/>
        </p:nvSpPr>
        <p:spPr>
          <a:xfrm>
            <a:off x="2862015" y="437337"/>
            <a:ext cx="8992346" cy="1547475"/>
          </a:xfrm>
          <a:prstGeom prst="rect">
            <a:avLst/>
          </a:prstGeom>
        </p:spPr>
        <p:txBody>
          <a:bodyPr wrap="square">
            <a:spAutoFit/>
          </a:bodyPr>
          <a:lstStyle/>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1" i="1"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Stabilise PetroSA </a:t>
            </a: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hrough implementation of the identified turnaround initiatives.</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onitor and report turnaround initiatives through war room.</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Improve the financial viability of CEF (profitability, liquidity and leverage / funding),</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Improved on the debt recovery mechanism</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Implement a cost recovery mechanism for all subsidiaries</a:t>
            </a:r>
          </a:p>
          <a:p>
            <a:pPr marL="275663" marR="0" lvl="0" indent="-275663" algn="just" defTabSz="882122" rtl="0" eaLnBrk="1" fontAlgn="auto" latinLnBrk="0" hangingPunct="1">
              <a:lnSpc>
                <a:spcPct val="100000"/>
              </a:lnSpc>
              <a:spcBef>
                <a:spcPts val="0"/>
              </a:spcBef>
              <a:spcAft>
                <a:spcPts val="0"/>
              </a:spcAft>
              <a:buClr>
                <a:srgbClr val="E96E09"/>
              </a:buClr>
              <a:buSzPts val="1100"/>
              <a:buFont typeface="Arial" panose="020B0604020202020204" pitchFamily="34" charset="0"/>
              <a:buChar char="▬"/>
              <a:tabLst/>
              <a:defRPr/>
            </a:pPr>
            <a:r>
              <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Reduce the entity’s headcount costs through talent sharing and </a:t>
            </a:r>
            <a:r>
              <a:rPr kumimoji="0" lang="en-ZA"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ection 189 labour process </a:t>
            </a:r>
            <a:br>
              <a:rPr kumimoji="0" lang="en-ZA"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ZA"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hared Services initiatives under way)</a:t>
            </a:r>
            <a:endParaRPr kumimoji="0" lang="en-US" sz="1351"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36" name="Slide Number Placeholder 5"/>
          <p:cNvSpPr>
            <a:spLocks noGrp="1"/>
          </p:cNvSpPr>
          <p:nvPr>
            <p:ph type="sldNum" sz="quarter" idx="4"/>
          </p:nvPr>
        </p:nvSpPr>
        <p:spPr>
          <a:xfrm>
            <a:off x="9793297" y="0"/>
            <a:ext cx="2844800" cy="32703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6444EE2-C062-48A5-98DB-5DAF9B65B73C}"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18" name="Rectangle 17">
            <a:extLst>
              <a:ext uri="{FF2B5EF4-FFF2-40B4-BE49-F238E27FC236}">
                <a16:creationId xmlns:a16="http://schemas.microsoft.com/office/drawing/2014/main" xmlns="" id="{B683048C-B8AA-4BC0-B067-435179496C58}"/>
              </a:ext>
            </a:extLst>
          </p:cNvPr>
          <p:cNvSpPr/>
          <p:nvPr/>
        </p:nvSpPr>
        <p:spPr>
          <a:xfrm>
            <a:off x="137231" y="599199"/>
            <a:ext cx="2507128" cy="1542643"/>
          </a:xfrm>
          <a:prstGeom prst="rect">
            <a:avLst/>
          </a:prstGeom>
          <a:solidFill>
            <a:srgbClr val="0061B2">
              <a:lumMod val="7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pitchFamily="34" charset="0"/>
              </a:rPr>
              <a:t>Financial</a:t>
            </a:r>
          </a:p>
        </p:txBody>
      </p:sp>
      <p:sp>
        <p:nvSpPr>
          <p:cNvPr id="22" name="Rectangle 21">
            <a:extLst>
              <a:ext uri="{FF2B5EF4-FFF2-40B4-BE49-F238E27FC236}">
                <a16:creationId xmlns:a16="http://schemas.microsoft.com/office/drawing/2014/main" xmlns="" id="{B683048C-B8AA-4BC0-B067-435179496C58}"/>
              </a:ext>
            </a:extLst>
          </p:cNvPr>
          <p:cNvSpPr/>
          <p:nvPr/>
        </p:nvSpPr>
        <p:spPr>
          <a:xfrm>
            <a:off x="137231" y="2215321"/>
            <a:ext cx="2507128" cy="1204637"/>
          </a:xfrm>
          <a:prstGeom prst="rect">
            <a:avLst/>
          </a:prstGeom>
          <a:solidFill>
            <a:srgbClr val="0061B2">
              <a:lumMod val="7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pitchFamily="34" charset="0"/>
              </a:rPr>
              <a:t>Strategy &amp; Project Execution</a:t>
            </a:r>
          </a:p>
        </p:txBody>
      </p:sp>
      <p:sp>
        <p:nvSpPr>
          <p:cNvPr id="23" name="Rectangle 22">
            <a:extLst>
              <a:ext uri="{FF2B5EF4-FFF2-40B4-BE49-F238E27FC236}">
                <a16:creationId xmlns:a16="http://schemas.microsoft.com/office/drawing/2014/main" xmlns="" id="{B683048C-B8AA-4BC0-B067-435179496C58}"/>
              </a:ext>
            </a:extLst>
          </p:cNvPr>
          <p:cNvSpPr/>
          <p:nvPr/>
        </p:nvSpPr>
        <p:spPr>
          <a:xfrm>
            <a:off x="137231" y="3481662"/>
            <a:ext cx="2507128" cy="1101805"/>
          </a:xfrm>
          <a:prstGeom prst="rect">
            <a:avLst/>
          </a:prstGeom>
          <a:solidFill>
            <a:srgbClr val="0061B2">
              <a:lumMod val="7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pitchFamily="34" charset="0"/>
              </a:rPr>
              <a:t>Operating Model &amp; Synergies</a:t>
            </a:r>
          </a:p>
        </p:txBody>
      </p:sp>
      <p:sp>
        <p:nvSpPr>
          <p:cNvPr id="27" name="Rectangle 26">
            <a:extLst>
              <a:ext uri="{FF2B5EF4-FFF2-40B4-BE49-F238E27FC236}">
                <a16:creationId xmlns:a16="http://schemas.microsoft.com/office/drawing/2014/main" xmlns="" id="{B683048C-B8AA-4BC0-B067-435179496C58}"/>
              </a:ext>
            </a:extLst>
          </p:cNvPr>
          <p:cNvSpPr/>
          <p:nvPr/>
        </p:nvSpPr>
        <p:spPr>
          <a:xfrm>
            <a:off x="137231" y="4633365"/>
            <a:ext cx="2507128" cy="1036590"/>
          </a:xfrm>
          <a:prstGeom prst="rect">
            <a:avLst/>
          </a:prstGeom>
          <a:solidFill>
            <a:srgbClr val="0061B2">
              <a:lumMod val="7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pitchFamily="34" charset="0"/>
              </a:rPr>
              <a:t>Governance</a:t>
            </a:r>
          </a:p>
        </p:txBody>
      </p:sp>
      <p:sp>
        <p:nvSpPr>
          <p:cNvPr id="28" name="Rectangle 27">
            <a:extLst>
              <a:ext uri="{FF2B5EF4-FFF2-40B4-BE49-F238E27FC236}">
                <a16:creationId xmlns:a16="http://schemas.microsoft.com/office/drawing/2014/main" xmlns="" id="{B683048C-B8AA-4BC0-B067-435179496C58}"/>
              </a:ext>
            </a:extLst>
          </p:cNvPr>
          <p:cNvSpPr/>
          <p:nvPr/>
        </p:nvSpPr>
        <p:spPr>
          <a:xfrm>
            <a:off x="137231" y="5699001"/>
            <a:ext cx="2507128" cy="956883"/>
          </a:xfrm>
          <a:prstGeom prst="rect">
            <a:avLst/>
          </a:prstGeom>
          <a:solidFill>
            <a:srgbClr val="0061B2">
              <a:lumMod val="75000"/>
            </a:srgb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pitchFamily="34" charset="0"/>
              </a:rPr>
              <a:t>Stakeholder &amp; Reputation Management</a:t>
            </a:r>
          </a:p>
        </p:txBody>
      </p:sp>
    </p:spTree>
    <p:extLst>
      <p:ext uri="{BB962C8B-B14F-4D97-AF65-F5344CB8AC3E}">
        <p14:creationId xmlns:p14="http://schemas.microsoft.com/office/powerpoint/2010/main" xmlns="" val="22002126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667033A-4247-4ED4-8A21-2B1E2D674746}" type="slidenum">
              <a:rPr lang="en-ZA" smtClean="0"/>
              <a:pPr/>
              <a:t>24</a:t>
            </a:fld>
            <a:endParaRPr lang="en-ZA" dirty="0"/>
          </a:p>
        </p:txBody>
      </p:sp>
      <p:sp>
        <p:nvSpPr>
          <p:cNvPr id="3" name="TextBox 2"/>
          <p:cNvSpPr txBox="1"/>
          <p:nvPr/>
        </p:nvSpPr>
        <p:spPr>
          <a:xfrm>
            <a:off x="204107" y="1096439"/>
            <a:ext cx="12156622" cy="5016758"/>
          </a:xfrm>
          <a:prstGeom prst="rect">
            <a:avLst/>
          </a:prstGeom>
          <a:noFill/>
        </p:spPr>
        <p:txBody>
          <a:bodyPr wrap="square" rtlCol="0">
            <a:spAutoFit/>
          </a:bodyPr>
          <a:lstStyle>
            <a:defPPr>
              <a:defRPr lang="en-US"/>
            </a:defPPr>
            <a:lvl1pPr algn="ctr" defTabSz="914362" fontAlgn="auto">
              <a:spcAft>
                <a:spcPts val="0"/>
              </a:spcAft>
              <a:defRPr sz="4800" b="1">
                <a:solidFill>
                  <a:srgbClr val="4F81BD"/>
                </a:solidFill>
                <a:effectLst>
                  <a:outerShdw blurRad="38100" dist="38100" dir="2700000" algn="tl">
                    <a:srgbClr val="000000">
                      <a:alpha val="43137"/>
                    </a:srgbClr>
                  </a:outerShdw>
                </a:effectLst>
                <a:latin typeface="Eras Bold ITC" panose="020B0907030504020204" pitchFamily="34" charset="0"/>
                <a:ea typeface="Verdana" panose="020B0604030504040204" pitchFamily="34" charset="0"/>
                <a:cs typeface="+mj-cs"/>
              </a:defRPr>
            </a:lvl1pPr>
          </a:lstStyle>
          <a:p>
            <a:r>
              <a:rPr lang="en-US" sz="8000" dirty="0"/>
              <a:t>Update on Current Business Performance against predetermined objectives </a:t>
            </a:r>
          </a:p>
        </p:txBody>
      </p:sp>
    </p:spTree>
    <p:extLst>
      <p:ext uri="{BB962C8B-B14F-4D97-AF65-F5344CB8AC3E}">
        <p14:creationId xmlns:p14="http://schemas.microsoft.com/office/powerpoint/2010/main" xmlns="" val="15761836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ounded Rectangle 79"/>
          <p:cNvSpPr/>
          <p:nvPr/>
        </p:nvSpPr>
        <p:spPr bwMode="auto">
          <a:xfrm>
            <a:off x="272963" y="1765573"/>
            <a:ext cx="2991740" cy="1571468"/>
          </a:xfrm>
          <a:prstGeom prst="roundRect">
            <a:avLst>
              <a:gd name="adj" fmla="val 2341"/>
            </a:avLst>
          </a:prstGeom>
          <a:ln w="9525">
            <a:solidFill>
              <a:schemeClr val="bg1">
                <a:lumMod val="85000"/>
              </a:scheme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965"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5" name="Rounded Rectangle 74"/>
          <p:cNvSpPr/>
          <p:nvPr/>
        </p:nvSpPr>
        <p:spPr bwMode="auto">
          <a:xfrm>
            <a:off x="10796299" y="3659424"/>
            <a:ext cx="1569491" cy="3034493"/>
          </a:xfrm>
          <a:prstGeom prst="roundRect">
            <a:avLst>
              <a:gd name="adj" fmla="val 2341"/>
            </a:avLst>
          </a:prstGeom>
          <a:noFill/>
          <a:ln w="9525">
            <a:solidFill>
              <a:schemeClr val="bg1">
                <a:lumMod val="85000"/>
              </a:scheme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6" name="Rounded Rectangle 45"/>
          <p:cNvSpPr/>
          <p:nvPr/>
        </p:nvSpPr>
        <p:spPr bwMode="auto">
          <a:xfrm>
            <a:off x="6562178" y="3659424"/>
            <a:ext cx="4092647" cy="1771338"/>
          </a:xfrm>
          <a:prstGeom prst="roundRect">
            <a:avLst>
              <a:gd name="adj" fmla="val 2341"/>
            </a:avLst>
          </a:prstGeom>
          <a:ln w="9525">
            <a:solidFill>
              <a:schemeClr val="bg1">
                <a:lumMod val="85000"/>
              </a:scheme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5" name="Rounded Rectangle 44"/>
          <p:cNvSpPr/>
          <p:nvPr/>
        </p:nvSpPr>
        <p:spPr bwMode="auto">
          <a:xfrm>
            <a:off x="275666" y="3659423"/>
            <a:ext cx="6179438" cy="3034494"/>
          </a:xfrm>
          <a:prstGeom prst="roundRect">
            <a:avLst>
              <a:gd name="adj" fmla="val 2341"/>
            </a:avLst>
          </a:prstGeom>
          <a:ln w="9525">
            <a:solidFill>
              <a:schemeClr val="bg1">
                <a:lumMod val="85000"/>
              </a:scheme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Rounded Rectangle 11"/>
          <p:cNvSpPr/>
          <p:nvPr/>
        </p:nvSpPr>
        <p:spPr bwMode="auto">
          <a:xfrm>
            <a:off x="6562176" y="33823"/>
            <a:ext cx="5774004" cy="3327161"/>
          </a:xfrm>
          <a:prstGeom prst="roundRect">
            <a:avLst>
              <a:gd name="adj" fmla="val 2341"/>
            </a:avLst>
          </a:prstGeom>
          <a:ln w="9525">
            <a:solidFill>
              <a:schemeClr val="bg1">
                <a:lumMod val="85000"/>
              </a:scheme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TextBox 6"/>
          <p:cNvSpPr txBox="1"/>
          <p:nvPr/>
        </p:nvSpPr>
        <p:spPr>
          <a:xfrm>
            <a:off x="346336" y="3405127"/>
            <a:ext cx="6175531" cy="300210"/>
          </a:xfrm>
          <a:prstGeom prst="rect">
            <a:avLst/>
          </a:prstGeom>
          <a:noFill/>
        </p:spPr>
        <p:txBody>
          <a:bodyPr wrap="square" rtlCol="0" anchor="b">
            <a:spAutoFit/>
          </a:bodyPr>
          <a:lstStyle/>
          <a:p>
            <a:pPr marL="0" marR="0" lvl="0" indent="0" algn="ctr" defTabSz="882122" rtl="0" eaLnBrk="1" fontAlgn="base" latinLnBrk="0" hangingPunct="1">
              <a:lnSpc>
                <a:spcPct val="100000"/>
              </a:lnSpc>
              <a:spcBef>
                <a:spcPct val="0"/>
              </a:spcBef>
              <a:spcAft>
                <a:spcPct val="0"/>
              </a:spcAft>
              <a:buClrTx/>
              <a:buSzTx/>
              <a:buFontTx/>
              <a:buNone/>
              <a:tabLst/>
              <a:defRPr/>
            </a:pPr>
            <a:r>
              <a:rPr kumimoji="0" lang="en-ZA" sz="1351"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Arial" charset="0"/>
                <a:ea typeface="+mn-ea"/>
                <a:cs typeface="+mn-cs"/>
              </a:rPr>
              <a:t>Strategic Themes</a:t>
            </a:r>
          </a:p>
        </p:txBody>
      </p:sp>
      <p:sp>
        <p:nvSpPr>
          <p:cNvPr id="10" name="TextBox 9"/>
          <p:cNvSpPr txBox="1"/>
          <p:nvPr/>
        </p:nvSpPr>
        <p:spPr>
          <a:xfrm>
            <a:off x="6562177" y="3405127"/>
            <a:ext cx="4110664" cy="300210"/>
          </a:xfrm>
          <a:prstGeom prst="rect">
            <a:avLst/>
          </a:prstGeom>
          <a:noFill/>
        </p:spPr>
        <p:txBody>
          <a:bodyPr wrap="square" rtlCol="0" anchor="b">
            <a:spAutoFit/>
          </a:bodyPr>
          <a:lstStyle/>
          <a:p>
            <a:pPr marL="0" marR="0" lvl="0" indent="0" algn="ctr" defTabSz="882122" rtl="0" eaLnBrk="1" fontAlgn="base" latinLnBrk="0" hangingPunct="1">
              <a:lnSpc>
                <a:spcPct val="100000"/>
              </a:lnSpc>
              <a:spcBef>
                <a:spcPct val="0"/>
              </a:spcBef>
              <a:spcAft>
                <a:spcPct val="0"/>
              </a:spcAft>
              <a:buClrTx/>
              <a:buSzTx/>
              <a:buFontTx/>
              <a:buNone/>
              <a:tabLst/>
              <a:defRPr/>
            </a:pPr>
            <a:r>
              <a:rPr kumimoji="0" lang="en-ZA" sz="1351"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Arial" charset="0"/>
                <a:ea typeface="+mn-ea"/>
                <a:cs typeface="+mn-cs"/>
              </a:rPr>
              <a:t>Operational Themes</a:t>
            </a:r>
          </a:p>
        </p:txBody>
      </p:sp>
      <p:sp>
        <p:nvSpPr>
          <p:cNvPr id="23" name="Round Same Side Corner Rectangle 22"/>
          <p:cNvSpPr/>
          <p:nvPr/>
        </p:nvSpPr>
        <p:spPr>
          <a:xfrm>
            <a:off x="273420" y="33822"/>
            <a:ext cx="6203806" cy="1389172"/>
          </a:xfrm>
          <a:prstGeom prst="round2SameRect">
            <a:avLst>
              <a:gd name="adj1" fmla="val 8000"/>
              <a:gd name="adj2" fmla="val 0"/>
            </a:avLst>
          </a:prstGeom>
          <a:ln w="9525">
            <a:solidFill>
              <a:schemeClr val="bg1">
                <a:lumMod val="85000"/>
              </a:schemeClr>
            </a:solidFill>
            <a:headEnd type="none" w="med" len="med"/>
            <a:tailEnd type="none" w="med" len="med"/>
          </a:ln>
        </p:spPr>
        <p:style>
          <a:lnRef idx="3">
            <a:schemeClr val="lt1"/>
          </a:lnRef>
          <a:fillRef idx="1">
            <a:schemeClr val="accent3"/>
          </a:fillRef>
          <a:effectRef idx="1">
            <a:schemeClr val="accent3"/>
          </a:effectRef>
          <a:fontRef idx="minor">
            <a:schemeClr val="lt1"/>
          </a:fontRef>
        </p:style>
      </p:sp>
      <p:sp>
        <p:nvSpPr>
          <p:cNvPr id="26" name="TextBox 25"/>
          <p:cNvSpPr txBox="1"/>
          <p:nvPr/>
        </p:nvSpPr>
        <p:spPr>
          <a:xfrm>
            <a:off x="262622" y="1431348"/>
            <a:ext cx="6227842" cy="262756"/>
          </a:xfrm>
          <a:prstGeom prst="rect">
            <a:avLst/>
          </a:prstGeom>
          <a:gradFill>
            <a:gsLst>
              <a:gs pos="0">
                <a:srgbClr val="003670"/>
              </a:gs>
              <a:gs pos="81000">
                <a:srgbClr val="003670"/>
              </a:gs>
              <a:gs pos="100000">
                <a:schemeClr val="accent6">
                  <a:lumMod val="75000"/>
                </a:schemeClr>
              </a:gs>
            </a:gsLst>
          </a:gradFill>
        </p:spPr>
        <p:style>
          <a:lnRef idx="0">
            <a:schemeClr val="accent1"/>
          </a:lnRef>
          <a:fillRef idx="3">
            <a:schemeClr val="accent1"/>
          </a:fillRef>
          <a:effectRef idx="3">
            <a:schemeClr val="accent1"/>
          </a:effectRef>
          <a:fontRef idx="minor">
            <a:schemeClr val="lt1"/>
          </a:fontRef>
        </p:style>
        <p:txBody>
          <a:bodyPr spcFirstLastPara="0" vert="horz" wrap="square" lIns="36755" tIns="0" rIns="12252" bIns="0" numCol="1" spcCol="1270" anchor="ctr" anchorCtr="0">
            <a:noAutofit/>
          </a:bodyPr>
          <a:lstStyle/>
          <a:p>
            <a:pPr marL="0" marR="0" lvl="0" indent="0" algn="ctr" defTabSz="428809" rtl="0" eaLnBrk="1" fontAlgn="base" latinLnBrk="0" hangingPunct="1">
              <a:lnSpc>
                <a:spcPct val="90000"/>
              </a:lnSpc>
              <a:spcBef>
                <a:spcPct val="0"/>
              </a:spcBef>
              <a:spcAft>
                <a:spcPct val="35000"/>
              </a:spcAft>
              <a:buClrTx/>
              <a:buSzTx/>
              <a:buFontTx/>
              <a:buNone/>
              <a:tabLst/>
              <a:defRPr/>
            </a:pPr>
            <a:r>
              <a:rPr kumimoji="0" lang="en-ZA" sz="1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Executive Summary</a:t>
            </a:r>
            <a:endParaRPr kumimoji="0" lang="en-US"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27" name="Round Same Side Corner Rectangle 4"/>
          <p:cNvSpPr txBox="1"/>
          <p:nvPr/>
        </p:nvSpPr>
        <p:spPr>
          <a:xfrm>
            <a:off x="341262" y="25468"/>
            <a:ext cx="6111133" cy="1415982"/>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027" tIns="33080" rIns="11027" bIns="11027" numCol="1" spcCol="1270" anchor="t"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As at 31</a:t>
            </a:r>
            <a:r>
              <a:rPr kumimoji="0" lang="en-US" sz="900" b="0" i="0" u="none" strike="noStrike" kern="1200" cap="none" spc="0" normalizeH="0" baseline="3000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st</a:t>
            </a:r>
            <a:r>
              <a:rPr kumimoji="0" lang="en-US"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 December 2021, the CEF Group generated a </a:t>
            </a:r>
            <a:r>
              <a:rPr kumimoji="0" lang="en-US" sz="900" b="1" i="1" u="none" strike="noStrike" kern="120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net loss of R303M </a:t>
            </a:r>
            <a:r>
              <a:rPr kumimoji="0" lang="en-US"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which is R1B lower than budgeted net loss. The positive variance is attributable to the following:</a:t>
            </a:r>
            <a:endPar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endParaRPr>
          </a:p>
          <a:p>
            <a:pPr marL="85725" marR="0" lvl="0" indent="-85725" algn="l" defTabSz="914400" rtl="0" eaLnBrk="1" fontAlgn="base" latinLnBrk="0" hangingPunct="1">
              <a:lnSpc>
                <a:spcPct val="100000"/>
              </a:lnSpc>
              <a:spcBef>
                <a:spcPct val="0"/>
              </a:spcBef>
              <a:spcAft>
                <a:spcPct val="0"/>
              </a:spcAft>
              <a:buClr>
                <a:srgbClr val="0061B2"/>
              </a:buClr>
              <a:buSzTx/>
              <a:buFont typeface="Arial" panose="020B0604020202020204" pitchFamily="34" charset="0"/>
              <a:buChar char="•"/>
              <a:tabLst/>
              <a:defRPr/>
            </a:pPr>
            <a:r>
              <a:rPr kumimoji="0" lang="en-ZA" sz="900" b="1" i="1"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R811M underspending on operating expenditure </a:t>
            </a:r>
            <a:r>
              <a:rPr kumimoji="0" lang="en-ZA" sz="900" b="1" i="1"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sym typeface="Symbol" panose="05050102010706020507" pitchFamily="18" charset="2"/>
              </a:rPr>
              <a:t> </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 delays with execution of the planned sustenance, growth, support and social initiatives across the CEF Group.</a:t>
            </a:r>
          </a:p>
          <a:p>
            <a:pPr marL="92075" marR="0" lvl="0" indent="-92075" algn="l" defTabSz="914400" rtl="0" eaLnBrk="1" fontAlgn="base" latinLnBrk="0" hangingPunct="1">
              <a:lnSpc>
                <a:spcPct val="100000"/>
              </a:lnSpc>
              <a:spcBef>
                <a:spcPct val="0"/>
              </a:spcBef>
              <a:spcAft>
                <a:spcPct val="0"/>
              </a:spcAft>
              <a:buClr>
                <a:srgbClr val="0061B2"/>
              </a:buClr>
              <a:buSzTx/>
              <a:buFont typeface="Arial" panose="020B0604020202020204" pitchFamily="34" charset="0"/>
              <a:buChar char="•"/>
              <a:tabLst/>
              <a:defRPr/>
            </a:pPr>
            <a:r>
              <a:rPr kumimoji="0" lang="en-ZA" sz="900" b="1" i="1"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R223M higher Net interest </a:t>
            </a:r>
            <a:r>
              <a:rPr kumimoji="0" lang="en-ZA" sz="900" b="1" i="1"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sym typeface="Symbol" panose="05050102010706020507" pitchFamily="18" charset="2"/>
              </a:rPr>
              <a:t> </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 underspending on capital projects. The interest expense was budgeted higher in anticipation of borrowed funds to be utilised in the execution of capital projects.</a:t>
            </a:r>
          </a:p>
          <a:p>
            <a:pPr marL="92075" marR="0" lvl="0" indent="-92075" algn="l" defTabSz="914400" rtl="0" eaLnBrk="1" fontAlgn="base" latinLnBrk="0" hangingPunct="1">
              <a:lnSpc>
                <a:spcPct val="100000"/>
              </a:lnSpc>
              <a:spcBef>
                <a:spcPct val="0"/>
              </a:spcBef>
              <a:spcAft>
                <a:spcPct val="0"/>
              </a:spcAft>
              <a:buClr>
                <a:srgbClr val="0061B2"/>
              </a:buClr>
              <a:buSzTx/>
              <a:buFont typeface="Arial" panose="020B0604020202020204" pitchFamily="34" charset="0"/>
              <a:buChar char="•"/>
              <a:tabLst/>
              <a:defRPr/>
            </a:pPr>
            <a:r>
              <a:rPr kumimoji="0" lang="en-ZA" sz="900" b="1" i="1"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R933M Higher Gross profit </a:t>
            </a:r>
            <a:r>
              <a:rPr kumimoji="0" lang="en-ZA" sz="900" b="1" i="1"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sym typeface="Symbol" panose="05050102010706020507" pitchFamily="18" charset="2"/>
              </a:rPr>
              <a:t> </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curtailed GTL production at PetroSA and sale of imported product with gross profit margin better than what was budgeted. </a:t>
            </a:r>
          </a:p>
          <a:p>
            <a:pPr marL="92075" marR="0" lvl="0" indent="-92075" algn="l" defTabSz="914400" rtl="0" eaLnBrk="1" fontAlgn="base" latinLnBrk="0" hangingPunct="1">
              <a:lnSpc>
                <a:spcPct val="100000"/>
              </a:lnSpc>
              <a:spcBef>
                <a:spcPct val="0"/>
              </a:spcBef>
              <a:spcAft>
                <a:spcPct val="0"/>
              </a:spcAft>
              <a:buClr>
                <a:srgbClr val="0061B2"/>
              </a:buClr>
              <a:buSzTx/>
              <a:buFont typeface="Arial" panose="020B0604020202020204" pitchFamily="34" charset="0"/>
              <a:buChar char="•"/>
              <a:tabLst/>
              <a:defRPr/>
            </a:pPr>
            <a:r>
              <a:rPr kumimoji="0" lang="en-ZA" sz="9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Countered by </a:t>
            </a:r>
            <a:r>
              <a:rPr kumimoji="0" lang="en-ZA" sz="900" b="1" i="0" u="none" strike="noStrike" kern="1200" cap="none" spc="0" normalizeH="0" baseline="0" noProof="0" dirty="0">
                <a:ln>
                  <a:noFill/>
                </a:ln>
                <a:solidFill>
                  <a:srgbClr val="0061B2"/>
                </a:solidFill>
                <a:effectLst/>
                <a:uLnTx/>
                <a:uFillTx/>
                <a:latin typeface="Calibri" panose="020F0502020204030204" pitchFamily="34" charset="0"/>
                <a:ea typeface="+mn-ea"/>
                <a:cs typeface="Calibri" panose="020F0502020204030204" pitchFamily="34" charset="0"/>
                <a:sym typeface="Symbol" panose="05050102010706020507" pitchFamily="18" charset="2"/>
              </a:rPr>
              <a:t></a:t>
            </a:r>
            <a:r>
              <a:rPr kumimoji="0" lang="en-ZA" sz="9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sym typeface="Symbol" panose="05050102010706020507" pitchFamily="18" charset="2"/>
              </a:rPr>
              <a:t> </a:t>
            </a:r>
            <a:r>
              <a:rPr kumimoji="0" lang="en-ZA" sz="9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R208M </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lower dividend income from ARM and ROMPCO, </a:t>
            </a:r>
            <a:r>
              <a:rPr kumimoji="0" lang="en-ZA" sz="900" b="1" i="0" u="none" strike="noStrike" kern="1200" cap="none" spc="0" normalizeH="0" baseline="0" noProof="0" dirty="0">
                <a:ln>
                  <a:noFill/>
                </a:ln>
                <a:solidFill>
                  <a:srgbClr val="0061B2"/>
                </a:solidFill>
                <a:effectLst/>
                <a:uLnTx/>
                <a:uFillTx/>
                <a:latin typeface="Calibri" panose="020F0502020204030204" pitchFamily="34" charset="0"/>
                <a:ea typeface="+mn-ea"/>
                <a:cs typeface="Calibri" panose="020F0502020204030204" pitchFamily="34" charset="0"/>
                <a:sym typeface="Symbol" panose="05050102010706020507" pitchFamily="18" charset="2"/>
              </a:rPr>
              <a:t></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 </a:t>
            </a:r>
            <a:r>
              <a:rPr kumimoji="0" lang="en-ZA" sz="900" b="1" i="0" u="none" strike="noStrike" kern="1200" cap="none" spc="0" normalizeH="0" baseline="0" noProof="0" dirty="0">
                <a:ln>
                  <a:noFill/>
                </a:ln>
                <a:solidFill>
                  <a:srgbClr val="0061B2"/>
                </a:solidFill>
                <a:effectLst/>
                <a:uLnTx/>
                <a:uFillTx/>
                <a:latin typeface="Calibri" panose="020F0502020204030204" pitchFamily="34" charset="0"/>
                <a:ea typeface="+mn-ea"/>
                <a:cs typeface="Calibri" panose="020F0502020204030204" pitchFamily="34" charset="0"/>
                <a:sym typeface="Symbol" panose="05050102010706020507" pitchFamily="18" charset="2"/>
              </a:rPr>
              <a:t> </a:t>
            </a:r>
            <a:r>
              <a:rPr kumimoji="0" lang="en-ZA" sz="9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R845M </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sym typeface="Symbol" panose="05050102010706020507" pitchFamily="18" charset="2"/>
              </a:rPr>
              <a:t>l</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ower other income, and </a:t>
            </a:r>
            <a:r>
              <a:rPr kumimoji="0" lang="en-ZA" sz="900" b="1" i="0" u="none" strike="noStrike" kern="1200" cap="none" spc="0" normalizeH="0" baseline="0" noProof="0" dirty="0">
                <a:ln>
                  <a:noFill/>
                </a:ln>
                <a:solidFill>
                  <a:srgbClr val="0061B2"/>
                </a:solidFill>
                <a:effectLst/>
                <a:uLnTx/>
                <a:uFillTx/>
                <a:latin typeface="Calibri" panose="020F0502020204030204" pitchFamily="34" charset="0"/>
                <a:ea typeface="+mn-ea"/>
                <a:cs typeface="Calibri" panose="020F0502020204030204" pitchFamily="34" charset="0"/>
                <a:sym typeface="Symbol" panose="05050102010706020507" pitchFamily="18" charset="2"/>
              </a:rPr>
              <a:t></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 </a:t>
            </a:r>
            <a:r>
              <a:rPr kumimoji="0" lang="en-ZA" sz="9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R103M </a:t>
            </a:r>
            <a:r>
              <a:rPr kumimoji="0" lang="en-ZA" sz="9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higher tax.</a:t>
            </a: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 name="Rectangle 34"/>
          <p:cNvSpPr/>
          <p:nvPr/>
        </p:nvSpPr>
        <p:spPr bwMode="auto">
          <a:xfrm>
            <a:off x="8070098" y="130900"/>
            <a:ext cx="1389172" cy="1548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 name="Rectangle 36"/>
          <p:cNvSpPr/>
          <p:nvPr/>
        </p:nvSpPr>
        <p:spPr bwMode="auto">
          <a:xfrm>
            <a:off x="9470735" y="134564"/>
            <a:ext cx="1389172" cy="1548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Rectangle 38"/>
          <p:cNvSpPr/>
          <p:nvPr/>
        </p:nvSpPr>
        <p:spPr bwMode="auto">
          <a:xfrm>
            <a:off x="10868224" y="139847"/>
            <a:ext cx="1389172" cy="1548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3" name="Rectangle 42"/>
          <p:cNvSpPr/>
          <p:nvPr/>
        </p:nvSpPr>
        <p:spPr bwMode="auto">
          <a:xfrm>
            <a:off x="8071047" y="1749114"/>
            <a:ext cx="1389172" cy="1548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4" name="Rectangle 43"/>
          <p:cNvSpPr/>
          <p:nvPr/>
        </p:nvSpPr>
        <p:spPr bwMode="auto">
          <a:xfrm>
            <a:off x="9470541" y="1751827"/>
            <a:ext cx="1389172" cy="1548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graphicFrame>
        <p:nvGraphicFramePr>
          <p:cNvPr id="50" name="Chart 49"/>
          <p:cNvGraphicFramePr/>
          <p:nvPr/>
        </p:nvGraphicFramePr>
        <p:xfrm>
          <a:off x="8053841" y="1736448"/>
          <a:ext cx="1389172" cy="154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1" name="Chart 50"/>
          <p:cNvGraphicFramePr/>
          <p:nvPr/>
        </p:nvGraphicFramePr>
        <p:xfrm>
          <a:off x="9467660" y="1741104"/>
          <a:ext cx="1389172" cy="1548000"/>
        </p:xfrm>
        <a:graphic>
          <a:graphicData uri="http://schemas.openxmlformats.org/drawingml/2006/chart">
            <c:chart xmlns:c="http://schemas.openxmlformats.org/drawingml/2006/chart" xmlns:r="http://schemas.openxmlformats.org/officeDocument/2006/relationships" r:id="rId3"/>
          </a:graphicData>
        </a:graphic>
      </p:graphicFrame>
      <p:sp>
        <p:nvSpPr>
          <p:cNvPr id="53" name="Rectangle 52"/>
          <p:cNvSpPr/>
          <p:nvPr/>
        </p:nvSpPr>
        <p:spPr bwMode="auto">
          <a:xfrm>
            <a:off x="6673227" y="131239"/>
            <a:ext cx="1389172" cy="1548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8" name="Rectangle 37"/>
          <p:cNvSpPr/>
          <p:nvPr/>
        </p:nvSpPr>
        <p:spPr bwMode="auto">
          <a:xfrm>
            <a:off x="10867429" y="1753337"/>
            <a:ext cx="1389172" cy="1548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40" name="Chart 39"/>
          <p:cNvGraphicFramePr/>
          <p:nvPr/>
        </p:nvGraphicFramePr>
        <p:xfrm>
          <a:off x="10867429" y="1753337"/>
          <a:ext cx="1389172" cy="1548000"/>
        </p:xfrm>
        <a:graphic>
          <a:graphicData uri="http://schemas.openxmlformats.org/drawingml/2006/chart">
            <c:chart xmlns:c="http://schemas.openxmlformats.org/drawingml/2006/chart" xmlns:r="http://schemas.openxmlformats.org/officeDocument/2006/relationships" r:id="rId4"/>
          </a:graphicData>
        </a:graphic>
      </p:graphicFrame>
      <p:pic>
        <p:nvPicPr>
          <p:cNvPr id="52" name="Picture 51"/>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l="16620" r="13376" b="27660"/>
          <a:stretch/>
        </p:blipFill>
        <p:spPr bwMode="auto">
          <a:xfrm>
            <a:off x="11153488" y="4818328"/>
            <a:ext cx="493523" cy="347293"/>
          </a:xfrm>
          <a:prstGeom prst="rect">
            <a:avLst/>
          </a:prstGeom>
          <a:noFill/>
          <a:ln>
            <a:solidFill>
              <a:schemeClr val="lt1"/>
            </a:solidFill>
          </a:ln>
        </p:spPr>
      </p:pic>
      <p:pic>
        <p:nvPicPr>
          <p:cNvPr id="57" name="Picture 56"/>
          <p:cNvPicPr/>
          <p:nvPr/>
        </p:nvPicPr>
        <p:blipFill>
          <a:blip r:embed="rId6" cstate="print">
            <a:clrChange>
              <a:clrFrom>
                <a:srgbClr val="FDFDFD"/>
              </a:clrFrom>
              <a:clrTo>
                <a:srgbClr val="FDFDFD">
                  <a:alpha val="0"/>
                </a:srgbClr>
              </a:clrTo>
            </a:clrChange>
            <a:extLst>
              <a:ext uri="{28A0092B-C50C-407E-A947-70E740481C1C}">
                <a14:useLocalDpi xmlns:a14="http://schemas.microsoft.com/office/drawing/2010/main" xmlns="" val="0"/>
              </a:ext>
            </a:extLst>
          </a:blip>
          <a:srcRect/>
          <a:stretch>
            <a:fillRect/>
          </a:stretch>
        </p:blipFill>
        <p:spPr bwMode="auto">
          <a:xfrm>
            <a:off x="11081703" y="3706866"/>
            <a:ext cx="637090" cy="439224"/>
          </a:xfrm>
          <a:prstGeom prst="rect">
            <a:avLst/>
          </a:prstGeom>
          <a:noFill/>
        </p:spPr>
      </p:pic>
      <p:pic>
        <p:nvPicPr>
          <p:cNvPr id="60" name="Picture 59"/>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1105290" y="5738032"/>
            <a:ext cx="589921" cy="304455"/>
          </a:xfrm>
          <a:prstGeom prst="rect">
            <a:avLst/>
          </a:prstGeom>
          <a:noFill/>
        </p:spPr>
      </p:pic>
      <p:sp>
        <p:nvSpPr>
          <p:cNvPr id="63" name="TextBox 62"/>
          <p:cNvSpPr txBox="1"/>
          <p:nvPr/>
        </p:nvSpPr>
        <p:spPr>
          <a:xfrm>
            <a:off x="10693725" y="3405127"/>
            <a:ext cx="1601051" cy="300210"/>
          </a:xfrm>
          <a:prstGeom prst="rect">
            <a:avLst/>
          </a:prstGeom>
          <a:noFill/>
        </p:spPr>
        <p:txBody>
          <a:bodyPr wrap="square" rtlCol="0">
            <a:spAutoFit/>
          </a:bodyPr>
          <a:lstStyle/>
          <a:p>
            <a:pPr marL="0" marR="0" lvl="0" indent="0" algn="ctr" defTabSz="882122" rtl="0" eaLnBrk="1" fontAlgn="base" latinLnBrk="0" hangingPunct="1">
              <a:lnSpc>
                <a:spcPct val="100000"/>
              </a:lnSpc>
              <a:spcBef>
                <a:spcPct val="0"/>
              </a:spcBef>
              <a:spcAft>
                <a:spcPct val="0"/>
              </a:spcAft>
              <a:buClrTx/>
              <a:buSzTx/>
              <a:buFontTx/>
              <a:buNone/>
              <a:tabLst/>
              <a:defRPr/>
            </a:pPr>
            <a:r>
              <a:rPr kumimoji="0" lang="en-ZA" sz="1351"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Arial" charset="0"/>
                <a:ea typeface="+mn-ea"/>
                <a:cs typeface="+mn-cs"/>
              </a:rPr>
              <a:t>NET Profit</a:t>
            </a:r>
          </a:p>
        </p:txBody>
      </p:sp>
      <p:pic>
        <p:nvPicPr>
          <p:cNvPr id="66" name="Picture 65"/>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11152152" y="4262598"/>
            <a:ext cx="496195" cy="411045"/>
          </a:xfrm>
          <a:prstGeom prst="rect">
            <a:avLst/>
          </a:prstGeom>
          <a:noFill/>
        </p:spPr>
      </p:pic>
      <p:sp>
        <p:nvSpPr>
          <p:cNvPr id="70" name="Oval 69"/>
          <p:cNvSpPr/>
          <p:nvPr/>
        </p:nvSpPr>
        <p:spPr>
          <a:xfrm>
            <a:off x="11937789" y="4794275"/>
            <a:ext cx="251160" cy="251160"/>
          </a:xfrm>
          <a:prstGeom prst="ellipse">
            <a:avLst/>
          </a:prstGeom>
          <a:solidFill>
            <a:srgbClr val="00B050"/>
          </a:solidFill>
          <a:ln w="1905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2" name="Oval 71"/>
          <p:cNvSpPr/>
          <p:nvPr/>
        </p:nvSpPr>
        <p:spPr>
          <a:xfrm>
            <a:off x="11937789" y="3811065"/>
            <a:ext cx="251160" cy="251160"/>
          </a:xfrm>
          <a:prstGeom prst="ellipse">
            <a:avLst/>
          </a:prstGeom>
          <a:solidFill>
            <a:srgbClr val="00B050"/>
          </a:solidFill>
          <a:ln w="1905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3" name="Oval 72"/>
          <p:cNvSpPr/>
          <p:nvPr/>
        </p:nvSpPr>
        <p:spPr>
          <a:xfrm>
            <a:off x="11937789" y="6269091"/>
            <a:ext cx="251160" cy="251160"/>
          </a:xfrm>
          <a:prstGeom prst="ellipse">
            <a:avLst/>
          </a:prstGeom>
          <a:solidFill>
            <a:srgbClr val="00B050"/>
          </a:solidFill>
          <a:ln w="1905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1" name="Rounded Rectangle 80"/>
          <p:cNvSpPr/>
          <p:nvPr/>
        </p:nvSpPr>
        <p:spPr bwMode="auto">
          <a:xfrm>
            <a:off x="3371774" y="1758824"/>
            <a:ext cx="3088380" cy="1578218"/>
          </a:xfrm>
          <a:prstGeom prst="roundRect">
            <a:avLst>
              <a:gd name="adj" fmla="val 2341"/>
            </a:avLst>
          </a:prstGeom>
          <a:ln w="9525">
            <a:solidFill>
              <a:schemeClr val="bg1">
                <a:lumMod val="85000"/>
              </a:scheme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 name="Rectangle 40"/>
          <p:cNvSpPr/>
          <p:nvPr/>
        </p:nvSpPr>
        <p:spPr bwMode="auto">
          <a:xfrm>
            <a:off x="6671702" y="1750635"/>
            <a:ext cx="1389172" cy="15480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graphicFrame>
        <p:nvGraphicFramePr>
          <p:cNvPr id="49" name="Chart 48"/>
          <p:cNvGraphicFramePr/>
          <p:nvPr/>
        </p:nvGraphicFramePr>
        <p:xfrm>
          <a:off x="6666376" y="1729822"/>
          <a:ext cx="1389172" cy="1548000"/>
        </p:xfrm>
        <a:graphic>
          <a:graphicData uri="http://schemas.openxmlformats.org/drawingml/2006/chart">
            <c:chart xmlns:c="http://schemas.openxmlformats.org/drawingml/2006/chart" xmlns:r="http://schemas.openxmlformats.org/officeDocument/2006/relationships" r:id="rId9"/>
          </a:graphicData>
        </a:graphic>
      </p:graphicFrame>
      <p:sp>
        <p:nvSpPr>
          <p:cNvPr id="68" name="Oval 67"/>
          <p:cNvSpPr/>
          <p:nvPr/>
        </p:nvSpPr>
        <p:spPr>
          <a:xfrm>
            <a:off x="11937789" y="5285880"/>
            <a:ext cx="251160" cy="251160"/>
          </a:xfrm>
          <a:prstGeom prst="ellipse">
            <a:avLst/>
          </a:prstGeom>
          <a:solidFill>
            <a:srgbClr val="00B050"/>
          </a:solidFill>
          <a:ln w="1905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84" name="Picture 83"/>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10903823" y="5400069"/>
            <a:ext cx="882737" cy="172749"/>
          </a:xfrm>
          <a:prstGeom prst="rect">
            <a:avLst/>
          </a:prstGeom>
          <a:noFill/>
        </p:spPr>
      </p:pic>
      <p:sp>
        <p:nvSpPr>
          <p:cNvPr id="85" name="Oval 84"/>
          <p:cNvSpPr/>
          <p:nvPr/>
        </p:nvSpPr>
        <p:spPr>
          <a:xfrm>
            <a:off x="11937789" y="4302670"/>
            <a:ext cx="251160" cy="251160"/>
          </a:xfrm>
          <a:prstGeom prst="ellipse">
            <a:avLst/>
          </a:prstGeom>
          <a:solidFill>
            <a:srgbClr val="C00000"/>
          </a:solidFill>
          <a:ln w="1905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dirty="0">
              <a:ln>
                <a:noFill/>
              </a:ln>
              <a:solidFill>
                <a:srgbClr val="000000"/>
              </a:solidFill>
              <a:effectLst/>
              <a:uLnTx/>
              <a:uFillTx/>
              <a:latin typeface="Arial" charset="0"/>
              <a:ea typeface="+mn-ea"/>
              <a:cs typeface="+mn-cs"/>
            </a:endParaRPr>
          </a:p>
        </p:txBody>
      </p:sp>
      <p:graphicFrame>
        <p:nvGraphicFramePr>
          <p:cNvPr id="89" name="Content Placeholder 7"/>
          <p:cNvGraphicFramePr>
            <a:graphicFrameLocks/>
          </p:cNvGraphicFramePr>
          <p:nvPr/>
        </p:nvGraphicFramePr>
        <p:xfrm>
          <a:off x="3207055" y="1840130"/>
          <a:ext cx="2795810" cy="1489026"/>
        </p:xfrm>
        <a:graphic>
          <a:graphicData uri="http://schemas.openxmlformats.org/drawingml/2006/chart">
            <c:chart xmlns:c="http://schemas.openxmlformats.org/drawingml/2006/chart" xmlns:r="http://schemas.openxmlformats.org/officeDocument/2006/relationships" r:id="rId11"/>
          </a:graphicData>
        </a:graphic>
      </p:graphicFrame>
      <p:sp>
        <p:nvSpPr>
          <p:cNvPr id="90" name="TextBox 168"/>
          <p:cNvSpPr txBox="1"/>
          <p:nvPr/>
        </p:nvSpPr>
        <p:spPr>
          <a:xfrm>
            <a:off x="3364480" y="1761237"/>
            <a:ext cx="3058883" cy="255583"/>
          </a:xfrm>
          <a:prstGeom prst="rect">
            <a:avLst/>
          </a:prstGeom>
          <a:noFill/>
        </p:spPr>
        <p:txBody>
          <a:bodyPr wrap="square" rtlCol="0">
            <a:spAutoFit/>
          </a:bodyPr>
          <a:lstStyle>
            <a:defPPr>
              <a:defRPr lang="en-US"/>
            </a:defPPr>
            <a:lvl1pPr algn="ctr">
              <a:defRPr sz="1100" b="1" i="0" u="none" strike="noStrike" spc="0" baseline="0">
                <a:solidFill>
                  <a:schemeClr val="tx1">
                    <a:lumMod val="50000"/>
                    <a:lumOff val="50000"/>
                  </a:schemeClr>
                </a:solidFill>
                <a:latin typeface="+mn-lt"/>
              </a:defRPr>
            </a:lvl1pPr>
          </a:lstStyle>
          <a:p>
            <a:pPr marL="0" marR="0" lvl="0" indent="0" algn="ctr" defTabSz="882122" rtl="0" eaLnBrk="1" fontAlgn="base" latinLnBrk="0" hangingPunct="1">
              <a:lnSpc>
                <a:spcPct val="100000"/>
              </a:lnSpc>
              <a:spcBef>
                <a:spcPct val="0"/>
              </a:spcBef>
              <a:spcAft>
                <a:spcPct val="0"/>
              </a:spcAft>
              <a:buClrTx/>
              <a:buSzTx/>
              <a:buFontTx/>
              <a:buNone/>
              <a:tabLst/>
              <a:defRPr/>
            </a:pPr>
            <a:r>
              <a:rPr kumimoji="0" lang="en-US" sz="1061" b="1" i="0" u="none" strike="noStrike" kern="1200" cap="none" spc="0" normalizeH="0" baseline="0" noProof="0" dirty="0">
                <a:ln>
                  <a:noFill/>
                </a:ln>
                <a:solidFill>
                  <a:srgbClr val="000000"/>
                </a:solidFill>
                <a:effectLst/>
                <a:uLnTx/>
                <a:uFillTx/>
                <a:latin typeface="Arial"/>
                <a:ea typeface="+mn-ea"/>
                <a:cs typeface="+mn-cs"/>
              </a:rPr>
              <a:t>Objectives And Risk Impact</a:t>
            </a:r>
          </a:p>
        </p:txBody>
      </p:sp>
      <p:sp>
        <p:nvSpPr>
          <p:cNvPr id="95" name="Round Same Side Corner Rectangle 94"/>
          <p:cNvSpPr/>
          <p:nvPr/>
        </p:nvSpPr>
        <p:spPr>
          <a:xfrm>
            <a:off x="345189" y="3748682"/>
            <a:ext cx="1910112" cy="1277918"/>
          </a:xfrm>
          <a:prstGeom prst="round2SameRect">
            <a:avLst>
              <a:gd name="adj1" fmla="val 8000"/>
              <a:gd name="adj2" fmla="val 0"/>
            </a:avLst>
          </a:prstGeom>
        </p:spPr>
        <p:style>
          <a:lnRef idx="0">
            <a:schemeClr val="accent3"/>
          </a:lnRef>
          <a:fillRef idx="3">
            <a:schemeClr val="accent3"/>
          </a:fillRef>
          <a:effectRef idx="3">
            <a:schemeClr val="accent3"/>
          </a:effectRef>
          <a:fontRef idx="minor">
            <a:schemeClr val="lt1"/>
          </a:fontRef>
        </p:style>
      </p:sp>
      <p:sp>
        <p:nvSpPr>
          <p:cNvPr id="96" name="Round Same Side Corner Rectangle 4"/>
          <p:cNvSpPr txBox="1"/>
          <p:nvPr/>
        </p:nvSpPr>
        <p:spPr>
          <a:xfrm>
            <a:off x="361067" y="3733432"/>
            <a:ext cx="1915572" cy="1201309"/>
          </a:xfrm>
          <a:prstGeom prst="rect">
            <a:avLst/>
          </a:prstGeom>
          <a:noFill/>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252" tIns="36755" rIns="12252" bIns="12252" numCol="1" spcCol="1270" anchor="t" anchorCtr="0">
            <a:noAutofit/>
          </a:bodyPr>
          <a:lstStyle/>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Net Loss of R303M</a:t>
            </a: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Gross Margin -3%</a:t>
            </a: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etroSA: Utilisation Rate is 0%</a:t>
            </a: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EMFC: 311kT/1062kT which is 59%</a:t>
            </a: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FF: (34 MMbbls/ 45 MMbbls) is rented out which is 75.5%</a:t>
            </a:r>
          </a:p>
        </p:txBody>
      </p:sp>
      <p:grpSp>
        <p:nvGrpSpPr>
          <p:cNvPr id="97" name="Group 96"/>
          <p:cNvGrpSpPr/>
          <p:nvPr/>
        </p:nvGrpSpPr>
        <p:grpSpPr>
          <a:xfrm>
            <a:off x="345189" y="5027130"/>
            <a:ext cx="1910112" cy="304099"/>
            <a:chOff x="0" y="1131843"/>
            <a:chExt cx="2304394" cy="315226"/>
          </a:xfrm>
          <a:scene3d>
            <a:camera prst="orthographicFront"/>
            <a:lightRig rig="flat" dir="t"/>
          </a:scene3d>
        </p:grpSpPr>
        <p:sp>
          <p:nvSpPr>
            <p:cNvPr id="98" name="Rectangle 97"/>
            <p:cNvSpPr/>
            <p:nvPr/>
          </p:nvSpPr>
          <p:spPr>
            <a:xfrm>
              <a:off x="0" y="1131843"/>
              <a:ext cx="2304394" cy="315226"/>
            </a:xfrm>
            <a:prstGeom prst="rect">
              <a:avLst/>
            </a:prstGeom>
            <a:sp3d prstMaterial="plastic">
              <a:bevelT w="120900" h="88900"/>
              <a:bevelB w="88900" h="31750" prst="angle"/>
            </a:sp3d>
          </p:spPr>
          <p:style>
            <a:lnRef idx="1">
              <a:schemeClr val="dk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sp>
        <p:sp>
          <p:nvSpPr>
            <p:cNvPr id="99" name="TextBox 98"/>
            <p:cNvSpPr txBox="1"/>
            <p:nvPr/>
          </p:nvSpPr>
          <p:spPr>
            <a:xfrm>
              <a:off x="0" y="1131843"/>
              <a:ext cx="1826800" cy="31522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36755" tIns="0" rIns="12252" bIns="0" numCol="1" spcCol="1270" anchor="ctr" anchorCtr="0">
              <a:noAutofit/>
            </a:bodyPr>
            <a:lstStyle/>
            <a:p>
              <a:pPr marL="0" marR="0" lvl="0" indent="0" algn="ctr" defTabSz="428809" rtl="0" eaLnBrk="1" fontAlgn="base" latinLnBrk="0" hangingPunct="1">
                <a:lnSpc>
                  <a:spcPct val="90000"/>
                </a:lnSpc>
                <a:spcBef>
                  <a:spcPct val="0"/>
                </a:spcBef>
                <a:spcAft>
                  <a:spcPct val="35000"/>
                </a:spcAft>
                <a:buClrTx/>
                <a:buSzTx/>
                <a:buFontTx/>
                <a:buNone/>
                <a:tabLst/>
                <a:defRPr/>
              </a:pPr>
              <a:r>
                <a:rPr kumimoji="0" lang="en-ZA" sz="1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Commercial Sustainability </a:t>
              </a:r>
              <a:endParaRPr kumimoji="0" lang="en-US"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grpSp>
      <p:sp>
        <p:nvSpPr>
          <p:cNvPr id="101" name="Round Same Side Corner Rectangle 100"/>
          <p:cNvSpPr/>
          <p:nvPr/>
        </p:nvSpPr>
        <p:spPr>
          <a:xfrm>
            <a:off x="2393543" y="3748682"/>
            <a:ext cx="1910112" cy="1277916"/>
          </a:xfrm>
          <a:prstGeom prst="round2SameRect">
            <a:avLst>
              <a:gd name="adj1" fmla="val 8000"/>
              <a:gd name="adj2" fmla="val 0"/>
            </a:avLst>
          </a:prstGeom>
        </p:spPr>
        <p:style>
          <a:lnRef idx="0">
            <a:schemeClr val="accent3"/>
          </a:lnRef>
          <a:fillRef idx="3">
            <a:schemeClr val="accent3"/>
          </a:fillRef>
          <a:effectRef idx="3">
            <a:schemeClr val="accent3"/>
          </a:effectRef>
          <a:fontRef idx="minor">
            <a:schemeClr val="lt1"/>
          </a:fontRef>
        </p:style>
      </p:sp>
      <p:sp>
        <p:nvSpPr>
          <p:cNvPr id="102" name="Round Same Side Corner Rectangle 4"/>
          <p:cNvSpPr txBox="1"/>
          <p:nvPr/>
        </p:nvSpPr>
        <p:spPr>
          <a:xfrm>
            <a:off x="2397163" y="3723906"/>
            <a:ext cx="1896650" cy="1252780"/>
          </a:xfrm>
          <a:prstGeom prst="rect">
            <a:avLst/>
          </a:prstGeom>
          <a:noFill/>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252" tIns="36755" rIns="12252" bIns="12252" numCol="1" spcCol="1270" anchor="t" anchorCtr="0">
            <a:noAutofit/>
          </a:bodyPr>
          <a:lstStyle>
            <a:defPPr>
              <a:defRPr lang="en-US"/>
            </a:defPPr>
            <a:lvl2pPr marL="88825" lvl="1" indent="-88825" defTabSz="428809" fontAlgn="base">
              <a:spcBef>
                <a:spcPts val="300"/>
              </a:spcBef>
              <a:buFontTx/>
              <a:buChar char="••"/>
              <a:defRPr sz="965">
                <a:solidFill>
                  <a:srgbClr val="002060"/>
                </a:solidFill>
                <a:latin typeface="Arial" panose="020B0604020202020204" pitchFamily="34" charset="0"/>
                <a:cs typeface="Arial" panose="020B0604020202020204" pitchFamily="34" charset="0"/>
              </a:defRPr>
            </a:lvl2pPr>
          </a:lstStyle>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ERGER validation completed, CEF to present to the subcommittee of cabinet.</a:t>
            </a:r>
            <a:endPar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Good progress for acquisition of brownfields refinery.</a:t>
            </a:r>
            <a:endPar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SA Competition Tribunal approved proposed transaction for Project Rose</a:t>
            </a:r>
            <a:endPar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103" name="Group 102"/>
          <p:cNvGrpSpPr/>
          <p:nvPr/>
        </p:nvGrpSpPr>
        <p:grpSpPr>
          <a:xfrm>
            <a:off x="2393543" y="5026844"/>
            <a:ext cx="1910112" cy="304099"/>
            <a:chOff x="2563562" y="1153191"/>
            <a:chExt cx="1719650" cy="315226"/>
          </a:xfrm>
          <a:scene3d>
            <a:camera prst="orthographicFront"/>
            <a:lightRig rig="flat" dir="t"/>
          </a:scene3d>
        </p:grpSpPr>
        <p:sp>
          <p:nvSpPr>
            <p:cNvPr id="104" name="Rectangle 103"/>
            <p:cNvSpPr/>
            <p:nvPr/>
          </p:nvSpPr>
          <p:spPr>
            <a:xfrm>
              <a:off x="2563562" y="1153191"/>
              <a:ext cx="1719650" cy="315226"/>
            </a:xfrm>
            <a:prstGeom prst="rect">
              <a:avLst/>
            </a:prstGeom>
            <a:sp3d prstMaterial="plastic">
              <a:bevelT w="120900" h="88900"/>
              <a:bevelB w="88900" h="31750" prst="angle"/>
            </a:sp3d>
          </p:spPr>
          <p:style>
            <a:lnRef idx="1">
              <a:schemeClr val="dk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sp>
        <p:sp>
          <p:nvSpPr>
            <p:cNvPr id="105" name="TextBox 104"/>
            <p:cNvSpPr txBox="1"/>
            <p:nvPr/>
          </p:nvSpPr>
          <p:spPr>
            <a:xfrm>
              <a:off x="2563562" y="1153191"/>
              <a:ext cx="1344502" cy="31522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36755" tIns="0" rIns="12252" bIns="0" numCol="1" spcCol="1270" anchor="ctr" anchorCtr="0">
              <a:noAutofit/>
            </a:bodyPr>
            <a:lstStyle/>
            <a:p>
              <a:pPr marL="0" marR="0" lvl="0" indent="0" algn="ctr" defTabSz="428809" rtl="0" eaLnBrk="1" fontAlgn="base" latinLnBrk="0" hangingPunct="1">
                <a:lnSpc>
                  <a:spcPct val="90000"/>
                </a:lnSpc>
                <a:spcBef>
                  <a:spcPct val="0"/>
                </a:spcBef>
                <a:spcAft>
                  <a:spcPct val="35000"/>
                </a:spcAft>
                <a:buClrTx/>
                <a:buSzTx/>
                <a:buFontTx/>
                <a:buNone/>
                <a:tabLst/>
                <a:defRPr/>
              </a:pPr>
              <a:r>
                <a:rPr kumimoji="0" lang="en-ZA" sz="1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Consolidation &amp; Turnaround </a:t>
              </a:r>
              <a:endParaRPr kumimoji="0" lang="en-US"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grpSp>
      <p:sp>
        <p:nvSpPr>
          <p:cNvPr id="107" name="Round Same Side Corner Rectangle 106"/>
          <p:cNvSpPr/>
          <p:nvPr/>
        </p:nvSpPr>
        <p:spPr>
          <a:xfrm>
            <a:off x="4442800" y="3748681"/>
            <a:ext cx="1910112" cy="1277918"/>
          </a:xfrm>
          <a:prstGeom prst="round2SameRect">
            <a:avLst>
              <a:gd name="adj1" fmla="val 8000"/>
              <a:gd name="adj2" fmla="val 0"/>
            </a:avLst>
          </a:prstGeom>
        </p:spPr>
        <p:style>
          <a:lnRef idx="0">
            <a:schemeClr val="accent3"/>
          </a:lnRef>
          <a:fillRef idx="3">
            <a:schemeClr val="accent3"/>
          </a:fillRef>
          <a:effectRef idx="3">
            <a:schemeClr val="accent3"/>
          </a:effectRef>
          <a:fontRef idx="minor">
            <a:schemeClr val="lt1"/>
          </a:fontRef>
        </p:style>
      </p:sp>
      <p:sp>
        <p:nvSpPr>
          <p:cNvPr id="108" name="Round Same Side Corner Rectangle 4"/>
          <p:cNvSpPr txBox="1"/>
          <p:nvPr/>
        </p:nvSpPr>
        <p:spPr>
          <a:xfrm>
            <a:off x="4455661" y="3723906"/>
            <a:ext cx="1891238" cy="1217116"/>
          </a:xfrm>
          <a:prstGeom prst="rect">
            <a:avLst/>
          </a:prstGeom>
          <a:noFill/>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252" tIns="36755" rIns="12252" bIns="12252" numCol="1" spcCol="1270" anchor="t"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4 material additions have been identified/added to the pipeline</a:t>
            </a:r>
            <a:r>
              <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BP Terminal</a:t>
            </a:r>
            <a:endPar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Brown fields refinery</a:t>
            </a:r>
            <a:endPar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outh Sudan Refinery – Pre-Feasibility Project</a:t>
            </a:r>
            <a:endPar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National Solar Park. </a:t>
            </a:r>
          </a:p>
        </p:txBody>
      </p:sp>
      <p:grpSp>
        <p:nvGrpSpPr>
          <p:cNvPr id="109" name="Group 108"/>
          <p:cNvGrpSpPr/>
          <p:nvPr/>
        </p:nvGrpSpPr>
        <p:grpSpPr>
          <a:xfrm>
            <a:off x="4442800" y="5026727"/>
            <a:ext cx="1910113" cy="304099"/>
            <a:chOff x="4743626" y="1153191"/>
            <a:chExt cx="1719651" cy="315226"/>
          </a:xfrm>
          <a:scene3d>
            <a:camera prst="orthographicFront"/>
            <a:lightRig rig="flat" dir="t"/>
          </a:scene3d>
        </p:grpSpPr>
        <p:sp>
          <p:nvSpPr>
            <p:cNvPr id="110" name="Rectangle 109"/>
            <p:cNvSpPr/>
            <p:nvPr/>
          </p:nvSpPr>
          <p:spPr>
            <a:xfrm>
              <a:off x="4743627" y="1153191"/>
              <a:ext cx="1719650" cy="315226"/>
            </a:xfrm>
            <a:prstGeom prst="rect">
              <a:avLst/>
            </a:prstGeom>
            <a:sp3d prstMaterial="plastic">
              <a:bevelT w="120900" h="88900"/>
              <a:bevelB w="88900" h="31750" prst="angle"/>
            </a:sp3d>
          </p:spPr>
          <p:style>
            <a:lnRef idx="1">
              <a:schemeClr val="dk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sp>
        <p:sp>
          <p:nvSpPr>
            <p:cNvPr id="111" name="TextBox 110"/>
            <p:cNvSpPr txBox="1"/>
            <p:nvPr/>
          </p:nvSpPr>
          <p:spPr>
            <a:xfrm>
              <a:off x="4743626" y="1153191"/>
              <a:ext cx="1345314" cy="31522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36755" tIns="0" rIns="12252" bIns="0" numCol="1" spcCol="1270" anchor="ctr" anchorCtr="0">
              <a:noAutofit/>
            </a:bodyPr>
            <a:lstStyle/>
            <a:p>
              <a:pPr marL="0" marR="0" lvl="0" indent="0" algn="ctr" defTabSz="428809" rtl="0" eaLnBrk="1" fontAlgn="base" latinLnBrk="0" hangingPunct="1">
                <a:lnSpc>
                  <a:spcPct val="90000"/>
                </a:lnSpc>
                <a:spcBef>
                  <a:spcPct val="0"/>
                </a:spcBef>
                <a:spcAft>
                  <a:spcPct val="35000"/>
                </a:spcAft>
                <a:buClrTx/>
                <a:buSzTx/>
                <a:buFontTx/>
                <a:buNone/>
                <a:tabLst/>
                <a:defRPr/>
              </a:pPr>
              <a:r>
                <a:rPr kumimoji="0" lang="en-ZA" sz="1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Strategy &amp; LT Growth</a:t>
              </a:r>
              <a:endParaRPr kumimoji="0" lang="en-US"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grpSp>
      <p:sp>
        <p:nvSpPr>
          <p:cNvPr id="113" name="Round Same Side Corner Rectangle 112"/>
          <p:cNvSpPr/>
          <p:nvPr/>
        </p:nvSpPr>
        <p:spPr>
          <a:xfrm>
            <a:off x="3433745" y="5402800"/>
            <a:ext cx="2952000" cy="937691"/>
          </a:xfrm>
          <a:prstGeom prst="round2SameRect">
            <a:avLst>
              <a:gd name="adj1" fmla="val 8000"/>
              <a:gd name="adj2" fmla="val 0"/>
            </a:avLst>
          </a:prstGeom>
        </p:spPr>
        <p:style>
          <a:lnRef idx="0">
            <a:schemeClr val="accent3"/>
          </a:lnRef>
          <a:fillRef idx="3">
            <a:schemeClr val="accent3"/>
          </a:fillRef>
          <a:effectRef idx="3">
            <a:schemeClr val="accent3"/>
          </a:effectRef>
          <a:fontRef idx="minor">
            <a:schemeClr val="lt1"/>
          </a:fontRef>
        </p:style>
      </p:sp>
      <p:sp>
        <p:nvSpPr>
          <p:cNvPr id="114" name="Round Same Side Corner Rectangle 4"/>
          <p:cNvSpPr txBox="1"/>
          <p:nvPr/>
        </p:nvSpPr>
        <p:spPr>
          <a:xfrm>
            <a:off x="3456706" y="5415981"/>
            <a:ext cx="2888416" cy="906932"/>
          </a:xfrm>
          <a:prstGeom prst="rect">
            <a:avLst/>
          </a:prstGeom>
          <a:noFill/>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801" tIns="29404" rIns="9801" bIns="9801" numCol="1" spcCol="1270" anchor="t" anchorCtr="0">
            <a:noAutofit/>
          </a:bodyPr>
          <a:lstStyle/>
          <a:p>
            <a:pPr marL="87294" marR="0" lvl="1" indent="-87294" algn="l" defTabSz="343047"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verheads / Gross profit to 297%.</a:t>
            </a:r>
          </a:p>
          <a:p>
            <a:pPr marL="87294" marR="0" lvl="1" indent="-87294" algn="l" defTabSz="343047"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igital transformation. Proficiency initiatives on hold due to the need to transform/review the operating model</a:t>
            </a:r>
          </a:p>
          <a:p>
            <a:pPr marL="87294" marR="0" lvl="1" indent="-87294" algn="l" defTabSz="343047"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Business Performance Monitoring: approved by Procurement Committee</a:t>
            </a:r>
          </a:p>
        </p:txBody>
      </p:sp>
      <p:grpSp>
        <p:nvGrpSpPr>
          <p:cNvPr id="115" name="Group 114"/>
          <p:cNvGrpSpPr/>
          <p:nvPr/>
        </p:nvGrpSpPr>
        <p:grpSpPr>
          <a:xfrm>
            <a:off x="3411933" y="6368202"/>
            <a:ext cx="2937813" cy="304099"/>
            <a:chOff x="797177" y="2457403"/>
            <a:chExt cx="2423763" cy="315226"/>
          </a:xfrm>
          <a:scene3d>
            <a:camera prst="orthographicFront"/>
            <a:lightRig rig="flat" dir="t"/>
          </a:scene3d>
        </p:grpSpPr>
        <p:sp>
          <p:nvSpPr>
            <p:cNvPr id="116" name="Rectangle 115"/>
            <p:cNvSpPr/>
            <p:nvPr/>
          </p:nvSpPr>
          <p:spPr>
            <a:xfrm>
              <a:off x="797177" y="2457403"/>
              <a:ext cx="2423763" cy="315226"/>
            </a:xfrm>
            <a:prstGeom prst="rect">
              <a:avLst/>
            </a:prstGeom>
            <a:sp3d prstMaterial="plastic">
              <a:bevelT w="120900" h="88900"/>
              <a:bevelB w="88900" h="31750" prst="angle"/>
            </a:sp3d>
          </p:spPr>
          <p:style>
            <a:lnRef idx="1">
              <a:schemeClr val="dk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sp>
        <p:sp>
          <p:nvSpPr>
            <p:cNvPr id="117" name="TextBox 116"/>
            <p:cNvSpPr txBox="1"/>
            <p:nvPr/>
          </p:nvSpPr>
          <p:spPr>
            <a:xfrm>
              <a:off x="797177" y="2457403"/>
              <a:ext cx="1996919" cy="31522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36755" tIns="0" rIns="12252" bIns="0" numCol="1" spcCol="1270" anchor="ctr" anchorCtr="0">
              <a:noAutofit/>
            </a:bodyPr>
            <a:lstStyle/>
            <a:p>
              <a:pPr marL="0" marR="0" lvl="0" indent="0" algn="ctr" defTabSz="428809" rtl="0" eaLnBrk="1" fontAlgn="base" latinLnBrk="0" hangingPunct="1">
                <a:lnSpc>
                  <a:spcPct val="90000"/>
                </a:lnSpc>
                <a:spcBef>
                  <a:spcPct val="0"/>
                </a:spcBef>
                <a:spcAft>
                  <a:spcPct val="35000"/>
                </a:spcAft>
                <a:buClrTx/>
                <a:buSzTx/>
                <a:buFontTx/>
                <a:buNone/>
                <a:tabLst/>
                <a:defRPr/>
              </a:pPr>
              <a:r>
                <a:rPr kumimoji="0" lang="en-ZA" sz="1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Operational Efficiency</a:t>
              </a:r>
              <a:endParaRPr kumimoji="0" lang="en-ZA"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grpSp>
      <p:sp>
        <p:nvSpPr>
          <p:cNvPr id="119" name="Round Same Side Corner Rectangle 118"/>
          <p:cNvSpPr/>
          <p:nvPr/>
        </p:nvSpPr>
        <p:spPr>
          <a:xfrm>
            <a:off x="336475" y="5408791"/>
            <a:ext cx="2952000" cy="937691"/>
          </a:xfrm>
          <a:prstGeom prst="round2SameRect">
            <a:avLst>
              <a:gd name="adj1" fmla="val 8000"/>
              <a:gd name="adj2" fmla="val 0"/>
            </a:avLst>
          </a:prstGeom>
        </p:spPr>
        <p:style>
          <a:lnRef idx="0">
            <a:schemeClr val="accent3"/>
          </a:lnRef>
          <a:fillRef idx="3">
            <a:schemeClr val="accent3"/>
          </a:fillRef>
          <a:effectRef idx="3">
            <a:schemeClr val="accent3"/>
          </a:effectRef>
          <a:fontRef idx="minor">
            <a:schemeClr val="lt1"/>
          </a:fontRef>
        </p:style>
      </p:sp>
      <p:sp>
        <p:nvSpPr>
          <p:cNvPr id="120" name="Round Same Side Corner Rectangle 4"/>
          <p:cNvSpPr txBox="1"/>
          <p:nvPr/>
        </p:nvSpPr>
        <p:spPr>
          <a:xfrm>
            <a:off x="388280" y="5387407"/>
            <a:ext cx="2916270" cy="889569"/>
          </a:xfrm>
          <a:prstGeom prst="rect">
            <a:avLst/>
          </a:prstGeom>
          <a:noFill/>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027" tIns="33080" rIns="11027" bIns="11027" numCol="1" spcCol="1270" anchor="t" anchorCtr="0">
            <a:noAutofit/>
          </a:bodyPr>
          <a:lstStyle/>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tructure rollout on hold, pending more progress with merger project.</a:t>
            </a:r>
            <a:endPar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88825" marR="0" lvl="1" indent="-88825" algn="l" defTabSz="428809" rtl="0" eaLnBrk="1" fontAlgn="base" latinLnBrk="0" hangingPunct="1">
              <a:lnSpc>
                <a:spcPct val="100000"/>
              </a:lnSpc>
              <a:spcBef>
                <a:spcPts val="300"/>
              </a:spcBef>
              <a:spcAft>
                <a:spcPct val="0"/>
              </a:spcAft>
              <a:buClrTx/>
              <a:buSzTx/>
              <a:buFontTx/>
              <a:buChar char="••"/>
              <a:tabLst/>
              <a:defRPr/>
            </a:pPr>
            <a:r>
              <a:rPr kumimoji="0" lang="en-US"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framework for measurement and improvement is in place. Progress on this deliverable is awaiting Phase 2 of the merger project</a:t>
            </a:r>
            <a:endParaRPr kumimoji="0" lang="en-ZA" sz="965"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121" name="Group 120"/>
          <p:cNvGrpSpPr/>
          <p:nvPr/>
        </p:nvGrpSpPr>
        <p:grpSpPr>
          <a:xfrm>
            <a:off x="308235" y="6352913"/>
            <a:ext cx="2980240" cy="326251"/>
            <a:chOff x="3313003" y="2457403"/>
            <a:chExt cx="2451949" cy="338188"/>
          </a:xfrm>
          <a:scene3d>
            <a:camera prst="orthographicFront"/>
            <a:lightRig rig="flat" dir="t"/>
          </a:scene3d>
        </p:grpSpPr>
        <p:sp>
          <p:nvSpPr>
            <p:cNvPr id="122" name="Rectangle 121"/>
            <p:cNvSpPr/>
            <p:nvPr/>
          </p:nvSpPr>
          <p:spPr>
            <a:xfrm>
              <a:off x="3341189" y="2457403"/>
              <a:ext cx="2423763" cy="315226"/>
            </a:xfrm>
            <a:prstGeom prst="rect">
              <a:avLst/>
            </a:prstGeom>
            <a:sp3d prstMaterial="plastic">
              <a:bevelT w="120900" h="88900"/>
              <a:bevelB w="88900" h="31750" prst="angle"/>
            </a:sp3d>
          </p:spPr>
          <p:style>
            <a:lnRef idx="1">
              <a:schemeClr val="dk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sp>
        <p:sp>
          <p:nvSpPr>
            <p:cNvPr id="123" name="TextBox 122"/>
            <p:cNvSpPr txBox="1"/>
            <p:nvPr/>
          </p:nvSpPr>
          <p:spPr>
            <a:xfrm>
              <a:off x="3313003" y="2480366"/>
              <a:ext cx="2432390" cy="31522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36755" tIns="0" rIns="12252" bIns="0" numCol="1" spcCol="1270" anchor="ctr" anchorCtr="0">
              <a:noAutofit/>
            </a:bodyPr>
            <a:lstStyle/>
            <a:p>
              <a:pPr marL="0" marR="0" lvl="0" indent="0" algn="ctr" defTabSz="428809" rtl="0" eaLnBrk="1" fontAlgn="base" latinLnBrk="0" hangingPunct="1">
                <a:lnSpc>
                  <a:spcPct val="90000"/>
                </a:lnSpc>
                <a:spcBef>
                  <a:spcPct val="0"/>
                </a:spcBef>
                <a:spcAft>
                  <a:spcPct val="35000"/>
                </a:spcAft>
                <a:buClrTx/>
                <a:buSzTx/>
                <a:buFontTx/>
                <a:buNone/>
                <a:tabLst/>
                <a:defRPr/>
              </a:pPr>
              <a:r>
                <a:rPr kumimoji="0" lang="en-ZA" sz="10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Human Performance &amp; Organisational Alignment</a:t>
              </a:r>
              <a:endParaRPr kumimoji="0" lang="en-ZA" sz="10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endParaRPr>
            </a:p>
          </p:txBody>
        </p:sp>
      </p:grpSp>
      <p:sp>
        <p:nvSpPr>
          <p:cNvPr id="130" name="Round Same Side Corner Rectangle 129"/>
          <p:cNvSpPr/>
          <p:nvPr/>
        </p:nvSpPr>
        <p:spPr>
          <a:xfrm>
            <a:off x="6650337" y="3762827"/>
            <a:ext cx="1910112" cy="1282608"/>
          </a:xfrm>
          <a:prstGeom prst="round2SameRect">
            <a:avLst>
              <a:gd name="adj1" fmla="val 8000"/>
              <a:gd name="adj2" fmla="val 0"/>
            </a:avLst>
          </a:prstGeom>
        </p:spPr>
        <p:style>
          <a:lnRef idx="0">
            <a:schemeClr val="accent3"/>
          </a:lnRef>
          <a:fillRef idx="3">
            <a:schemeClr val="accent3"/>
          </a:fillRef>
          <a:effectRef idx="3">
            <a:schemeClr val="accent3"/>
          </a:effectRef>
          <a:fontRef idx="minor">
            <a:schemeClr val="lt1"/>
          </a:fontRef>
        </p:style>
      </p:sp>
      <p:sp>
        <p:nvSpPr>
          <p:cNvPr id="131" name="Round Same Side Corner Rectangle 4"/>
          <p:cNvSpPr txBox="1"/>
          <p:nvPr/>
        </p:nvSpPr>
        <p:spPr>
          <a:xfrm>
            <a:off x="6704476" y="3723906"/>
            <a:ext cx="1870766" cy="1236310"/>
          </a:xfrm>
          <a:prstGeom prst="rect">
            <a:avLst/>
          </a:prstGeom>
          <a:noFill/>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027" tIns="33080" rIns="11027" bIns="11027" numCol="1" spcCol="1270" anchor="t" anchorCtr="0">
            <a:noAutofit/>
          </a:bodyPr>
          <a:lstStyle/>
          <a:p>
            <a:pPr marL="87294" marR="0" lvl="1" indent="-87294" algn="l" defTabSz="428809"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96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 entities and departments are progressing with their B-</a:t>
            </a:r>
            <a:r>
              <a:rPr kumimoji="0" lang="en-US" sz="96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BEE</a:t>
            </a:r>
            <a:r>
              <a:rPr kumimoji="0" lang="en-US" sz="96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lans with Level 3 as target.</a:t>
            </a:r>
          </a:p>
          <a:p>
            <a:pPr marL="87294" marR="0" lvl="1" indent="-87294" algn="l" defTabSz="428809" rtl="0" eaLnBrk="1" fontAlgn="base" latinLnBrk="0" hangingPunct="1">
              <a:lnSpc>
                <a:spcPct val="100000"/>
              </a:lnSpc>
              <a:spcBef>
                <a:spcPts val="300"/>
              </a:spcBef>
              <a:spcAft>
                <a:spcPct val="0"/>
              </a:spcAft>
              <a:buClrTx/>
              <a:buSzTx/>
              <a:buFont typeface="Arial" panose="020B0604020202020204" pitchFamily="34" charset="0"/>
              <a:buChar char="•"/>
              <a:tabLst/>
              <a:defRPr/>
            </a:pPr>
            <a:r>
              <a:rPr kumimoji="0" lang="en-US" sz="96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sitive brand coverage (17.3%), negative coverage (19%), neutral coverage (51%) and mixed coverage (12%). </a:t>
            </a:r>
          </a:p>
        </p:txBody>
      </p:sp>
      <p:sp>
        <p:nvSpPr>
          <p:cNvPr id="133" name="Rectangle 132"/>
          <p:cNvSpPr/>
          <p:nvPr/>
        </p:nvSpPr>
        <p:spPr>
          <a:xfrm>
            <a:off x="6643833" y="4999741"/>
            <a:ext cx="1910112" cy="320931"/>
          </a:xfrm>
          <a:prstGeom prst="rect">
            <a:avLst/>
          </a:prstGeom>
          <a:solidFill>
            <a:srgbClr val="83C457"/>
          </a:solidFill>
          <a:ln>
            <a:noFill/>
          </a:ln>
          <a:scene3d>
            <a:camera prst="orthographicFront"/>
            <a:lightRig rig="flat" dir="t"/>
          </a:scene3d>
          <a:sp3d prstMaterial="plastic">
            <a:bevelT w="120900" h="88900"/>
            <a:bevelB w="88900" h="31750" prst="angle"/>
          </a:sp3d>
        </p:spPr>
        <p:style>
          <a:lnRef idx="1">
            <a:schemeClr val="dk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sp>
      <p:sp>
        <p:nvSpPr>
          <p:cNvPr id="134" name="TextBox 133"/>
          <p:cNvSpPr txBox="1"/>
          <p:nvPr/>
        </p:nvSpPr>
        <p:spPr>
          <a:xfrm>
            <a:off x="6621375" y="5009127"/>
            <a:ext cx="1891811" cy="339553"/>
          </a:xfrm>
          <a:prstGeom prst="rect">
            <a:avLst/>
          </a:prstGeom>
          <a:noFill/>
          <a:scene3d>
            <a:camera prst="orthographicFront"/>
            <a:lightRig rig="flat" dir="t"/>
          </a:scene3d>
          <a:sp3d/>
        </p:spPr>
        <p:style>
          <a:lnRef idx="0">
            <a:scrgbClr r="0" g="0" b="0"/>
          </a:lnRef>
          <a:fillRef idx="0">
            <a:scrgbClr r="0" g="0" b="0"/>
          </a:fillRef>
          <a:effectRef idx="0">
            <a:scrgbClr r="0" g="0" b="0"/>
          </a:effectRef>
          <a:fontRef idx="minor">
            <a:schemeClr val="lt1"/>
          </a:fontRef>
        </p:style>
        <p:txBody>
          <a:bodyPr spcFirstLastPara="0" vert="horz" wrap="square" lIns="33080" tIns="0" rIns="11027" bIns="0" numCol="1" spcCol="1270" anchor="ctr" anchorCtr="0">
            <a:noAutofit/>
          </a:bodyPr>
          <a:lstStyle/>
          <a:p>
            <a:pPr marL="0" marR="0" lvl="0" indent="0" algn="ctr" defTabSz="385928" rtl="0" eaLnBrk="1" fontAlgn="base" latinLnBrk="0" hangingPunct="1">
              <a:lnSpc>
                <a:spcPct val="90000"/>
              </a:lnSpc>
              <a:spcBef>
                <a:spcPct val="0"/>
              </a:spcBef>
              <a:spcAft>
                <a:spcPct val="35000"/>
              </a:spcAft>
              <a:buClrTx/>
              <a:buSzTx/>
              <a:buFontTx/>
              <a:buNone/>
              <a:tabLst/>
              <a:defRPr/>
            </a:pPr>
            <a:r>
              <a:rPr kumimoji="0" lang="en-US" sz="868" b="1" i="0" u="none" strike="noStrike" kern="1200" cap="none" spc="0" normalizeH="0" baseline="0" noProof="0" dirty="0">
                <a:ln>
                  <a:noFill/>
                </a:ln>
                <a:solidFill>
                  <a:srgbClr val="000000"/>
                </a:solidFill>
                <a:effectLst/>
                <a:uLnTx/>
                <a:uFillTx/>
                <a:latin typeface="Arial"/>
                <a:ea typeface="+mn-ea"/>
                <a:cs typeface="+mn-cs"/>
              </a:rPr>
              <a:t>Socio-Economic Transformation </a:t>
            </a:r>
            <a:br>
              <a:rPr kumimoji="0" lang="en-US" sz="868" b="1" i="0" u="none" strike="noStrike" kern="1200" cap="none" spc="0" normalizeH="0" baseline="0" noProof="0" dirty="0">
                <a:ln>
                  <a:noFill/>
                </a:ln>
                <a:solidFill>
                  <a:srgbClr val="000000"/>
                </a:solidFill>
                <a:effectLst/>
                <a:uLnTx/>
                <a:uFillTx/>
                <a:latin typeface="Arial"/>
                <a:ea typeface="+mn-ea"/>
                <a:cs typeface="+mn-cs"/>
              </a:rPr>
            </a:br>
            <a:r>
              <a:rPr kumimoji="0" lang="en-US" sz="868" b="1" i="0" u="none" strike="noStrike" kern="1200" cap="none" spc="0" normalizeH="0" baseline="0" noProof="0" dirty="0">
                <a:ln>
                  <a:noFill/>
                </a:ln>
                <a:solidFill>
                  <a:srgbClr val="000000"/>
                </a:solidFill>
                <a:effectLst/>
                <a:uLnTx/>
                <a:uFillTx/>
                <a:latin typeface="Arial"/>
                <a:ea typeface="+mn-ea"/>
                <a:cs typeface="+mn-cs"/>
              </a:rPr>
              <a:t>&amp; Reputational Management</a:t>
            </a:r>
          </a:p>
        </p:txBody>
      </p:sp>
      <p:sp>
        <p:nvSpPr>
          <p:cNvPr id="136" name="Round Same Side Corner Rectangle 135"/>
          <p:cNvSpPr/>
          <p:nvPr/>
        </p:nvSpPr>
        <p:spPr>
          <a:xfrm>
            <a:off x="8667190" y="3762828"/>
            <a:ext cx="1910112" cy="1274307"/>
          </a:xfrm>
          <a:prstGeom prst="round2SameRect">
            <a:avLst>
              <a:gd name="adj1" fmla="val 8000"/>
              <a:gd name="adj2" fmla="val 0"/>
            </a:avLst>
          </a:prstGeom>
        </p:spPr>
        <p:style>
          <a:lnRef idx="0">
            <a:schemeClr val="accent3"/>
          </a:lnRef>
          <a:fillRef idx="3">
            <a:schemeClr val="accent3"/>
          </a:fillRef>
          <a:effectRef idx="3">
            <a:schemeClr val="accent3"/>
          </a:effectRef>
          <a:fontRef idx="minor">
            <a:schemeClr val="lt1"/>
          </a:fontRef>
        </p:style>
      </p:sp>
      <p:sp>
        <p:nvSpPr>
          <p:cNvPr id="137" name="Round Same Side Corner Rectangle 4"/>
          <p:cNvSpPr txBox="1"/>
          <p:nvPr/>
        </p:nvSpPr>
        <p:spPr>
          <a:xfrm>
            <a:off x="8685540" y="3723906"/>
            <a:ext cx="1909729" cy="1247102"/>
          </a:xfrm>
          <a:prstGeom prst="rect">
            <a:avLst/>
          </a:prstGeom>
          <a:noFill/>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027" tIns="33080" rIns="11027" bIns="11027" numCol="1" spcCol="1270" anchor="t" anchorCtr="0">
            <a:noAutofit/>
          </a:bodyPr>
          <a:lstStyle/>
          <a:p>
            <a:pPr marL="87294" marR="0" lvl="1" indent="-87294" algn="l" defTabSz="428809"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96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bined Assurance Framework developed, under review by management.</a:t>
            </a:r>
          </a:p>
          <a:p>
            <a:pPr marL="87294" marR="0" lvl="1" indent="-87294" algn="l" defTabSz="428809"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96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view of litigation Policy in progress at Board level</a:t>
            </a:r>
          </a:p>
          <a:p>
            <a:pPr marL="87294" marR="0" lvl="1" indent="-87294" algn="l" defTabSz="428809"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96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plement </a:t>
            </a:r>
            <a:r>
              <a:rPr kumimoji="0" lang="en-US" sz="965"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RM</a:t>
            </a:r>
            <a:r>
              <a:rPr kumimoji="0" lang="en-US" sz="96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aturity progress in review</a:t>
            </a:r>
            <a:endParaRPr kumimoji="0" lang="en-ZA" sz="96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 name="Rectangle 138"/>
          <p:cNvSpPr/>
          <p:nvPr/>
        </p:nvSpPr>
        <p:spPr>
          <a:xfrm>
            <a:off x="8660686" y="4999741"/>
            <a:ext cx="1910112" cy="320931"/>
          </a:xfrm>
          <a:prstGeom prst="rect">
            <a:avLst/>
          </a:prstGeom>
          <a:solidFill>
            <a:srgbClr val="83C457"/>
          </a:solidFill>
          <a:ln>
            <a:noFill/>
          </a:ln>
          <a:scene3d>
            <a:camera prst="orthographicFront"/>
            <a:lightRig rig="flat" dir="t"/>
          </a:scene3d>
          <a:sp3d prstMaterial="plastic">
            <a:bevelT w="120900" h="88900"/>
            <a:bevelB w="88900" h="31750" prst="angle"/>
          </a:sp3d>
        </p:spPr>
        <p:style>
          <a:lnRef idx="1">
            <a:schemeClr val="dk2">
              <a:hueOff val="0"/>
              <a:satOff val="0"/>
              <a:lumOff val="0"/>
              <a:alphaOff val="0"/>
            </a:schemeClr>
          </a:lnRef>
          <a:fillRef idx="3">
            <a:schemeClr val="dk2">
              <a:hueOff val="0"/>
              <a:satOff val="0"/>
              <a:lumOff val="0"/>
              <a:alphaOff val="0"/>
            </a:schemeClr>
          </a:fillRef>
          <a:effectRef idx="2">
            <a:schemeClr val="dk2">
              <a:hueOff val="0"/>
              <a:satOff val="0"/>
              <a:lumOff val="0"/>
              <a:alphaOff val="0"/>
            </a:schemeClr>
          </a:effectRef>
          <a:fontRef idx="minor">
            <a:schemeClr val="lt1"/>
          </a:fontRef>
        </p:style>
      </p:sp>
      <p:sp>
        <p:nvSpPr>
          <p:cNvPr id="141" name="Rounded Rectangle 140"/>
          <p:cNvSpPr/>
          <p:nvPr/>
        </p:nvSpPr>
        <p:spPr bwMode="auto">
          <a:xfrm>
            <a:off x="6562178" y="5537041"/>
            <a:ext cx="4092647" cy="1156878"/>
          </a:xfrm>
          <a:prstGeom prst="roundRect">
            <a:avLst>
              <a:gd name="adj" fmla="val 2341"/>
            </a:avLst>
          </a:prstGeom>
          <a:ln w="9525">
            <a:solidFill>
              <a:schemeClr val="bg1">
                <a:lumMod val="85000"/>
              </a:schemeClr>
            </a:solidFill>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none" lIns="86823" tIns="45148" rIns="86823" bIns="45148" numCol="1" rtlCol="0" anchor="ctr" anchorCtr="0" compatLnSpc="1">
            <a:prstTxWarp prst="textNoShape">
              <a:avLst/>
            </a:prstTxWarp>
          </a:bodyP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a:ln>
                <a:noFill/>
              </a:ln>
              <a:solidFill>
                <a:srgbClr val="000000"/>
              </a:solidFill>
              <a:effectLst/>
              <a:uLnTx/>
              <a:uFillTx/>
              <a:latin typeface="Arial" charset="0"/>
              <a:ea typeface="+mn-ea"/>
              <a:cs typeface="+mn-cs"/>
            </a:endParaRPr>
          </a:p>
        </p:txBody>
      </p:sp>
      <p:sp>
        <p:nvSpPr>
          <p:cNvPr id="144" name="TextBox 143"/>
          <p:cNvSpPr txBox="1"/>
          <p:nvPr/>
        </p:nvSpPr>
        <p:spPr>
          <a:xfrm>
            <a:off x="6542301" y="5474737"/>
            <a:ext cx="4110664" cy="300210"/>
          </a:xfrm>
          <a:prstGeom prst="rect">
            <a:avLst/>
          </a:prstGeom>
          <a:noFill/>
        </p:spPr>
        <p:txBody>
          <a:bodyPr wrap="square" rtlCol="0" anchor="b">
            <a:spAutoFit/>
          </a:bodyPr>
          <a:lstStyle/>
          <a:p>
            <a:pPr marL="0" marR="0" lvl="0" indent="0" algn="ctr" defTabSz="882122" rtl="0" eaLnBrk="1" fontAlgn="base" latinLnBrk="0" hangingPunct="1">
              <a:lnSpc>
                <a:spcPct val="100000"/>
              </a:lnSpc>
              <a:spcBef>
                <a:spcPct val="0"/>
              </a:spcBef>
              <a:spcAft>
                <a:spcPct val="0"/>
              </a:spcAft>
              <a:buClrTx/>
              <a:buSzTx/>
              <a:buFontTx/>
              <a:buNone/>
              <a:tabLst/>
              <a:defRPr/>
            </a:pPr>
            <a:r>
              <a:rPr kumimoji="0" lang="en-ZA" sz="1351"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Arial" charset="0"/>
                <a:ea typeface="+mn-ea"/>
                <a:cs typeface="+mn-cs"/>
              </a:rPr>
              <a:t>Business Performance</a:t>
            </a:r>
          </a:p>
        </p:txBody>
      </p:sp>
      <p:sp>
        <p:nvSpPr>
          <p:cNvPr id="140" name="TextBox 139"/>
          <p:cNvSpPr txBox="1"/>
          <p:nvPr/>
        </p:nvSpPr>
        <p:spPr>
          <a:xfrm>
            <a:off x="8683906" y="5009127"/>
            <a:ext cx="1886892" cy="339553"/>
          </a:xfrm>
          <a:prstGeom prst="rect">
            <a:avLst/>
          </a:prstGeom>
          <a:noFill/>
          <a:scene3d>
            <a:camera prst="orthographicFront"/>
            <a:lightRig rig="flat" dir="t"/>
          </a:scene3d>
          <a:sp3d/>
        </p:spPr>
        <p:style>
          <a:lnRef idx="0">
            <a:scrgbClr r="0" g="0" b="0"/>
          </a:lnRef>
          <a:fillRef idx="0">
            <a:scrgbClr r="0" g="0" b="0"/>
          </a:fillRef>
          <a:effectRef idx="0">
            <a:scrgbClr r="0" g="0" b="0"/>
          </a:effectRef>
          <a:fontRef idx="minor">
            <a:schemeClr val="lt1"/>
          </a:fontRef>
        </p:style>
        <p:txBody>
          <a:bodyPr spcFirstLastPara="0" vert="horz" wrap="square" lIns="36755" tIns="0" rIns="12252" bIns="0" numCol="1" spcCol="1270" anchor="ctr" anchorCtr="0">
            <a:noAutofit/>
          </a:bodyPr>
          <a:lstStyle/>
          <a:p>
            <a:pPr marL="0" marR="0" lvl="0" indent="0" algn="ctr" defTabSz="428809" rtl="0" eaLnBrk="1" fontAlgn="base" latinLnBrk="0" hangingPunct="1">
              <a:lnSpc>
                <a:spcPct val="90000"/>
              </a:lnSpc>
              <a:spcBef>
                <a:spcPct val="0"/>
              </a:spcBef>
              <a:spcAft>
                <a:spcPct val="35000"/>
              </a:spcAft>
              <a:buClrTx/>
              <a:buSzTx/>
              <a:buFontTx/>
              <a:buNone/>
              <a:tabLst/>
              <a:defRPr/>
            </a:pPr>
            <a:r>
              <a:rPr kumimoji="0" lang="en-US" sz="868" b="1" i="0" u="none" strike="noStrike" kern="1200" cap="none" spc="0" normalizeH="0" baseline="0" noProof="0" dirty="0">
                <a:ln>
                  <a:noFill/>
                </a:ln>
                <a:solidFill>
                  <a:srgbClr val="000000"/>
                </a:solidFill>
                <a:effectLst/>
                <a:uLnTx/>
                <a:uFillTx/>
                <a:latin typeface="Arial"/>
                <a:ea typeface="+mn-ea"/>
                <a:cs typeface="+mn-cs"/>
              </a:rPr>
              <a:t>Corporate Governance &amp; Enterprise Risk Management</a:t>
            </a:r>
          </a:p>
        </p:txBody>
      </p:sp>
      <p:pic>
        <p:nvPicPr>
          <p:cNvPr id="92" name="Picture 9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11198024" y="6154330"/>
            <a:ext cx="482854" cy="482854"/>
          </a:xfrm>
          <a:prstGeom prst="rect">
            <a:avLst/>
          </a:prstGeom>
          <a:noFill/>
          <a:ln>
            <a:noFill/>
          </a:ln>
        </p:spPr>
      </p:pic>
      <p:graphicFrame>
        <p:nvGraphicFramePr>
          <p:cNvPr id="112" name="Chart 111">
            <a:extLst>
              <a:ext uri="{FF2B5EF4-FFF2-40B4-BE49-F238E27FC236}">
                <a16:creationId xmlns:a16="http://schemas.microsoft.com/office/drawing/2014/main" xmlns="" id="{E793CC9D-027E-492B-97E0-6B430DB1F48D}"/>
              </a:ext>
            </a:extLst>
          </p:cNvPr>
          <p:cNvGraphicFramePr>
            <a:graphicFrameLocks/>
          </p:cNvGraphicFramePr>
          <p:nvPr/>
        </p:nvGraphicFramePr>
        <p:xfrm>
          <a:off x="3380660" y="1799195"/>
          <a:ext cx="3063313" cy="1559889"/>
        </p:xfrm>
        <a:graphic>
          <a:graphicData uri="http://schemas.openxmlformats.org/drawingml/2006/chart">
            <c:chart xmlns:c="http://schemas.openxmlformats.org/drawingml/2006/chart" xmlns:r="http://schemas.openxmlformats.org/officeDocument/2006/relationships" r:id="rId13"/>
          </a:graphicData>
        </a:graphic>
      </p:graphicFrame>
      <p:sp>
        <p:nvSpPr>
          <p:cNvPr id="83" name="TextBox 168"/>
          <p:cNvSpPr txBox="1"/>
          <p:nvPr/>
        </p:nvSpPr>
        <p:spPr>
          <a:xfrm>
            <a:off x="255758" y="1771498"/>
            <a:ext cx="3015287" cy="255583"/>
          </a:xfrm>
          <a:prstGeom prst="rect">
            <a:avLst/>
          </a:prstGeom>
          <a:noFill/>
        </p:spPr>
        <p:txBody>
          <a:bodyPr wrap="square" rtlCol="0">
            <a:spAutoFit/>
          </a:bodyPr>
          <a:lstStyle>
            <a:defPPr>
              <a:defRPr lang="en-US"/>
            </a:defPPr>
            <a:lvl1pPr algn="ctr">
              <a:defRPr sz="1100" b="1" i="0" u="none" strike="noStrike" spc="0" baseline="0">
                <a:solidFill>
                  <a:schemeClr val="tx1">
                    <a:lumMod val="50000"/>
                    <a:lumOff val="50000"/>
                  </a:schemeClr>
                </a:solidFill>
                <a:latin typeface="+mn-lt"/>
              </a:defRPr>
            </a:lvl1pPr>
          </a:lstStyle>
          <a:p>
            <a:pPr marL="0" marR="0" lvl="0" indent="0" algn="ctr" defTabSz="882122" rtl="0" eaLnBrk="1" fontAlgn="base" latinLnBrk="0" hangingPunct="1">
              <a:lnSpc>
                <a:spcPct val="100000"/>
              </a:lnSpc>
              <a:spcBef>
                <a:spcPct val="0"/>
              </a:spcBef>
              <a:spcAft>
                <a:spcPct val="0"/>
              </a:spcAft>
              <a:buClrTx/>
              <a:buSzTx/>
              <a:buFontTx/>
              <a:buNone/>
              <a:tabLst/>
              <a:defRPr/>
            </a:pPr>
            <a:r>
              <a:rPr kumimoji="0" lang="en-US" sz="1061" b="1" i="0" u="none" strike="noStrike" kern="1200" cap="none" spc="0" normalizeH="0" baseline="0" noProof="0" dirty="0">
                <a:ln>
                  <a:noFill/>
                </a:ln>
                <a:solidFill>
                  <a:srgbClr val="000000"/>
                </a:solidFill>
                <a:effectLst/>
                <a:uLnTx/>
                <a:uFillTx/>
                <a:latin typeface="Arial"/>
                <a:ea typeface="+mn-ea"/>
                <a:cs typeface="+mn-cs"/>
              </a:rPr>
              <a:t>Legal Cases for </a:t>
            </a:r>
            <a:r>
              <a:rPr kumimoji="0" lang="en-US" sz="1061" b="1" i="0" u="none" strike="noStrike" kern="1200" cap="none" spc="0" normalizeH="0" baseline="0" noProof="0" dirty="0" err="1">
                <a:ln>
                  <a:noFill/>
                </a:ln>
                <a:solidFill>
                  <a:srgbClr val="000000"/>
                </a:solidFill>
                <a:effectLst/>
                <a:uLnTx/>
                <a:uFillTx/>
                <a:latin typeface="Arial"/>
                <a:ea typeface="+mn-ea"/>
                <a:cs typeface="+mn-cs"/>
              </a:rPr>
              <a:t>CEF</a:t>
            </a:r>
            <a:r>
              <a:rPr kumimoji="0" lang="en-US" sz="1061" b="1" i="0" u="none" strike="noStrike" kern="1200" cap="none" spc="0" normalizeH="0" baseline="0" noProof="0" dirty="0">
                <a:ln>
                  <a:noFill/>
                </a:ln>
                <a:solidFill>
                  <a:srgbClr val="000000"/>
                </a:solidFill>
                <a:effectLst/>
                <a:uLnTx/>
                <a:uFillTx/>
                <a:latin typeface="Arial"/>
                <a:ea typeface="+mn-ea"/>
                <a:cs typeface="+mn-cs"/>
              </a:rPr>
              <a:t> Group</a:t>
            </a:r>
          </a:p>
        </p:txBody>
      </p:sp>
      <p:graphicFrame>
        <p:nvGraphicFramePr>
          <p:cNvPr id="88" name="Chart 87">
            <a:extLst>
              <a:ext uri="{FF2B5EF4-FFF2-40B4-BE49-F238E27FC236}">
                <a16:creationId xmlns:a16="http://schemas.microsoft.com/office/drawing/2014/main" xmlns="" id="{2264CB13-71FA-476D-BACD-2C98732171F4}"/>
              </a:ext>
            </a:extLst>
          </p:cNvPr>
          <p:cNvGraphicFramePr/>
          <p:nvPr/>
        </p:nvGraphicFramePr>
        <p:xfrm>
          <a:off x="300682" y="1916849"/>
          <a:ext cx="2958860" cy="1421574"/>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91" name="Chart 90"/>
          <p:cNvGraphicFramePr/>
          <p:nvPr/>
        </p:nvGraphicFramePr>
        <p:xfrm>
          <a:off x="8046244" y="120516"/>
          <a:ext cx="1384300" cy="1503098"/>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93" name="Chart 92"/>
          <p:cNvGraphicFramePr/>
          <p:nvPr/>
        </p:nvGraphicFramePr>
        <p:xfrm>
          <a:off x="9427714" y="120517"/>
          <a:ext cx="1389172" cy="1503169"/>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00" name="Chart 99"/>
          <p:cNvGraphicFramePr/>
          <p:nvPr/>
        </p:nvGraphicFramePr>
        <p:xfrm>
          <a:off x="10845462" y="114301"/>
          <a:ext cx="1389172" cy="1533525"/>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86" name="Chart 85"/>
          <p:cNvGraphicFramePr/>
          <p:nvPr/>
        </p:nvGraphicFramePr>
        <p:xfrm>
          <a:off x="6634902" y="125912"/>
          <a:ext cx="1389172" cy="1502864"/>
        </p:xfrm>
        <a:graphic>
          <a:graphicData uri="http://schemas.openxmlformats.org/drawingml/2006/chart">
            <c:chart xmlns:c="http://schemas.openxmlformats.org/drawingml/2006/chart" xmlns:r="http://schemas.openxmlformats.org/officeDocument/2006/relationships" r:id="rId18"/>
          </a:graphicData>
        </a:graphic>
      </p:graphicFrame>
      <p:sp>
        <p:nvSpPr>
          <p:cNvPr id="106" name="Oval 105"/>
          <p:cNvSpPr/>
          <p:nvPr/>
        </p:nvSpPr>
        <p:spPr>
          <a:xfrm>
            <a:off x="11937789" y="5777486"/>
            <a:ext cx="251160" cy="251160"/>
          </a:xfrm>
          <a:prstGeom prst="ellipse">
            <a:avLst/>
          </a:prstGeom>
          <a:solidFill>
            <a:srgbClr val="00B050"/>
          </a:solidFill>
          <a:ln w="1905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marL="0" marR="0" lvl="0" indent="0" algn="l" defTabSz="882122" rtl="0" eaLnBrk="1" fontAlgn="base" latinLnBrk="0" hangingPunct="1">
              <a:lnSpc>
                <a:spcPct val="100000"/>
              </a:lnSpc>
              <a:spcBef>
                <a:spcPct val="0"/>
              </a:spcBef>
              <a:spcAft>
                <a:spcPct val="0"/>
              </a:spcAft>
              <a:buClrTx/>
              <a:buSzTx/>
              <a:buFontTx/>
              <a:buNone/>
              <a:tabLst/>
              <a:defRPr/>
            </a:pPr>
            <a:endParaRPr kumimoji="0" lang="en-ZA" sz="1929" b="0" i="0" u="none" strike="noStrike" kern="1200" cap="none" spc="0" normalizeH="0" baseline="0" noProof="0">
              <a:ln>
                <a:noFill/>
              </a:ln>
              <a:solidFill>
                <a:srgbClr val="000000"/>
              </a:solidFill>
              <a:effectLst/>
              <a:uLnTx/>
              <a:uFillTx/>
              <a:latin typeface="Arial" charset="0"/>
              <a:ea typeface="+mn-ea"/>
              <a:cs typeface="+mn-cs"/>
            </a:endParaRPr>
          </a:p>
        </p:txBody>
      </p:sp>
      <p:graphicFrame>
        <p:nvGraphicFramePr>
          <p:cNvPr id="94" name="Chart 93">
            <a:extLst>
              <a:ext uri="{FF2B5EF4-FFF2-40B4-BE49-F238E27FC236}">
                <a16:creationId xmlns:a16="http://schemas.microsoft.com/office/drawing/2014/main" xmlns="" id="{E906C4B2-3D37-4696-8041-B5AB6B8A7BD8}"/>
              </a:ext>
            </a:extLst>
          </p:cNvPr>
          <p:cNvGraphicFramePr>
            <a:graphicFrameLocks/>
          </p:cNvGraphicFramePr>
          <p:nvPr/>
        </p:nvGraphicFramePr>
        <p:xfrm>
          <a:off x="6658736" y="5619925"/>
          <a:ext cx="3775974" cy="1156878"/>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xmlns="" val="22587431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Profitability at 31 December 2021 by company</a:t>
            </a:r>
            <a:endParaRPr lang="en-ZA" dirty="0">
              <a:solidFill>
                <a:schemeClr val="accent1"/>
              </a:solidFill>
            </a:endParaRPr>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6" name="Rounded Rectangle 455">
            <a:extLst>
              <a:ext uri="{FF2B5EF4-FFF2-40B4-BE49-F238E27FC236}">
                <a16:creationId xmlns:a16="http://schemas.microsoft.com/office/drawing/2014/main" xmlns="" id="{29C49CD3-3C9D-458B-8F08-1B50F719EDCF}"/>
              </a:ext>
            </a:extLst>
          </p:cNvPr>
          <p:cNvSpPr>
            <a:spLocks noChangeArrowheads="1"/>
          </p:cNvSpPr>
          <p:nvPr/>
        </p:nvSpPr>
        <p:spPr bwMode="gray">
          <a:xfrm>
            <a:off x="307442" y="6309624"/>
            <a:ext cx="1079500" cy="539750"/>
          </a:xfrm>
          <a:prstGeom prst="roundRect">
            <a:avLst>
              <a:gd name="adj" fmla="val 16667"/>
            </a:avLst>
          </a:prstGeom>
          <a:solidFill>
            <a:srgbClr val="00B050"/>
          </a:solidFill>
          <a:ln w="19050">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0" tIns="0" rIns="0" bIns="0" anchor="ctr">
            <a:no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mn-cs"/>
              </a:rPr>
              <a:t>PROFITABILITY </a:t>
            </a:r>
            <a:endParaRPr kumimoji="0" lang="en-ZA" sz="9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mn-cs"/>
            </a:endParaRPr>
          </a:p>
        </p:txBody>
      </p:sp>
      <p:sp>
        <p:nvSpPr>
          <p:cNvPr id="7" name="Rounded Rectangle 455">
            <a:extLst>
              <a:ext uri="{FF2B5EF4-FFF2-40B4-BE49-F238E27FC236}">
                <a16:creationId xmlns:a16="http://schemas.microsoft.com/office/drawing/2014/main" xmlns="" id="{29C49CD3-3C9D-458B-8F08-1B50F719EDCF}"/>
              </a:ext>
            </a:extLst>
          </p:cNvPr>
          <p:cNvSpPr>
            <a:spLocks noChangeArrowheads="1"/>
          </p:cNvSpPr>
          <p:nvPr/>
        </p:nvSpPr>
        <p:spPr bwMode="gray">
          <a:xfrm>
            <a:off x="3548101" y="6284790"/>
            <a:ext cx="1079500" cy="539750"/>
          </a:xfrm>
          <a:prstGeom prst="roundRect">
            <a:avLst>
              <a:gd name="adj" fmla="val 16667"/>
            </a:avLst>
          </a:prstGeom>
          <a:solidFill>
            <a:srgbClr val="00B050"/>
          </a:solidFill>
          <a:ln w="19050">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0" tIns="0" rIns="0" bIns="0" anchor="ctr">
            <a:no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mn-cs"/>
              </a:rPr>
              <a:t>SOLVENCY</a:t>
            </a:r>
            <a:endParaRPr kumimoji="0" lang="en-ZA" sz="9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mn-cs"/>
            </a:endParaRPr>
          </a:p>
        </p:txBody>
      </p:sp>
      <p:sp>
        <p:nvSpPr>
          <p:cNvPr id="8" name="Rounded Rectangle 455">
            <a:extLst>
              <a:ext uri="{FF2B5EF4-FFF2-40B4-BE49-F238E27FC236}">
                <a16:creationId xmlns:a16="http://schemas.microsoft.com/office/drawing/2014/main" xmlns="" id="{29C49CD3-3C9D-458B-8F08-1B50F719EDCF}"/>
              </a:ext>
            </a:extLst>
          </p:cNvPr>
          <p:cNvSpPr>
            <a:spLocks noChangeArrowheads="1"/>
          </p:cNvSpPr>
          <p:nvPr/>
        </p:nvSpPr>
        <p:spPr bwMode="gray">
          <a:xfrm>
            <a:off x="6437947" y="6309624"/>
            <a:ext cx="1079500" cy="539750"/>
          </a:xfrm>
          <a:prstGeom prst="roundRect">
            <a:avLst>
              <a:gd name="adj" fmla="val 16667"/>
            </a:avLst>
          </a:prstGeom>
          <a:solidFill>
            <a:srgbClr val="00B050"/>
          </a:solidFill>
          <a:ln w="19050">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0" tIns="0" rIns="0" bIns="0" anchor="ctr">
            <a:no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mn-cs"/>
              </a:rPr>
              <a:t>LIQUIDITY</a:t>
            </a:r>
            <a:endParaRPr kumimoji="0" lang="en-ZA" sz="9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mn-cs"/>
            </a:endParaRPr>
          </a:p>
        </p:txBody>
      </p:sp>
      <p:sp>
        <p:nvSpPr>
          <p:cNvPr id="9" name="Rounded Rectangle 455">
            <a:extLst>
              <a:ext uri="{FF2B5EF4-FFF2-40B4-BE49-F238E27FC236}">
                <a16:creationId xmlns:a16="http://schemas.microsoft.com/office/drawing/2014/main" xmlns="" id="{29C49CD3-3C9D-458B-8F08-1B50F719EDCF}"/>
              </a:ext>
            </a:extLst>
          </p:cNvPr>
          <p:cNvSpPr>
            <a:spLocks noChangeArrowheads="1"/>
          </p:cNvSpPr>
          <p:nvPr/>
        </p:nvSpPr>
        <p:spPr bwMode="gray">
          <a:xfrm>
            <a:off x="9465819" y="6299588"/>
            <a:ext cx="1079500" cy="539750"/>
          </a:xfrm>
          <a:prstGeom prst="roundRect">
            <a:avLst>
              <a:gd name="adj" fmla="val 16667"/>
            </a:avLst>
          </a:prstGeom>
          <a:solidFill>
            <a:srgbClr val="C00000"/>
          </a:solidFill>
          <a:ln w="19050">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lIns="0" tIns="0" rIns="0" bIns="0" anchor="ctr">
            <a:no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mn-cs"/>
              </a:rPr>
              <a:t>FINANCIAL GOVERNANCE</a:t>
            </a:r>
          </a:p>
        </p:txBody>
      </p:sp>
      <p:pic>
        <p:nvPicPr>
          <p:cNvPr id="10" name="Picture 9"/>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34442" y="857161"/>
            <a:ext cx="11669068" cy="5289857"/>
          </a:xfrm>
          <a:prstGeom prst="rect">
            <a:avLst/>
          </a:prstGeom>
          <a:noFill/>
          <a:ln>
            <a:solidFill>
              <a:schemeClr val="tx1"/>
            </a:solidFill>
          </a:ln>
        </p:spPr>
      </p:pic>
    </p:spTree>
    <p:extLst>
      <p:ext uri="{BB962C8B-B14F-4D97-AF65-F5344CB8AC3E}">
        <p14:creationId xmlns:p14="http://schemas.microsoft.com/office/powerpoint/2010/main" xmlns="" val="38997260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chemeClr val="accent1"/>
                </a:solidFill>
              </a:rPr>
              <a:t>Cashflows</a:t>
            </a:r>
            <a:r>
              <a:rPr lang="en-US" dirty="0">
                <a:solidFill>
                  <a:schemeClr val="accent1"/>
                </a:solidFill>
              </a:rPr>
              <a:t> at 31 December 2021</a:t>
            </a:r>
            <a:endParaRPr lang="en-ZA" dirty="0">
              <a:solidFill>
                <a:schemeClr val="accent1"/>
              </a:solidFill>
            </a:endParaRPr>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6" name="Rectangle 5"/>
          <p:cNvSpPr/>
          <p:nvPr/>
        </p:nvSpPr>
        <p:spPr>
          <a:xfrm>
            <a:off x="8585685" y="1015755"/>
            <a:ext cx="3846798" cy="5016758"/>
          </a:xfrm>
          <a:prstGeom prst="rect">
            <a:avLst/>
          </a:prstGeom>
          <a:ln w="19050">
            <a:solidFill>
              <a:schemeClr val="accent4"/>
            </a:solid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ZA"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he Group generated positive net cash inflows from operating activities of R1.5billion mainly due to the interest income and cash generated from operation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171450" marR="0" lvl="0" indent="-171450" algn="l" defTabSz="914400" rtl="0" eaLnBrk="1" fontAlgn="base" latinLnBrk="0" hangingPunct="1">
              <a:lnSpc>
                <a:spcPct val="100000"/>
              </a:lnSpc>
              <a:spcBef>
                <a:spcPct val="0"/>
              </a:spcBef>
              <a:spcAft>
                <a:spcPct val="0"/>
              </a:spcAft>
              <a:buClrTx/>
              <a:buSzTx/>
              <a:buFont typeface="Wingdings" panose="05000000000000000000" pitchFamily="2" charset="2"/>
              <a:buChar char="q"/>
              <a:tabLst/>
              <a:defRPr/>
            </a:pPr>
            <a:r>
              <a:rPr kumimoji="0" lang="en-ZA"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he progress in implementation of the capital projects has been minimal thus the spend to date is below budget. The net investments of R779 million mainly relate to investment in ACWA Redstone of R459 million and purchase of property plant and equipment of  R401 million bought by PetroSA</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a:t>
            </a:r>
          </a:p>
        </p:txBody>
      </p:sp>
      <p:pic>
        <p:nvPicPr>
          <p:cNvPr id="7" name="Picture 6"/>
          <p:cNvPicPr>
            <a:picLocks noChangeAspect="1"/>
          </p:cNvPicPr>
          <p:nvPr/>
        </p:nvPicPr>
        <p:blipFill>
          <a:blip r:embed="rId2" cstate="print"/>
          <a:stretch>
            <a:fillRect/>
          </a:stretch>
        </p:blipFill>
        <p:spPr>
          <a:xfrm>
            <a:off x="364943" y="927103"/>
            <a:ext cx="8100000" cy="5845556"/>
          </a:xfrm>
          <a:prstGeom prst="rect">
            <a:avLst/>
          </a:prstGeom>
        </p:spPr>
      </p:pic>
    </p:spTree>
    <p:extLst>
      <p:ext uri="{BB962C8B-B14F-4D97-AF65-F5344CB8AC3E}">
        <p14:creationId xmlns:p14="http://schemas.microsoft.com/office/powerpoint/2010/main" xmlns="" val="402172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442" y="197832"/>
            <a:ext cx="11782384" cy="600075"/>
          </a:xfrm>
          <a:noFill/>
          <a:ln w="9525">
            <a:noFill/>
            <a:miter lim="800000"/>
            <a:headEnd/>
            <a:tailEnd/>
          </a:ln>
        </p:spPr>
        <p:txBody>
          <a:bodyPr vert="horz" wrap="square" lIns="0" tIns="45720" rIns="0" bIns="45720" numCol="1" anchor="ctr" anchorCtr="0" compatLnSpc="1">
            <a:prstTxWarp prst="textNoShape">
              <a:avLst/>
            </a:prstTxWarp>
          </a:bodyPr>
          <a:lstStyle/>
          <a:p>
            <a:pPr defTabSz="882122"/>
            <a:r>
              <a:rPr lang="en-US" sz="2000" kern="1200" dirty="0">
                <a:solidFill>
                  <a:srgbClr val="0061B2"/>
                </a:solidFill>
                <a:latin typeface="+mn-lt"/>
              </a:rPr>
              <a:t>Commitments</a:t>
            </a:r>
            <a:endParaRPr lang="en-ZA" sz="2000" kern="1200" dirty="0">
              <a:solidFill>
                <a:srgbClr val="0061B2"/>
              </a:solidFill>
              <a:latin typeface="+mn-lt"/>
            </a:endParaRPr>
          </a:p>
        </p:txBody>
      </p:sp>
      <p:graphicFrame>
        <p:nvGraphicFramePr>
          <p:cNvPr id="5" name="Table 4"/>
          <p:cNvGraphicFramePr>
            <a:graphicFrameLocks noGrp="1"/>
          </p:cNvGraphicFramePr>
          <p:nvPr/>
        </p:nvGraphicFramePr>
        <p:xfrm>
          <a:off x="11070260" y="10225548"/>
          <a:ext cx="679288" cy="6583680"/>
        </p:xfrm>
        <a:graphic>
          <a:graphicData uri="http://schemas.openxmlformats.org/drawingml/2006/table">
            <a:tbl>
              <a:tblPr firstRow="1" firstCol="1" bandRow="1"/>
              <a:tblGrid>
                <a:gridCol w="526476">
                  <a:extLst>
                    <a:ext uri="{9D8B030D-6E8A-4147-A177-3AD203B41FA5}">
                      <a16:colId xmlns:a16="http://schemas.microsoft.com/office/drawing/2014/main" xmlns="" val="2521159222"/>
                    </a:ext>
                  </a:extLst>
                </a:gridCol>
                <a:gridCol w="152812">
                  <a:extLst>
                    <a:ext uri="{9D8B030D-6E8A-4147-A177-3AD203B41FA5}">
                      <a16:colId xmlns:a16="http://schemas.microsoft.com/office/drawing/2014/main" xmlns="" val="3843038330"/>
                    </a:ext>
                  </a:extLst>
                </a:gridCol>
              </a:tblGrid>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xmlns="" val="1410008917"/>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63892742"/>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83728649"/>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44343222"/>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91678290"/>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71711771"/>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62277887"/>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63696406"/>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54839035"/>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42684477"/>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09878757"/>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18260773"/>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800019"/>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74811395"/>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65851556"/>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54000321"/>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09540332"/>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0043449"/>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13526401"/>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49966623"/>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90231056"/>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93340880"/>
                  </a:ext>
                </a:extLst>
              </a:tr>
              <a:tr h="60632">
                <a:tc>
                  <a:txBody>
                    <a:bodyPr/>
                    <a:lstStyle/>
                    <a:p>
                      <a:endParaRPr lang="en-ZA"/>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65332078"/>
                  </a:ext>
                </a:extLst>
              </a:tr>
              <a:tr h="60632">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en-ZA" dirty="0"/>
                    </a:p>
                  </a:txBody>
                  <a:tcPr marL="63706" marR="63706"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01873289"/>
                  </a:ext>
                </a:extLst>
              </a:tr>
            </a:tbl>
          </a:graphicData>
        </a:graphic>
      </p:graphicFrame>
      <p:graphicFrame>
        <p:nvGraphicFramePr>
          <p:cNvPr id="3" name="Table 2"/>
          <p:cNvGraphicFramePr>
            <a:graphicFrameLocks noGrp="1"/>
          </p:cNvGraphicFramePr>
          <p:nvPr/>
        </p:nvGraphicFramePr>
        <p:xfrm>
          <a:off x="434442" y="921379"/>
          <a:ext cx="11163467" cy="6263640"/>
        </p:xfrm>
        <a:graphic>
          <a:graphicData uri="http://schemas.openxmlformats.org/drawingml/2006/table">
            <a:tbl>
              <a:tblPr firstRow="1" firstCol="1" bandRow="1"/>
              <a:tblGrid>
                <a:gridCol w="9543214">
                  <a:extLst>
                    <a:ext uri="{9D8B030D-6E8A-4147-A177-3AD203B41FA5}">
                      <a16:colId xmlns:a16="http://schemas.microsoft.com/office/drawing/2014/main" xmlns="" val="1918055860"/>
                    </a:ext>
                  </a:extLst>
                </a:gridCol>
                <a:gridCol w="1620253">
                  <a:extLst>
                    <a:ext uri="{9D8B030D-6E8A-4147-A177-3AD203B41FA5}">
                      <a16:colId xmlns:a16="http://schemas.microsoft.com/office/drawing/2014/main" xmlns="" val="1985296513"/>
                    </a:ext>
                  </a:extLst>
                </a:gridCol>
              </a:tblGrid>
              <a:tr h="244959">
                <a:tc>
                  <a:txBody>
                    <a:bodyPr/>
                    <a:lstStyle/>
                    <a:p>
                      <a:pPr>
                        <a:lnSpc>
                          <a:spcPct val="150000"/>
                        </a:lnSpc>
                        <a:spcAft>
                          <a:spcPts val="0"/>
                        </a:spcAft>
                      </a:pPr>
                      <a:r>
                        <a:rPr lang="en-ZA" sz="1400" b="1" dirty="0">
                          <a:solidFill>
                            <a:schemeClr val="bg1"/>
                          </a:solidFill>
                          <a:effectLst/>
                          <a:latin typeface="Arial" panose="020B0604020202020204" pitchFamily="34" charset="0"/>
                          <a:ea typeface="Times New Roman" panose="02020603050405020304" pitchFamily="18" charset="0"/>
                        </a:rPr>
                        <a:t>Description</a:t>
                      </a:r>
                      <a:endParaRPr lang="en-ZA" sz="1400" dirty="0">
                        <a:solidFill>
                          <a:schemeClr val="bg1"/>
                        </a:solidFill>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nSpc>
                          <a:spcPct val="150000"/>
                        </a:lnSpc>
                        <a:spcAft>
                          <a:spcPts val="0"/>
                        </a:spcAft>
                      </a:pPr>
                      <a:r>
                        <a:rPr lang="en-ZA" sz="1400" b="1" dirty="0">
                          <a:solidFill>
                            <a:schemeClr val="bg1"/>
                          </a:solidFill>
                          <a:effectLst/>
                          <a:latin typeface="Arial" panose="020B0604020202020204" pitchFamily="34" charset="0"/>
                          <a:ea typeface="Times New Roman" panose="02020603050405020304" pitchFamily="18" charset="0"/>
                        </a:rPr>
                        <a:t>Amount in R'000</a:t>
                      </a:r>
                      <a:endParaRPr lang="en-ZA" sz="1400" dirty="0">
                        <a:solidFill>
                          <a:schemeClr val="bg1"/>
                        </a:solidFill>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xmlns="" val="1605985217"/>
                  </a:ext>
                </a:extLst>
              </a:tr>
              <a:tr h="244959">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Total Cash balance as at 31 December 2021 including Cash set aside for rehabilitation</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          14 927 493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5946802"/>
                  </a:ext>
                </a:extLst>
              </a:tr>
              <a:tr h="244959">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Restricted cash</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            6 195 892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31603702"/>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1. Cash held on behalf of others</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144 274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37794402"/>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2. Cash set aside for the rehabilitation (AEMFC and PetroSA)</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a:solidFill>
                            <a:srgbClr val="000000"/>
                          </a:solidFill>
                          <a:effectLst/>
                          <a:latin typeface="Arial" panose="020B0604020202020204" pitchFamily="34" charset="0"/>
                          <a:ea typeface="Times New Roman" panose="02020603050405020304" pitchFamily="18" charset="0"/>
                        </a:rPr>
                        <a:t>            2 920 579 </a:t>
                      </a:r>
                      <a:endParaRPr lang="en-ZA" sz="130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56282017"/>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3. CEF SOC commitments</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a:solidFill>
                            <a:srgbClr val="000000"/>
                          </a:solidFill>
                          <a:effectLst/>
                          <a:latin typeface="Arial" panose="020B0604020202020204" pitchFamily="34" charset="0"/>
                          <a:ea typeface="Times New Roman" panose="02020603050405020304" pitchFamily="18" charset="0"/>
                        </a:rPr>
                        <a:t>            1 920 151 </a:t>
                      </a:r>
                      <a:endParaRPr lang="en-ZA" sz="130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36008573"/>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4.SFF Strategic stock restricted cash</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1 210 889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62420841"/>
                  </a:ext>
                </a:extLst>
              </a:tr>
              <a:tr h="244959">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Committed for Projects and Initiatives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            2 901 01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41426266"/>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1. </a:t>
                      </a:r>
                      <a:r>
                        <a:rPr lang="en-ZA" sz="1300" dirty="0" err="1">
                          <a:solidFill>
                            <a:srgbClr val="000000"/>
                          </a:solidFill>
                          <a:effectLst/>
                          <a:latin typeface="Arial" panose="020B0604020202020204" pitchFamily="34" charset="0"/>
                          <a:ea typeface="Times New Roman" panose="02020603050405020304" pitchFamily="18" charset="0"/>
                        </a:rPr>
                        <a:t>Rompco</a:t>
                      </a:r>
                      <a:r>
                        <a:rPr lang="en-ZA" sz="1300" dirty="0">
                          <a:solidFill>
                            <a:srgbClr val="000000"/>
                          </a:solidFill>
                          <a:effectLst/>
                          <a:latin typeface="Arial" panose="020B0604020202020204" pitchFamily="34" charset="0"/>
                          <a:ea typeface="Times New Roman" panose="02020603050405020304" pitchFamily="18" charset="0"/>
                        </a:rPr>
                        <a:t> acquisition</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1 300 00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00097951"/>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2.AEMFC: </a:t>
                      </a:r>
                      <a:r>
                        <a:rPr lang="en-ZA" sz="1300" dirty="0" err="1">
                          <a:solidFill>
                            <a:srgbClr val="000000"/>
                          </a:solidFill>
                          <a:effectLst/>
                          <a:latin typeface="Arial" panose="020B0604020202020204" pitchFamily="34" charset="0"/>
                          <a:ea typeface="Times New Roman" panose="02020603050405020304" pitchFamily="18" charset="0"/>
                        </a:rPr>
                        <a:t>Vlakfontein</a:t>
                      </a:r>
                      <a:r>
                        <a:rPr lang="en-ZA" sz="1300" dirty="0">
                          <a:solidFill>
                            <a:srgbClr val="000000"/>
                          </a:solidFill>
                          <a:effectLst/>
                          <a:latin typeface="Arial" panose="020B0604020202020204" pitchFamily="34" charset="0"/>
                          <a:ea typeface="Times New Roman" panose="02020603050405020304" pitchFamily="18" charset="0"/>
                        </a:rPr>
                        <a:t> extensions</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98 263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97419905"/>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3.South Sudan</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799 47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26823060"/>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4. SWH programme</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108 277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34822113"/>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5.Project Strawberry</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a:solidFill>
                            <a:srgbClr val="000000"/>
                          </a:solidFill>
                          <a:effectLst/>
                          <a:latin typeface="Arial" panose="020B0604020202020204" pitchFamily="34" charset="0"/>
                          <a:ea typeface="Times New Roman" panose="02020603050405020304" pitchFamily="18" charset="0"/>
                        </a:rPr>
                        <a:t>               150 000 </a:t>
                      </a:r>
                      <a:endParaRPr lang="en-ZA" sz="130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36459727"/>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6.ACWA 15%</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a:solidFill>
                            <a:srgbClr val="000000"/>
                          </a:solidFill>
                          <a:effectLst/>
                          <a:latin typeface="Arial" panose="020B0604020202020204" pitchFamily="34" charset="0"/>
                          <a:ea typeface="Times New Roman" panose="02020603050405020304" pitchFamily="18" charset="0"/>
                        </a:rPr>
                        <a:t>                 95 000 </a:t>
                      </a:r>
                      <a:endParaRPr lang="en-ZA" sz="130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97303718"/>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7.ACWA emergency power  DAO</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350 00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44637923"/>
                  </a:ext>
                </a:extLst>
              </a:tr>
              <a:tr h="489918">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Cash ring-fenced for Guarantees (rehab, feedstock, Eskom etc.) and contingencies(i.e. DAS provision, Hedging losses, and restitution sale of strategic stock (SFF sale of strategic stock)</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          11 982 31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23248331"/>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1. DAS provision</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1 100 00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98156320"/>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2.  SFF strategic stock Court judgement: Just and Equitable ( hedging losses, out of pocket and interest)</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1 184 31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76824960"/>
                  </a:ext>
                </a:extLst>
              </a:tr>
              <a:tr h="244959">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3.Rehab Funding Shortfall</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dirty="0">
                          <a:solidFill>
                            <a:srgbClr val="000000"/>
                          </a:solidFill>
                          <a:effectLst/>
                          <a:latin typeface="Arial" panose="020B0604020202020204" pitchFamily="34" charset="0"/>
                          <a:ea typeface="Times New Roman" panose="02020603050405020304" pitchFamily="18" charset="0"/>
                        </a:rPr>
                        <a:t>            9 698 00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6061941"/>
                  </a:ext>
                </a:extLst>
              </a:tr>
              <a:tr h="244959">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Cash balance net of the above</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en-ZA" sz="1300" b="1" dirty="0">
                          <a:solidFill>
                            <a:srgbClr val="000000"/>
                          </a:solidFill>
                          <a:effectLst/>
                          <a:latin typeface="Arial" panose="020B0604020202020204" pitchFamily="34" charset="0"/>
                          <a:ea typeface="Times New Roman" panose="02020603050405020304" pitchFamily="18" charset="0"/>
                        </a:rPr>
                        <a:t>-          6 151 720 </a:t>
                      </a:r>
                      <a:endParaRPr lang="en-ZA" sz="1300" dirty="0">
                        <a:effectLst/>
                        <a:latin typeface="Arial" panose="020B0604020202020204" pitchFamily="34"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1780773"/>
                  </a:ext>
                </a:extLst>
              </a:tr>
            </a:tbl>
          </a:graphicData>
        </a:graphic>
      </p:graphicFrame>
      <p:sp>
        <p:nvSpPr>
          <p:cNvPr id="6" name="Slide Number Placeholder 1"/>
          <p:cNvSpPr>
            <a:spLocks noGrp="1"/>
          </p:cNvSpPr>
          <p:nvPr>
            <p:ph type="sldNum" sz="quarter" idx="4"/>
          </p:nvPr>
        </p:nvSpPr>
        <p:spPr>
          <a:xfrm>
            <a:off x="9793297" y="0"/>
            <a:ext cx="2844800" cy="32703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Tree>
    <p:extLst>
      <p:ext uri="{BB962C8B-B14F-4D97-AF65-F5344CB8AC3E}">
        <p14:creationId xmlns:p14="http://schemas.microsoft.com/office/powerpoint/2010/main" xmlns="" val="5688207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0" tIns="45720" rIns="0" bIns="45720" numCol="1" anchor="ctr" anchorCtr="0" compatLnSpc="1">
            <a:prstTxWarp prst="textNoShape">
              <a:avLst/>
            </a:prstTxWarp>
          </a:bodyPr>
          <a:lstStyle/>
          <a:p>
            <a:r>
              <a:rPr lang="en-US" dirty="0">
                <a:solidFill>
                  <a:schemeClr val="accent1"/>
                </a:solidFill>
              </a:rPr>
              <a:t>Strategic Approach to addressing PetroSA Commercial sustainability</a:t>
            </a:r>
            <a:endParaRPr lang="en-ZA" dirty="0">
              <a:solidFill>
                <a:schemeClr val="accent1"/>
              </a:solidFill>
            </a:endParaRPr>
          </a:p>
        </p:txBody>
      </p:sp>
      <p:sp>
        <p:nvSpPr>
          <p:cNvPr id="3" name="Content Placeholder 2"/>
          <p:cNvSpPr>
            <a:spLocks noGrp="1"/>
          </p:cNvSpPr>
          <p:nvPr>
            <p:ph sz="half" idx="1"/>
          </p:nvPr>
        </p:nvSpPr>
        <p:spPr>
          <a:xfrm>
            <a:off x="434440" y="1185616"/>
            <a:ext cx="5291142" cy="4808095"/>
          </a:xfrm>
          <a:ln>
            <a:solidFill>
              <a:schemeClr val="bg1">
                <a:lumMod val="85000"/>
              </a:schemeClr>
            </a:solidFill>
          </a:ln>
        </p:spPr>
        <p:txBody>
          <a:bodyPr/>
          <a:lstStyle/>
          <a:p>
            <a:r>
              <a:rPr lang="en-US" sz="2000" b="0" dirty="0"/>
              <a:t>To address the PetroSA challenges in a focused manner a </a:t>
            </a:r>
            <a:r>
              <a:rPr lang="en-US" sz="2000" i="1" dirty="0">
                <a:solidFill>
                  <a:schemeClr val="accent1"/>
                </a:solidFill>
              </a:rPr>
              <a:t>PetroSA WAR-ROOM </a:t>
            </a:r>
            <a:r>
              <a:rPr lang="en-US" sz="2000" b="0" dirty="0"/>
              <a:t>has been established in </a:t>
            </a:r>
            <a:r>
              <a:rPr lang="en-US" sz="2000" i="1" dirty="0">
                <a:solidFill>
                  <a:schemeClr val="accent1"/>
                </a:solidFill>
              </a:rPr>
              <a:t>June 2021 </a:t>
            </a:r>
            <a:r>
              <a:rPr lang="en-US" sz="2000" b="0" dirty="0"/>
              <a:t>with the following objectives:</a:t>
            </a:r>
          </a:p>
          <a:p>
            <a:pPr marL="534987" lvl="1" indent="-342900">
              <a:lnSpc>
                <a:spcPct val="150000"/>
              </a:lnSpc>
              <a:buFont typeface="+mj-lt"/>
              <a:buAutoNum type="arabicPeriod"/>
            </a:pPr>
            <a:r>
              <a:rPr lang="en-US" sz="1600" dirty="0"/>
              <a:t>Coordination of strategic interventions</a:t>
            </a:r>
          </a:p>
          <a:p>
            <a:pPr marL="534987" lvl="1" indent="-342900">
              <a:lnSpc>
                <a:spcPct val="150000"/>
              </a:lnSpc>
              <a:buFont typeface="+mj-lt"/>
              <a:buAutoNum type="arabicPeriod"/>
            </a:pPr>
            <a:r>
              <a:rPr lang="en-US" sz="1600" dirty="0"/>
              <a:t>Improve Accountability and key decision making</a:t>
            </a:r>
          </a:p>
          <a:p>
            <a:pPr marL="534987" lvl="1" indent="-342900">
              <a:lnSpc>
                <a:spcPct val="150000"/>
              </a:lnSpc>
              <a:buFont typeface="+mj-lt"/>
              <a:buAutoNum type="arabicPeriod"/>
            </a:pPr>
            <a:r>
              <a:rPr lang="en-US" sz="1600" dirty="0"/>
              <a:t>Strengthen oversight monitoring and evaluation</a:t>
            </a:r>
          </a:p>
          <a:p>
            <a:pPr marL="534987" lvl="1" indent="-342900">
              <a:lnSpc>
                <a:spcPct val="150000"/>
              </a:lnSpc>
              <a:buFont typeface="+mj-lt"/>
              <a:buAutoNum type="arabicPeriod"/>
            </a:pPr>
            <a:r>
              <a:rPr lang="en-US" sz="1600" dirty="0"/>
              <a:t>Effective resource mobilization &amp; technical  across the CEF Group</a:t>
            </a:r>
          </a:p>
          <a:p>
            <a:pPr marL="534987" lvl="1" indent="-342900">
              <a:lnSpc>
                <a:spcPct val="150000"/>
              </a:lnSpc>
              <a:buFont typeface="+mj-lt"/>
              <a:buAutoNum type="arabicPeriod"/>
            </a:pPr>
            <a:r>
              <a:rPr lang="en-US" sz="1600" dirty="0"/>
              <a:t>Stem the financial bleeding &amp; organizational moral</a:t>
            </a:r>
          </a:p>
          <a:p>
            <a:pPr marL="534987" lvl="1" indent="-342900">
              <a:lnSpc>
                <a:spcPct val="150000"/>
              </a:lnSpc>
              <a:buFont typeface="+mj-lt"/>
              <a:buAutoNum type="arabicPeriod"/>
            </a:pPr>
            <a:r>
              <a:rPr lang="en-US" sz="1600" dirty="0"/>
              <a:t>Operational improvements and synergy optimization</a:t>
            </a:r>
          </a:p>
          <a:p>
            <a:pPr marL="534987" lvl="1" indent="-342900">
              <a:lnSpc>
                <a:spcPct val="150000"/>
              </a:lnSpc>
              <a:buFont typeface="+mj-lt"/>
              <a:buAutoNum type="arabicPeriod"/>
            </a:pPr>
            <a:r>
              <a:rPr lang="en-US" sz="1600" dirty="0"/>
              <a:t>Fast track key initiatives</a:t>
            </a:r>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grpSp>
        <p:nvGrpSpPr>
          <p:cNvPr id="6" name="Group 5"/>
          <p:cNvGrpSpPr/>
          <p:nvPr/>
        </p:nvGrpSpPr>
        <p:grpSpPr>
          <a:xfrm>
            <a:off x="5849180" y="1443453"/>
            <a:ext cx="6678706" cy="4717549"/>
            <a:chOff x="1395856" y="1983581"/>
            <a:chExt cx="6248887" cy="4413945"/>
          </a:xfrm>
        </p:grpSpPr>
        <p:grpSp>
          <p:nvGrpSpPr>
            <p:cNvPr id="7" name="Group 6"/>
            <p:cNvGrpSpPr/>
            <p:nvPr/>
          </p:nvGrpSpPr>
          <p:grpSpPr>
            <a:xfrm>
              <a:off x="5413105" y="2611107"/>
              <a:ext cx="2005281" cy="1243875"/>
              <a:chOff x="5413105" y="2611107"/>
              <a:chExt cx="2005281" cy="1243875"/>
            </a:xfrm>
          </p:grpSpPr>
          <p:grpSp>
            <p:nvGrpSpPr>
              <p:cNvPr id="74" name="Group 73"/>
              <p:cNvGrpSpPr/>
              <p:nvPr/>
            </p:nvGrpSpPr>
            <p:grpSpPr>
              <a:xfrm>
                <a:off x="5413105" y="2611107"/>
                <a:ext cx="1041617" cy="1042046"/>
                <a:chOff x="5413105" y="2611107"/>
                <a:chExt cx="1041617" cy="1042046"/>
              </a:xfrm>
            </p:grpSpPr>
            <p:sp>
              <p:nvSpPr>
                <p:cNvPr id="78" name="Freeform 77"/>
                <p:cNvSpPr/>
                <p:nvPr/>
              </p:nvSpPr>
              <p:spPr>
                <a:xfrm flipH="1">
                  <a:off x="5413105" y="2611107"/>
                  <a:ext cx="1041617"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8724 w 1542756"/>
                    <a:gd name="connsiteY22" fmla="*/ 1452996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8724 w 1542756"/>
                    <a:gd name="connsiteY22" fmla="*/ 1459107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8724 w 1542756"/>
                    <a:gd name="connsiteY22" fmla="*/ 1459107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52784" y="780165"/>
                        <a:pt x="1408346" y="786276"/>
                      </a:cubicBezTo>
                      <a:cubicBezTo>
                        <a:pt x="1482579" y="786276"/>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698836" y="1543391"/>
                      </a:lnTo>
                      <a:lnTo>
                        <a:pt x="677999" y="1527864"/>
                      </a:lnTo>
                      <a:cubicBezTo>
                        <a:pt x="662635" y="1506954"/>
                        <a:pt x="660707" y="1476844"/>
                        <a:pt x="678812" y="1453078"/>
                      </a:cubicBezTo>
                      <a:cubicBezTo>
                        <a:pt x="718896" y="1441147"/>
                        <a:pt x="748598" y="1387695"/>
                        <a:pt x="748307" y="1341623"/>
                      </a:cubicBezTo>
                      <a:cubicBezTo>
                        <a:pt x="741903" y="1271108"/>
                        <a:pt x="688072" y="1210186"/>
                        <a:pt x="603727" y="1213325"/>
                      </a:cubicBezTo>
                      <a:cubicBezTo>
                        <a:pt x="553497" y="1213325"/>
                        <a:pt x="464104" y="1254669"/>
                        <a:pt x="457825" y="1347735"/>
                      </a:cubicBezTo>
                      <a:cubicBezTo>
                        <a:pt x="464103" y="1395032"/>
                        <a:pt x="483852" y="1434791"/>
                        <a:pt x="528724" y="1459107"/>
                      </a:cubicBezTo>
                      <a:cubicBezTo>
                        <a:pt x="546429" y="1481161"/>
                        <a:pt x="547290" y="1508067"/>
                        <a:pt x="530889" y="1529038"/>
                      </a:cubicBezTo>
                      <a:lnTo>
                        <a:pt x="510900" y="1543391"/>
                      </a:lnTo>
                      <a:lnTo>
                        <a:pt x="0" y="1543391"/>
                      </a:lnTo>
                      <a:lnTo>
                        <a:pt x="0" y="1030456"/>
                      </a:lnTo>
                      <a:lnTo>
                        <a:pt x="14829" y="1009804"/>
                      </a:lnTo>
                      <a:cubicBezTo>
                        <a:pt x="35799" y="993403"/>
                        <a:pt x="65680" y="994346"/>
                        <a:pt x="87734" y="1012051"/>
                      </a:cubicBezTo>
                      <a:cubicBezTo>
                        <a:pt x="111887" y="1052135"/>
                        <a:pt x="158718" y="1081837"/>
                        <a:pt x="196131" y="1084601"/>
                      </a:cubicBezTo>
                      <a:cubicBezTo>
                        <a:pt x="297713" y="1084310"/>
                        <a:pt x="326977" y="986178"/>
                        <a:pt x="327486" y="936966"/>
                      </a:cubicBezTo>
                      <a:cubicBezTo>
                        <a:pt x="327996" y="887755"/>
                        <a:pt x="289055" y="786568"/>
                        <a:pt x="199188" y="789332"/>
                      </a:cubicBezTo>
                      <a:cubicBezTo>
                        <a:pt x="149044" y="782930"/>
                        <a:pt x="108831" y="821798"/>
                        <a:pt x="84678" y="861881"/>
                      </a:cubicBezTo>
                      <a:cubicBezTo>
                        <a:pt x="63967" y="876931"/>
                        <a:pt x="36912" y="878058"/>
                        <a:pt x="16002" y="862694"/>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82AB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nvGrpSpPr>
                <p:cNvPr id="79" name="Group 78"/>
                <p:cNvGrpSpPr/>
                <p:nvPr/>
              </p:nvGrpSpPr>
              <p:grpSpPr>
                <a:xfrm>
                  <a:off x="5896035" y="3011920"/>
                  <a:ext cx="279872" cy="279612"/>
                  <a:chOff x="6205385" y="3579904"/>
                  <a:chExt cx="260154" cy="262511"/>
                </a:xfrm>
                <a:solidFill>
                  <a:sysClr val="window" lastClr="FFFFFF"/>
                </a:solidFill>
              </p:grpSpPr>
              <p:sp>
                <p:nvSpPr>
                  <p:cNvPr id="80" name="Freeform 114"/>
                  <p:cNvSpPr>
                    <a:spLocks/>
                  </p:cNvSpPr>
                  <p:nvPr/>
                </p:nvSpPr>
                <p:spPr bwMode="auto">
                  <a:xfrm>
                    <a:off x="6310931" y="3686172"/>
                    <a:ext cx="47113" cy="49624"/>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Freeform 80"/>
                  <p:cNvSpPr/>
                  <p:nvPr/>
                </p:nvSpPr>
                <p:spPr>
                  <a:xfrm rot="18847983">
                    <a:off x="6204206" y="3581083"/>
                    <a:ext cx="262511" cy="260154"/>
                  </a:xfrm>
                  <a:custGeom>
                    <a:avLst/>
                    <a:gdLst>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85244 w 1764435"/>
                      <a:gd name="connsiteY14" fmla="*/ 1174052 h 1748555"/>
                      <a:gd name="connsiteX15" fmla="*/ 1515303 w 1764435"/>
                      <a:gd name="connsiteY15" fmla="*/ 1302217 h 1748555"/>
                      <a:gd name="connsiteX16" fmla="*/ 1598713 w 1764435"/>
                      <a:gd name="connsiteY16" fmla="*/ 1388190 h 1748555"/>
                      <a:gd name="connsiteX17" fmla="*/ 1382229 w 1764435"/>
                      <a:gd name="connsiteY17" fmla="*/ 1598220 h 1748555"/>
                      <a:gd name="connsiteX18" fmla="*/ 1300563 w 1764435"/>
                      <a:gd name="connsiteY18" fmla="*/ 1514045 h 1748555"/>
                      <a:gd name="connsiteX19" fmla="*/ 1293060 w 1764435"/>
                      <a:gd name="connsiteY19" fmla="*/ 1519388 h 1748555"/>
                      <a:gd name="connsiteX20" fmla="*/ 1017662 w 1764435"/>
                      <a:gd name="connsiteY20" fmla="*/ 1626826 h 1748555"/>
                      <a:gd name="connsiteX21" fmla="*/ 1010698 w 1764435"/>
                      <a:gd name="connsiteY21" fmla="*/ 1627387 h 1748555"/>
                      <a:gd name="connsiteX22" fmla="*/ 1010698 w 1764435"/>
                      <a:gd name="connsiteY22" fmla="*/ 1748555 h 1748555"/>
                      <a:gd name="connsiteX23" fmla="*/ 709074 w 1764435"/>
                      <a:gd name="connsiteY23" fmla="*/ 1748555 h 1748555"/>
                      <a:gd name="connsiteX24" fmla="*/ 709074 w 1764435"/>
                      <a:gd name="connsiteY24" fmla="*/ 1616932 h 1748555"/>
                      <a:gd name="connsiteX25" fmla="*/ 586066 w 1764435"/>
                      <a:gd name="connsiteY25" fmla="*/ 1578443 h 1748555"/>
                      <a:gd name="connsiteX26" fmla="*/ 454599 w 1764435"/>
                      <a:gd name="connsiteY26" fmla="*/ 1506700 h 1748555"/>
                      <a:gd name="connsiteX27" fmla="*/ 453656 w 1764435"/>
                      <a:gd name="connsiteY27" fmla="*/ 1505985 h 1748555"/>
                      <a:gd name="connsiteX28" fmla="*/ 365195 w 1764435"/>
                      <a:gd name="connsiteY28" fmla="*/ 1591809 h 1748555"/>
                      <a:gd name="connsiteX29" fmla="*/ 155165 w 1764435"/>
                      <a:gd name="connsiteY29" fmla="*/ 1375325 h 1748555"/>
                      <a:gd name="connsiteX30" fmla="*/ 243279 w 1764435"/>
                      <a:gd name="connsiteY30" fmla="*/ 1289839 h 1748555"/>
                      <a:gd name="connsiteX31" fmla="*/ 240729 w 1764435"/>
                      <a:gd name="connsiteY31" fmla="*/ 1286259 h 1748555"/>
                      <a:gd name="connsiteX32" fmla="*/ 157582 w 1764435"/>
                      <a:gd name="connsiteY32" fmla="*/ 1109045 h 1748555"/>
                      <a:gd name="connsiteX33" fmla="*/ 136311 w 1764435"/>
                      <a:gd name="connsiteY33" fmla="*/ 1024161 h 1748555"/>
                      <a:gd name="connsiteX34" fmla="*/ 0 w 1764435"/>
                      <a:gd name="connsiteY34" fmla="*/ 1017916 h 1748555"/>
                      <a:gd name="connsiteX35" fmla="*/ 13805 w 1764435"/>
                      <a:gd name="connsiteY35" fmla="*/ 716607 h 1748555"/>
                      <a:gd name="connsiteX36" fmla="*/ 137591 w 1764435"/>
                      <a:gd name="connsiteY36" fmla="*/ 722279 h 1748555"/>
                      <a:gd name="connsiteX37" fmla="*/ 160456 w 1764435"/>
                      <a:gd name="connsiteY37" fmla="*/ 635514 h 1748555"/>
                      <a:gd name="connsiteX38" fmla="*/ 197010 w 1764435"/>
                      <a:gd name="connsiteY38" fmla="*/ 545377 h 1748555"/>
                      <a:gd name="connsiteX39" fmla="*/ 255898 w 1764435"/>
                      <a:gd name="connsiteY39" fmla="*/ 446398 h 1748555"/>
                      <a:gd name="connsiteX40" fmla="*/ 155077 w 1764435"/>
                      <a:gd name="connsiteY40" fmla="*/ 342479 h 1748555"/>
                      <a:gd name="connsiteX41" fmla="*/ 371560 w 1764435"/>
                      <a:gd name="connsiteY41" fmla="*/ 132449 h 1748555"/>
                      <a:gd name="connsiteX42" fmla="*/ 471585 w 1764435"/>
                      <a:gd name="connsiteY42" fmla="*/ 235548 h 1748555"/>
                      <a:gd name="connsiteX43" fmla="*/ 473859 w 1764435"/>
                      <a:gd name="connsiteY43" fmla="*/ 233929 h 1748555"/>
                      <a:gd name="connsiteX44" fmla="*/ 607436 w 1764435"/>
                      <a:gd name="connsiteY44" fmla="*/ 166197 h 1748555"/>
                      <a:gd name="connsiteX45" fmla="*/ 738328 w 1764435"/>
                      <a:gd name="connsiteY45" fmla="*/ 129551 h 1748555"/>
                      <a:gd name="connsiteX46" fmla="*/ 738328 w 1764435"/>
                      <a:gd name="connsiteY46" fmla="*/ 0 h 1748555"/>
                      <a:gd name="connsiteX47" fmla="*/ 1039953 w 1764435"/>
                      <a:gd name="connsiteY47" fmla="*/ 0 h 1748555"/>
                      <a:gd name="connsiteX48" fmla="*/ 1039953 w 1764435"/>
                      <a:gd name="connsiteY48" fmla="*/ 130857 h 1748555"/>
                      <a:gd name="connsiteX49" fmla="*/ 1040298 w 1764435"/>
                      <a:gd name="connsiteY49" fmla="*/ 130895 h 1748555"/>
                      <a:gd name="connsiteX50" fmla="*/ 1312320 w 1764435"/>
                      <a:gd name="connsiteY50" fmla="*/ 246617 h 1748555"/>
                      <a:gd name="connsiteX51" fmla="*/ 1315821 w 1764435"/>
                      <a:gd name="connsiteY51" fmla="*/ 249273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586066 w 1764435"/>
                      <a:gd name="connsiteY24" fmla="*/ 1578443 h 1748555"/>
                      <a:gd name="connsiteX25" fmla="*/ 454599 w 1764435"/>
                      <a:gd name="connsiteY25" fmla="*/ 1506700 h 1748555"/>
                      <a:gd name="connsiteX26" fmla="*/ 453656 w 1764435"/>
                      <a:gd name="connsiteY26" fmla="*/ 1505985 h 1748555"/>
                      <a:gd name="connsiteX27" fmla="*/ 365195 w 1764435"/>
                      <a:gd name="connsiteY27" fmla="*/ 1591809 h 1748555"/>
                      <a:gd name="connsiteX28" fmla="*/ 155165 w 1764435"/>
                      <a:gd name="connsiteY28" fmla="*/ 1375325 h 1748555"/>
                      <a:gd name="connsiteX29" fmla="*/ 243279 w 1764435"/>
                      <a:gd name="connsiteY29" fmla="*/ 1289839 h 1748555"/>
                      <a:gd name="connsiteX30" fmla="*/ 240729 w 1764435"/>
                      <a:gd name="connsiteY30" fmla="*/ 1286259 h 1748555"/>
                      <a:gd name="connsiteX31" fmla="*/ 157582 w 1764435"/>
                      <a:gd name="connsiteY31" fmla="*/ 1109045 h 1748555"/>
                      <a:gd name="connsiteX32" fmla="*/ 136311 w 1764435"/>
                      <a:gd name="connsiteY32" fmla="*/ 1024161 h 1748555"/>
                      <a:gd name="connsiteX33" fmla="*/ 0 w 1764435"/>
                      <a:gd name="connsiteY33" fmla="*/ 1017916 h 1748555"/>
                      <a:gd name="connsiteX34" fmla="*/ 13805 w 1764435"/>
                      <a:gd name="connsiteY34" fmla="*/ 716607 h 1748555"/>
                      <a:gd name="connsiteX35" fmla="*/ 137591 w 1764435"/>
                      <a:gd name="connsiteY35" fmla="*/ 722279 h 1748555"/>
                      <a:gd name="connsiteX36" fmla="*/ 160456 w 1764435"/>
                      <a:gd name="connsiteY36" fmla="*/ 635514 h 1748555"/>
                      <a:gd name="connsiteX37" fmla="*/ 197010 w 1764435"/>
                      <a:gd name="connsiteY37" fmla="*/ 545377 h 1748555"/>
                      <a:gd name="connsiteX38" fmla="*/ 255898 w 1764435"/>
                      <a:gd name="connsiteY38" fmla="*/ 446398 h 1748555"/>
                      <a:gd name="connsiteX39" fmla="*/ 155077 w 1764435"/>
                      <a:gd name="connsiteY39" fmla="*/ 342479 h 1748555"/>
                      <a:gd name="connsiteX40" fmla="*/ 371560 w 1764435"/>
                      <a:gd name="connsiteY40" fmla="*/ 132449 h 1748555"/>
                      <a:gd name="connsiteX41" fmla="*/ 471585 w 1764435"/>
                      <a:gd name="connsiteY41" fmla="*/ 235548 h 1748555"/>
                      <a:gd name="connsiteX42" fmla="*/ 473859 w 1764435"/>
                      <a:gd name="connsiteY42" fmla="*/ 233929 h 1748555"/>
                      <a:gd name="connsiteX43" fmla="*/ 607436 w 1764435"/>
                      <a:gd name="connsiteY43" fmla="*/ 166197 h 1748555"/>
                      <a:gd name="connsiteX44" fmla="*/ 738328 w 1764435"/>
                      <a:gd name="connsiteY44" fmla="*/ 129551 h 1748555"/>
                      <a:gd name="connsiteX45" fmla="*/ 738328 w 1764435"/>
                      <a:gd name="connsiteY45" fmla="*/ 0 h 1748555"/>
                      <a:gd name="connsiteX46" fmla="*/ 1039953 w 1764435"/>
                      <a:gd name="connsiteY46" fmla="*/ 0 h 1748555"/>
                      <a:gd name="connsiteX47" fmla="*/ 1039953 w 1764435"/>
                      <a:gd name="connsiteY47" fmla="*/ 130857 h 1748555"/>
                      <a:gd name="connsiteX48" fmla="*/ 1040298 w 1764435"/>
                      <a:gd name="connsiteY48" fmla="*/ 130895 h 1748555"/>
                      <a:gd name="connsiteX49" fmla="*/ 1312320 w 1764435"/>
                      <a:gd name="connsiteY49" fmla="*/ 246617 h 1748555"/>
                      <a:gd name="connsiteX50" fmla="*/ 1315821 w 1764435"/>
                      <a:gd name="connsiteY50" fmla="*/ 249273 h 1748555"/>
                      <a:gd name="connsiteX51" fmla="*/ 1390262 w 1764435"/>
                      <a:gd name="connsiteY51"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586066 w 1764435"/>
                      <a:gd name="connsiteY24" fmla="*/ 1578443 h 1748555"/>
                      <a:gd name="connsiteX25" fmla="*/ 454599 w 1764435"/>
                      <a:gd name="connsiteY25" fmla="*/ 1506700 h 1748555"/>
                      <a:gd name="connsiteX26" fmla="*/ 453656 w 1764435"/>
                      <a:gd name="connsiteY26" fmla="*/ 1505985 h 1748555"/>
                      <a:gd name="connsiteX27" fmla="*/ 365195 w 1764435"/>
                      <a:gd name="connsiteY27" fmla="*/ 1591809 h 1748555"/>
                      <a:gd name="connsiteX28" fmla="*/ 155165 w 1764435"/>
                      <a:gd name="connsiteY28" fmla="*/ 1375325 h 1748555"/>
                      <a:gd name="connsiteX29" fmla="*/ 243279 w 1764435"/>
                      <a:gd name="connsiteY29" fmla="*/ 1289839 h 1748555"/>
                      <a:gd name="connsiteX30" fmla="*/ 240729 w 1764435"/>
                      <a:gd name="connsiteY30" fmla="*/ 1286259 h 1748555"/>
                      <a:gd name="connsiteX31" fmla="*/ 157582 w 1764435"/>
                      <a:gd name="connsiteY31" fmla="*/ 1109045 h 1748555"/>
                      <a:gd name="connsiteX32" fmla="*/ 136311 w 1764435"/>
                      <a:gd name="connsiteY32" fmla="*/ 1024161 h 1748555"/>
                      <a:gd name="connsiteX33" fmla="*/ 0 w 1764435"/>
                      <a:gd name="connsiteY33" fmla="*/ 1017916 h 1748555"/>
                      <a:gd name="connsiteX34" fmla="*/ 13805 w 1764435"/>
                      <a:gd name="connsiteY34" fmla="*/ 716607 h 1748555"/>
                      <a:gd name="connsiteX35" fmla="*/ 137591 w 1764435"/>
                      <a:gd name="connsiteY35" fmla="*/ 722279 h 1748555"/>
                      <a:gd name="connsiteX36" fmla="*/ 160456 w 1764435"/>
                      <a:gd name="connsiteY36" fmla="*/ 635514 h 1748555"/>
                      <a:gd name="connsiteX37" fmla="*/ 197010 w 1764435"/>
                      <a:gd name="connsiteY37" fmla="*/ 545377 h 1748555"/>
                      <a:gd name="connsiteX38" fmla="*/ 255898 w 1764435"/>
                      <a:gd name="connsiteY38" fmla="*/ 446398 h 1748555"/>
                      <a:gd name="connsiteX39" fmla="*/ 155077 w 1764435"/>
                      <a:gd name="connsiteY39" fmla="*/ 342479 h 1748555"/>
                      <a:gd name="connsiteX40" fmla="*/ 371560 w 1764435"/>
                      <a:gd name="connsiteY40" fmla="*/ 132449 h 1748555"/>
                      <a:gd name="connsiteX41" fmla="*/ 471585 w 1764435"/>
                      <a:gd name="connsiteY41" fmla="*/ 235548 h 1748555"/>
                      <a:gd name="connsiteX42" fmla="*/ 473859 w 1764435"/>
                      <a:gd name="connsiteY42" fmla="*/ 233929 h 1748555"/>
                      <a:gd name="connsiteX43" fmla="*/ 607436 w 1764435"/>
                      <a:gd name="connsiteY43" fmla="*/ 166197 h 1748555"/>
                      <a:gd name="connsiteX44" fmla="*/ 738328 w 1764435"/>
                      <a:gd name="connsiteY44" fmla="*/ 129551 h 1748555"/>
                      <a:gd name="connsiteX45" fmla="*/ 738328 w 1764435"/>
                      <a:gd name="connsiteY45" fmla="*/ 0 h 1748555"/>
                      <a:gd name="connsiteX46" fmla="*/ 1039953 w 1764435"/>
                      <a:gd name="connsiteY46" fmla="*/ 0 h 1748555"/>
                      <a:gd name="connsiteX47" fmla="*/ 1039953 w 1764435"/>
                      <a:gd name="connsiteY47" fmla="*/ 130857 h 1748555"/>
                      <a:gd name="connsiteX48" fmla="*/ 1040298 w 1764435"/>
                      <a:gd name="connsiteY48" fmla="*/ 130895 h 1748555"/>
                      <a:gd name="connsiteX49" fmla="*/ 1312320 w 1764435"/>
                      <a:gd name="connsiteY49" fmla="*/ 246617 h 1748555"/>
                      <a:gd name="connsiteX50" fmla="*/ 1315821 w 1764435"/>
                      <a:gd name="connsiteY50" fmla="*/ 249273 h 1748555"/>
                      <a:gd name="connsiteX51" fmla="*/ 1390262 w 1764435"/>
                      <a:gd name="connsiteY51"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586066 w 1764435"/>
                      <a:gd name="connsiteY24" fmla="*/ 1578443 h 1748555"/>
                      <a:gd name="connsiteX25" fmla="*/ 454599 w 1764435"/>
                      <a:gd name="connsiteY25" fmla="*/ 1506700 h 1748555"/>
                      <a:gd name="connsiteX26" fmla="*/ 453656 w 1764435"/>
                      <a:gd name="connsiteY26" fmla="*/ 1505985 h 1748555"/>
                      <a:gd name="connsiteX27" fmla="*/ 365195 w 1764435"/>
                      <a:gd name="connsiteY27" fmla="*/ 1591809 h 1748555"/>
                      <a:gd name="connsiteX28" fmla="*/ 155165 w 1764435"/>
                      <a:gd name="connsiteY28" fmla="*/ 1375325 h 1748555"/>
                      <a:gd name="connsiteX29" fmla="*/ 243279 w 1764435"/>
                      <a:gd name="connsiteY29" fmla="*/ 1289839 h 1748555"/>
                      <a:gd name="connsiteX30" fmla="*/ 240729 w 1764435"/>
                      <a:gd name="connsiteY30" fmla="*/ 1286259 h 1748555"/>
                      <a:gd name="connsiteX31" fmla="*/ 157582 w 1764435"/>
                      <a:gd name="connsiteY31" fmla="*/ 1109045 h 1748555"/>
                      <a:gd name="connsiteX32" fmla="*/ 136311 w 1764435"/>
                      <a:gd name="connsiteY32" fmla="*/ 1024161 h 1748555"/>
                      <a:gd name="connsiteX33" fmla="*/ 0 w 1764435"/>
                      <a:gd name="connsiteY33" fmla="*/ 1017916 h 1748555"/>
                      <a:gd name="connsiteX34" fmla="*/ 13805 w 1764435"/>
                      <a:gd name="connsiteY34" fmla="*/ 716607 h 1748555"/>
                      <a:gd name="connsiteX35" fmla="*/ 137591 w 1764435"/>
                      <a:gd name="connsiteY35" fmla="*/ 722279 h 1748555"/>
                      <a:gd name="connsiteX36" fmla="*/ 160456 w 1764435"/>
                      <a:gd name="connsiteY36" fmla="*/ 635514 h 1748555"/>
                      <a:gd name="connsiteX37" fmla="*/ 197010 w 1764435"/>
                      <a:gd name="connsiteY37" fmla="*/ 545377 h 1748555"/>
                      <a:gd name="connsiteX38" fmla="*/ 255898 w 1764435"/>
                      <a:gd name="connsiteY38" fmla="*/ 446398 h 1748555"/>
                      <a:gd name="connsiteX39" fmla="*/ 155077 w 1764435"/>
                      <a:gd name="connsiteY39" fmla="*/ 342479 h 1748555"/>
                      <a:gd name="connsiteX40" fmla="*/ 371560 w 1764435"/>
                      <a:gd name="connsiteY40" fmla="*/ 132449 h 1748555"/>
                      <a:gd name="connsiteX41" fmla="*/ 471585 w 1764435"/>
                      <a:gd name="connsiteY41" fmla="*/ 235548 h 1748555"/>
                      <a:gd name="connsiteX42" fmla="*/ 473859 w 1764435"/>
                      <a:gd name="connsiteY42" fmla="*/ 233929 h 1748555"/>
                      <a:gd name="connsiteX43" fmla="*/ 607436 w 1764435"/>
                      <a:gd name="connsiteY43" fmla="*/ 166197 h 1748555"/>
                      <a:gd name="connsiteX44" fmla="*/ 738328 w 1764435"/>
                      <a:gd name="connsiteY44" fmla="*/ 129551 h 1748555"/>
                      <a:gd name="connsiteX45" fmla="*/ 738328 w 1764435"/>
                      <a:gd name="connsiteY45" fmla="*/ 0 h 1748555"/>
                      <a:gd name="connsiteX46" fmla="*/ 1039953 w 1764435"/>
                      <a:gd name="connsiteY46" fmla="*/ 0 h 1748555"/>
                      <a:gd name="connsiteX47" fmla="*/ 1039953 w 1764435"/>
                      <a:gd name="connsiteY47" fmla="*/ 130857 h 1748555"/>
                      <a:gd name="connsiteX48" fmla="*/ 1040298 w 1764435"/>
                      <a:gd name="connsiteY48" fmla="*/ 130895 h 1748555"/>
                      <a:gd name="connsiteX49" fmla="*/ 1312320 w 1764435"/>
                      <a:gd name="connsiteY49" fmla="*/ 246617 h 1748555"/>
                      <a:gd name="connsiteX50" fmla="*/ 1315821 w 1764435"/>
                      <a:gd name="connsiteY50" fmla="*/ 249273 h 1748555"/>
                      <a:gd name="connsiteX51" fmla="*/ 1390262 w 1764435"/>
                      <a:gd name="connsiteY51"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586066 w 1764435"/>
                      <a:gd name="connsiteY24" fmla="*/ 1578443 h 1748555"/>
                      <a:gd name="connsiteX25" fmla="*/ 454599 w 1764435"/>
                      <a:gd name="connsiteY25" fmla="*/ 1506700 h 1748555"/>
                      <a:gd name="connsiteX26" fmla="*/ 453656 w 1764435"/>
                      <a:gd name="connsiteY26" fmla="*/ 1505985 h 1748555"/>
                      <a:gd name="connsiteX27" fmla="*/ 365195 w 1764435"/>
                      <a:gd name="connsiteY27" fmla="*/ 1591809 h 1748555"/>
                      <a:gd name="connsiteX28" fmla="*/ 155165 w 1764435"/>
                      <a:gd name="connsiteY28" fmla="*/ 1375325 h 1748555"/>
                      <a:gd name="connsiteX29" fmla="*/ 243279 w 1764435"/>
                      <a:gd name="connsiteY29" fmla="*/ 1289839 h 1748555"/>
                      <a:gd name="connsiteX30" fmla="*/ 240729 w 1764435"/>
                      <a:gd name="connsiteY30" fmla="*/ 1286259 h 1748555"/>
                      <a:gd name="connsiteX31" fmla="*/ 157582 w 1764435"/>
                      <a:gd name="connsiteY31" fmla="*/ 1109045 h 1748555"/>
                      <a:gd name="connsiteX32" fmla="*/ 136311 w 1764435"/>
                      <a:gd name="connsiteY32" fmla="*/ 1024161 h 1748555"/>
                      <a:gd name="connsiteX33" fmla="*/ 0 w 1764435"/>
                      <a:gd name="connsiteY33" fmla="*/ 1017916 h 1748555"/>
                      <a:gd name="connsiteX34" fmla="*/ 13805 w 1764435"/>
                      <a:gd name="connsiteY34" fmla="*/ 716607 h 1748555"/>
                      <a:gd name="connsiteX35" fmla="*/ 137591 w 1764435"/>
                      <a:gd name="connsiteY35" fmla="*/ 722279 h 1748555"/>
                      <a:gd name="connsiteX36" fmla="*/ 160456 w 1764435"/>
                      <a:gd name="connsiteY36" fmla="*/ 635514 h 1748555"/>
                      <a:gd name="connsiteX37" fmla="*/ 197010 w 1764435"/>
                      <a:gd name="connsiteY37" fmla="*/ 545377 h 1748555"/>
                      <a:gd name="connsiteX38" fmla="*/ 255898 w 1764435"/>
                      <a:gd name="connsiteY38" fmla="*/ 446398 h 1748555"/>
                      <a:gd name="connsiteX39" fmla="*/ 155077 w 1764435"/>
                      <a:gd name="connsiteY39" fmla="*/ 342479 h 1748555"/>
                      <a:gd name="connsiteX40" fmla="*/ 371560 w 1764435"/>
                      <a:gd name="connsiteY40" fmla="*/ 132449 h 1748555"/>
                      <a:gd name="connsiteX41" fmla="*/ 471585 w 1764435"/>
                      <a:gd name="connsiteY41" fmla="*/ 235548 h 1748555"/>
                      <a:gd name="connsiteX42" fmla="*/ 473859 w 1764435"/>
                      <a:gd name="connsiteY42" fmla="*/ 233929 h 1748555"/>
                      <a:gd name="connsiteX43" fmla="*/ 607436 w 1764435"/>
                      <a:gd name="connsiteY43" fmla="*/ 166197 h 1748555"/>
                      <a:gd name="connsiteX44" fmla="*/ 738328 w 1764435"/>
                      <a:gd name="connsiteY44" fmla="*/ 129551 h 1748555"/>
                      <a:gd name="connsiteX45" fmla="*/ 738328 w 1764435"/>
                      <a:gd name="connsiteY45" fmla="*/ 0 h 1748555"/>
                      <a:gd name="connsiteX46" fmla="*/ 1039953 w 1764435"/>
                      <a:gd name="connsiteY46" fmla="*/ 0 h 1748555"/>
                      <a:gd name="connsiteX47" fmla="*/ 1039953 w 1764435"/>
                      <a:gd name="connsiteY47" fmla="*/ 130857 h 1748555"/>
                      <a:gd name="connsiteX48" fmla="*/ 1040298 w 1764435"/>
                      <a:gd name="connsiteY48" fmla="*/ 130895 h 1748555"/>
                      <a:gd name="connsiteX49" fmla="*/ 1312320 w 1764435"/>
                      <a:gd name="connsiteY49" fmla="*/ 246617 h 1748555"/>
                      <a:gd name="connsiteX50" fmla="*/ 1315821 w 1764435"/>
                      <a:gd name="connsiteY50" fmla="*/ 249273 h 1748555"/>
                      <a:gd name="connsiteX51" fmla="*/ 1390262 w 1764435"/>
                      <a:gd name="connsiteY51"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453656 w 1764435"/>
                      <a:gd name="connsiteY25" fmla="*/ 1505985 h 1748555"/>
                      <a:gd name="connsiteX26" fmla="*/ 365195 w 1764435"/>
                      <a:gd name="connsiteY26" fmla="*/ 1591809 h 1748555"/>
                      <a:gd name="connsiteX27" fmla="*/ 155165 w 1764435"/>
                      <a:gd name="connsiteY27" fmla="*/ 1375325 h 1748555"/>
                      <a:gd name="connsiteX28" fmla="*/ 243279 w 1764435"/>
                      <a:gd name="connsiteY28" fmla="*/ 1289839 h 1748555"/>
                      <a:gd name="connsiteX29" fmla="*/ 240729 w 1764435"/>
                      <a:gd name="connsiteY29" fmla="*/ 1286259 h 1748555"/>
                      <a:gd name="connsiteX30" fmla="*/ 157582 w 1764435"/>
                      <a:gd name="connsiteY30" fmla="*/ 1109045 h 1748555"/>
                      <a:gd name="connsiteX31" fmla="*/ 136311 w 1764435"/>
                      <a:gd name="connsiteY31" fmla="*/ 1024161 h 1748555"/>
                      <a:gd name="connsiteX32" fmla="*/ 0 w 1764435"/>
                      <a:gd name="connsiteY32" fmla="*/ 1017916 h 1748555"/>
                      <a:gd name="connsiteX33" fmla="*/ 13805 w 1764435"/>
                      <a:gd name="connsiteY33" fmla="*/ 716607 h 1748555"/>
                      <a:gd name="connsiteX34" fmla="*/ 137591 w 1764435"/>
                      <a:gd name="connsiteY34" fmla="*/ 722279 h 1748555"/>
                      <a:gd name="connsiteX35" fmla="*/ 160456 w 1764435"/>
                      <a:gd name="connsiteY35" fmla="*/ 635514 h 1748555"/>
                      <a:gd name="connsiteX36" fmla="*/ 197010 w 1764435"/>
                      <a:gd name="connsiteY36" fmla="*/ 545377 h 1748555"/>
                      <a:gd name="connsiteX37" fmla="*/ 255898 w 1764435"/>
                      <a:gd name="connsiteY37" fmla="*/ 446398 h 1748555"/>
                      <a:gd name="connsiteX38" fmla="*/ 155077 w 1764435"/>
                      <a:gd name="connsiteY38" fmla="*/ 342479 h 1748555"/>
                      <a:gd name="connsiteX39" fmla="*/ 371560 w 1764435"/>
                      <a:gd name="connsiteY39" fmla="*/ 132449 h 1748555"/>
                      <a:gd name="connsiteX40" fmla="*/ 471585 w 1764435"/>
                      <a:gd name="connsiteY40" fmla="*/ 235548 h 1748555"/>
                      <a:gd name="connsiteX41" fmla="*/ 473859 w 1764435"/>
                      <a:gd name="connsiteY41" fmla="*/ 233929 h 1748555"/>
                      <a:gd name="connsiteX42" fmla="*/ 607436 w 1764435"/>
                      <a:gd name="connsiteY42" fmla="*/ 166197 h 1748555"/>
                      <a:gd name="connsiteX43" fmla="*/ 738328 w 1764435"/>
                      <a:gd name="connsiteY43" fmla="*/ 129551 h 1748555"/>
                      <a:gd name="connsiteX44" fmla="*/ 738328 w 1764435"/>
                      <a:gd name="connsiteY44" fmla="*/ 0 h 1748555"/>
                      <a:gd name="connsiteX45" fmla="*/ 1039953 w 1764435"/>
                      <a:gd name="connsiteY45" fmla="*/ 0 h 1748555"/>
                      <a:gd name="connsiteX46" fmla="*/ 1039953 w 1764435"/>
                      <a:gd name="connsiteY46" fmla="*/ 130857 h 1748555"/>
                      <a:gd name="connsiteX47" fmla="*/ 1040298 w 1764435"/>
                      <a:gd name="connsiteY47" fmla="*/ 130895 h 1748555"/>
                      <a:gd name="connsiteX48" fmla="*/ 1312320 w 1764435"/>
                      <a:gd name="connsiteY48" fmla="*/ 246617 h 1748555"/>
                      <a:gd name="connsiteX49" fmla="*/ 1315821 w 1764435"/>
                      <a:gd name="connsiteY49" fmla="*/ 249273 h 1748555"/>
                      <a:gd name="connsiteX50" fmla="*/ 1390262 w 1764435"/>
                      <a:gd name="connsiteY50"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453656 w 1764435"/>
                      <a:gd name="connsiteY25" fmla="*/ 1505985 h 1748555"/>
                      <a:gd name="connsiteX26" fmla="*/ 365195 w 1764435"/>
                      <a:gd name="connsiteY26" fmla="*/ 1591809 h 1748555"/>
                      <a:gd name="connsiteX27" fmla="*/ 155165 w 1764435"/>
                      <a:gd name="connsiteY27" fmla="*/ 1375325 h 1748555"/>
                      <a:gd name="connsiteX28" fmla="*/ 243279 w 1764435"/>
                      <a:gd name="connsiteY28" fmla="*/ 1289839 h 1748555"/>
                      <a:gd name="connsiteX29" fmla="*/ 240729 w 1764435"/>
                      <a:gd name="connsiteY29" fmla="*/ 1286259 h 1748555"/>
                      <a:gd name="connsiteX30" fmla="*/ 157582 w 1764435"/>
                      <a:gd name="connsiteY30" fmla="*/ 1109045 h 1748555"/>
                      <a:gd name="connsiteX31" fmla="*/ 136311 w 1764435"/>
                      <a:gd name="connsiteY31" fmla="*/ 1024161 h 1748555"/>
                      <a:gd name="connsiteX32" fmla="*/ 0 w 1764435"/>
                      <a:gd name="connsiteY32" fmla="*/ 1017916 h 1748555"/>
                      <a:gd name="connsiteX33" fmla="*/ 13805 w 1764435"/>
                      <a:gd name="connsiteY33" fmla="*/ 716607 h 1748555"/>
                      <a:gd name="connsiteX34" fmla="*/ 137591 w 1764435"/>
                      <a:gd name="connsiteY34" fmla="*/ 722279 h 1748555"/>
                      <a:gd name="connsiteX35" fmla="*/ 160456 w 1764435"/>
                      <a:gd name="connsiteY35" fmla="*/ 635514 h 1748555"/>
                      <a:gd name="connsiteX36" fmla="*/ 197010 w 1764435"/>
                      <a:gd name="connsiteY36" fmla="*/ 545377 h 1748555"/>
                      <a:gd name="connsiteX37" fmla="*/ 255898 w 1764435"/>
                      <a:gd name="connsiteY37" fmla="*/ 446398 h 1748555"/>
                      <a:gd name="connsiteX38" fmla="*/ 155077 w 1764435"/>
                      <a:gd name="connsiteY38" fmla="*/ 342479 h 1748555"/>
                      <a:gd name="connsiteX39" fmla="*/ 371560 w 1764435"/>
                      <a:gd name="connsiteY39" fmla="*/ 132449 h 1748555"/>
                      <a:gd name="connsiteX40" fmla="*/ 471585 w 1764435"/>
                      <a:gd name="connsiteY40" fmla="*/ 235548 h 1748555"/>
                      <a:gd name="connsiteX41" fmla="*/ 473859 w 1764435"/>
                      <a:gd name="connsiteY41" fmla="*/ 233929 h 1748555"/>
                      <a:gd name="connsiteX42" fmla="*/ 607436 w 1764435"/>
                      <a:gd name="connsiteY42" fmla="*/ 166197 h 1748555"/>
                      <a:gd name="connsiteX43" fmla="*/ 738328 w 1764435"/>
                      <a:gd name="connsiteY43" fmla="*/ 129551 h 1748555"/>
                      <a:gd name="connsiteX44" fmla="*/ 738328 w 1764435"/>
                      <a:gd name="connsiteY44" fmla="*/ 0 h 1748555"/>
                      <a:gd name="connsiteX45" fmla="*/ 1039953 w 1764435"/>
                      <a:gd name="connsiteY45" fmla="*/ 0 h 1748555"/>
                      <a:gd name="connsiteX46" fmla="*/ 1039953 w 1764435"/>
                      <a:gd name="connsiteY46" fmla="*/ 130857 h 1748555"/>
                      <a:gd name="connsiteX47" fmla="*/ 1040298 w 1764435"/>
                      <a:gd name="connsiteY47" fmla="*/ 130895 h 1748555"/>
                      <a:gd name="connsiteX48" fmla="*/ 1312320 w 1764435"/>
                      <a:gd name="connsiteY48" fmla="*/ 246617 h 1748555"/>
                      <a:gd name="connsiteX49" fmla="*/ 1315821 w 1764435"/>
                      <a:gd name="connsiteY49" fmla="*/ 249273 h 1748555"/>
                      <a:gd name="connsiteX50" fmla="*/ 1390262 w 1764435"/>
                      <a:gd name="connsiteY50"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240729 w 1764435"/>
                      <a:gd name="connsiteY28" fmla="*/ 1286259 h 1748555"/>
                      <a:gd name="connsiteX29" fmla="*/ 157582 w 1764435"/>
                      <a:gd name="connsiteY29" fmla="*/ 1109045 h 1748555"/>
                      <a:gd name="connsiteX30" fmla="*/ 136311 w 1764435"/>
                      <a:gd name="connsiteY30" fmla="*/ 1024161 h 1748555"/>
                      <a:gd name="connsiteX31" fmla="*/ 0 w 1764435"/>
                      <a:gd name="connsiteY31" fmla="*/ 1017916 h 1748555"/>
                      <a:gd name="connsiteX32" fmla="*/ 13805 w 1764435"/>
                      <a:gd name="connsiteY32" fmla="*/ 716607 h 1748555"/>
                      <a:gd name="connsiteX33" fmla="*/ 137591 w 1764435"/>
                      <a:gd name="connsiteY33" fmla="*/ 722279 h 1748555"/>
                      <a:gd name="connsiteX34" fmla="*/ 160456 w 1764435"/>
                      <a:gd name="connsiteY34" fmla="*/ 635514 h 1748555"/>
                      <a:gd name="connsiteX35" fmla="*/ 197010 w 1764435"/>
                      <a:gd name="connsiteY35" fmla="*/ 545377 h 1748555"/>
                      <a:gd name="connsiteX36" fmla="*/ 255898 w 1764435"/>
                      <a:gd name="connsiteY36" fmla="*/ 446398 h 1748555"/>
                      <a:gd name="connsiteX37" fmla="*/ 155077 w 1764435"/>
                      <a:gd name="connsiteY37" fmla="*/ 342479 h 1748555"/>
                      <a:gd name="connsiteX38" fmla="*/ 371560 w 1764435"/>
                      <a:gd name="connsiteY38" fmla="*/ 132449 h 1748555"/>
                      <a:gd name="connsiteX39" fmla="*/ 471585 w 1764435"/>
                      <a:gd name="connsiteY39" fmla="*/ 235548 h 1748555"/>
                      <a:gd name="connsiteX40" fmla="*/ 473859 w 1764435"/>
                      <a:gd name="connsiteY40" fmla="*/ 233929 h 1748555"/>
                      <a:gd name="connsiteX41" fmla="*/ 607436 w 1764435"/>
                      <a:gd name="connsiteY41" fmla="*/ 166197 h 1748555"/>
                      <a:gd name="connsiteX42" fmla="*/ 738328 w 1764435"/>
                      <a:gd name="connsiteY42" fmla="*/ 129551 h 1748555"/>
                      <a:gd name="connsiteX43" fmla="*/ 738328 w 1764435"/>
                      <a:gd name="connsiteY43" fmla="*/ 0 h 1748555"/>
                      <a:gd name="connsiteX44" fmla="*/ 1039953 w 1764435"/>
                      <a:gd name="connsiteY44" fmla="*/ 0 h 1748555"/>
                      <a:gd name="connsiteX45" fmla="*/ 1039953 w 1764435"/>
                      <a:gd name="connsiteY45" fmla="*/ 130857 h 1748555"/>
                      <a:gd name="connsiteX46" fmla="*/ 1040298 w 1764435"/>
                      <a:gd name="connsiteY46" fmla="*/ 130895 h 1748555"/>
                      <a:gd name="connsiteX47" fmla="*/ 1312320 w 1764435"/>
                      <a:gd name="connsiteY47" fmla="*/ 246617 h 1748555"/>
                      <a:gd name="connsiteX48" fmla="*/ 1315821 w 1764435"/>
                      <a:gd name="connsiteY48" fmla="*/ 249273 h 1748555"/>
                      <a:gd name="connsiteX49" fmla="*/ 1390262 w 1764435"/>
                      <a:gd name="connsiteY49"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240729 w 1764435"/>
                      <a:gd name="connsiteY28" fmla="*/ 1286259 h 1748555"/>
                      <a:gd name="connsiteX29" fmla="*/ 157582 w 1764435"/>
                      <a:gd name="connsiteY29" fmla="*/ 1109045 h 1748555"/>
                      <a:gd name="connsiteX30" fmla="*/ 136311 w 1764435"/>
                      <a:gd name="connsiteY30" fmla="*/ 1024161 h 1748555"/>
                      <a:gd name="connsiteX31" fmla="*/ 0 w 1764435"/>
                      <a:gd name="connsiteY31" fmla="*/ 1017916 h 1748555"/>
                      <a:gd name="connsiteX32" fmla="*/ 13805 w 1764435"/>
                      <a:gd name="connsiteY32" fmla="*/ 716607 h 1748555"/>
                      <a:gd name="connsiteX33" fmla="*/ 137591 w 1764435"/>
                      <a:gd name="connsiteY33" fmla="*/ 722279 h 1748555"/>
                      <a:gd name="connsiteX34" fmla="*/ 160456 w 1764435"/>
                      <a:gd name="connsiteY34" fmla="*/ 635514 h 1748555"/>
                      <a:gd name="connsiteX35" fmla="*/ 197010 w 1764435"/>
                      <a:gd name="connsiteY35" fmla="*/ 545377 h 1748555"/>
                      <a:gd name="connsiteX36" fmla="*/ 255898 w 1764435"/>
                      <a:gd name="connsiteY36" fmla="*/ 446398 h 1748555"/>
                      <a:gd name="connsiteX37" fmla="*/ 155077 w 1764435"/>
                      <a:gd name="connsiteY37" fmla="*/ 342479 h 1748555"/>
                      <a:gd name="connsiteX38" fmla="*/ 371560 w 1764435"/>
                      <a:gd name="connsiteY38" fmla="*/ 132449 h 1748555"/>
                      <a:gd name="connsiteX39" fmla="*/ 471585 w 1764435"/>
                      <a:gd name="connsiteY39" fmla="*/ 235548 h 1748555"/>
                      <a:gd name="connsiteX40" fmla="*/ 473859 w 1764435"/>
                      <a:gd name="connsiteY40" fmla="*/ 233929 h 1748555"/>
                      <a:gd name="connsiteX41" fmla="*/ 607436 w 1764435"/>
                      <a:gd name="connsiteY41" fmla="*/ 166197 h 1748555"/>
                      <a:gd name="connsiteX42" fmla="*/ 738328 w 1764435"/>
                      <a:gd name="connsiteY42" fmla="*/ 129551 h 1748555"/>
                      <a:gd name="connsiteX43" fmla="*/ 738328 w 1764435"/>
                      <a:gd name="connsiteY43" fmla="*/ 0 h 1748555"/>
                      <a:gd name="connsiteX44" fmla="*/ 1039953 w 1764435"/>
                      <a:gd name="connsiteY44" fmla="*/ 0 h 1748555"/>
                      <a:gd name="connsiteX45" fmla="*/ 1039953 w 1764435"/>
                      <a:gd name="connsiteY45" fmla="*/ 130857 h 1748555"/>
                      <a:gd name="connsiteX46" fmla="*/ 1040298 w 1764435"/>
                      <a:gd name="connsiteY46" fmla="*/ 130895 h 1748555"/>
                      <a:gd name="connsiteX47" fmla="*/ 1312320 w 1764435"/>
                      <a:gd name="connsiteY47" fmla="*/ 246617 h 1748555"/>
                      <a:gd name="connsiteX48" fmla="*/ 1315821 w 1764435"/>
                      <a:gd name="connsiteY48" fmla="*/ 249273 h 1748555"/>
                      <a:gd name="connsiteX49" fmla="*/ 1390262 w 1764435"/>
                      <a:gd name="connsiteY49"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240729 w 1764435"/>
                      <a:gd name="connsiteY28" fmla="*/ 1286259 h 1748555"/>
                      <a:gd name="connsiteX29" fmla="*/ 157582 w 1764435"/>
                      <a:gd name="connsiteY29" fmla="*/ 1109045 h 1748555"/>
                      <a:gd name="connsiteX30" fmla="*/ 136311 w 1764435"/>
                      <a:gd name="connsiteY30" fmla="*/ 1024161 h 1748555"/>
                      <a:gd name="connsiteX31" fmla="*/ 0 w 1764435"/>
                      <a:gd name="connsiteY31" fmla="*/ 1017916 h 1748555"/>
                      <a:gd name="connsiteX32" fmla="*/ 13805 w 1764435"/>
                      <a:gd name="connsiteY32" fmla="*/ 716607 h 1748555"/>
                      <a:gd name="connsiteX33" fmla="*/ 137591 w 1764435"/>
                      <a:gd name="connsiteY33" fmla="*/ 722279 h 1748555"/>
                      <a:gd name="connsiteX34" fmla="*/ 160456 w 1764435"/>
                      <a:gd name="connsiteY34" fmla="*/ 635514 h 1748555"/>
                      <a:gd name="connsiteX35" fmla="*/ 197010 w 1764435"/>
                      <a:gd name="connsiteY35" fmla="*/ 545377 h 1748555"/>
                      <a:gd name="connsiteX36" fmla="*/ 255898 w 1764435"/>
                      <a:gd name="connsiteY36" fmla="*/ 446398 h 1748555"/>
                      <a:gd name="connsiteX37" fmla="*/ 155077 w 1764435"/>
                      <a:gd name="connsiteY37" fmla="*/ 342479 h 1748555"/>
                      <a:gd name="connsiteX38" fmla="*/ 371560 w 1764435"/>
                      <a:gd name="connsiteY38" fmla="*/ 132449 h 1748555"/>
                      <a:gd name="connsiteX39" fmla="*/ 471585 w 1764435"/>
                      <a:gd name="connsiteY39" fmla="*/ 235548 h 1748555"/>
                      <a:gd name="connsiteX40" fmla="*/ 473859 w 1764435"/>
                      <a:gd name="connsiteY40" fmla="*/ 233929 h 1748555"/>
                      <a:gd name="connsiteX41" fmla="*/ 607436 w 1764435"/>
                      <a:gd name="connsiteY41" fmla="*/ 166197 h 1748555"/>
                      <a:gd name="connsiteX42" fmla="*/ 738328 w 1764435"/>
                      <a:gd name="connsiteY42" fmla="*/ 129551 h 1748555"/>
                      <a:gd name="connsiteX43" fmla="*/ 738328 w 1764435"/>
                      <a:gd name="connsiteY43" fmla="*/ 0 h 1748555"/>
                      <a:gd name="connsiteX44" fmla="*/ 1039953 w 1764435"/>
                      <a:gd name="connsiteY44" fmla="*/ 0 h 1748555"/>
                      <a:gd name="connsiteX45" fmla="*/ 1039953 w 1764435"/>
                      <a:gd name="connsiteY45" fmla="*/ 130857 h 1748555"/>
                      <a:gd name="connsiteX46" fmla="*/ 1040298 w 1764435"/>
                      <a:gd name="connsiteY46" fmla="*/ 130895 h 1748555"/>
                      <a:gd name="connsiteX47" fmla="*/ 1312320 w 1764435"/>
                      <a:gd name="connsiteY47" fmla="*/ 246617 h 1748555"/>
                      <a:gd name="connsiteX48" fmla="*/ 1315821 w 1764435"/>
                      <a:gd name="connsiteY48" fmla="*/ 249273 h 1748555"/>
                      <a:gd name="connsiteX49" fmla="*/ 1390262 w 1764435"/>
                      <a:gd name="connsiteY49"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240729 w 1764435"/>
                      <a:gd name="connsiteY28" fmla="*/ 1286259 h 1748555"/>
                      <a:gd name="connsiteX29" fmla="*/ 157582 w 1764435"/>
                      <a:gd name="connsiteY29" fmla="*/ 1109045 h 1748555"/>
                      <a:gd name="connsiteX30" fmla="*/ 136311 w 1764435"/>
                      <a:gd name="connsiteY30" fmla="*/ 1024161 h 1748555"/>
                      <a:gd name="connsiteX31" fmla="*/ 0 w 1764435"/>
                      <a:gd name="connsiteY31" fmla="*/ 1017916 h 1748555"/>
                      <a:gd name="connsiteX32" fmla="*/ 13805 w 1764435"/>
                      <a:gd name="connsiteY32" fmla="*/ 716607 h 1748555"/>
                      <a:gd name="connsiteX33" fmla="*/ 137591 w 1764435"/>
                      <a:gd name="connsiteY33" fmla="*/ 722279 h 1748555"/>
                      <a:gd name="connsiteX34" fmla="*/ 160456 w 1764435"/>
                      <a:gd name="connsiteY34" fmla="*/ 635514 h 1748555"/>
                      <a:gd name="connsiteX35" fmla="*/ 197010 w 1764435"/>
                      <a:gd name="connsiteY35" fmla="*/ 545377 h 1748555"/>
                      <a:gd name="connsiteX36" fmla="*/ 255898 w 1764435"/>
                      <a:gd name="connsiteY36" fmla="*/ 446398 h 1748555"/>
                      <a:gd name="connsiteX37" fmla="*/ 155077 w 1764435"/>
                      <a:gd name="connsiteY37" fmla="*/ 342479 h 1748555"/>
                      <a:gd name="connsiteX38" fmla="*/ 371560 w 1764435"/>
                      <a:gd name="connsiteY38" fmla="*/ 132449 h 1748555"/>
                      <a:gd name="connsiteX39" fmla="*/ 471585 w 1764435"/>
                      <a:gd name="connsiteY39" fmla="*/ 235548 h 1748555"/>
                      <a:gd name="connsiteX40" fmla="*/ 473859 w 1764435"/>
                      <a:gd name="connsiteY40" fmla="*/ 233929 h 1748555"/>
                      <a:gd name="connsiteX41" fmla="*/ 607436 w 1764435"/>
                      <a:gd name="connsiteY41" fmla="*/ 166197 h 1748555"/>
                      <a:gd name="connsiteX42" fmla="*/ 738328 w 1764435"/>
                      <a:gd name="connsiteY42" fmla="*/ 129551 h 1748555"/>
                      <a:gd name="connsiteX43" fmla="*/ 738328 w 1764435"/>
                      <a:gd name="connsiteY43" fmla="*/ 0 h 1748555"/>
                      <a:gd name="connsiteX44" fmla="*/ 1039953 w 1764435"/>
                      <a:gd name="connsiteY44" fmla="*/ 0 h 1748555"/>
                      <a:gd name="connsiteX45" fmla="*/ 1039953 w 1764435"/>
                      <a:gd name="connsiteY45" fmla="*/ 130857 h 1748555"/>
                      <a:gd name="connsiteX46" fmla="*/ 1040298 w 1764435"/>
                      <a:gd name="connsiteY46" fmla="*/ 130895 h 1748555"/>
                      <a:gd name="connsiteX47" fmla="*/ 1312320 w 1764435"/>
                      <a:gd name="connsiteY47" fmla="*/ 246617 h 1748555"/>
                      <a:gd name="connsiteX48" fmla="*/ 1315821 w 1764435"/>
                      <a:gd name="connsiteY48" fmla="*/ 249273 h 1748555"/>
                      <a:gd name="connsiteX49" fmla="*/ 1390262 w 1764435"/>
                      <a:gd name="connsiteY49"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240729 w 1764435"/>
                      <a:gd name="connsiteY28" fmla="*/ 1286259 h 1748555"/>
                      <a:gd name="connsiteX29" fmla="*/ 155203 w 1764435"/>
                      <a:gd name="connsiteY29" fmla="*/ 1113628 h 1748555"/>
                      <a:gd name="connsiteX30" fmla="*/ 136311 w 1764435"/>
                      <a:gd name="connsiteY30" fmla="*/ 1024161 h 1748555"/>
                      <a:gd name="connsiteX31" fmla="*/ 0 w 1764435"/>
                      <a:gd name="connsiteY31" fmla="*/ 1017916 h 1748555"/>
                      <a:gd name="connsiteX32" fmla="*/ 13805 w 1764435"/>
                      <a:gd name="connsiteY32" fmla="*/ 716607 h 1748555"/>
                      <a:gd name="connsiteX33" fmla="*/ 137591 w 1764435"/>
                      <a:gd name="connsiteY33" fmla="*/ 722279 h 1748555"/>
                      <a:gd name="connsiteX34" fmla="*/ 160456 w 1764435"/>
                      <a:gd name="connsiteY34" fmla="*/ 635514 h 1748555"/>
                      <a:gd name="connsiteX35" fmla="*/ 197010 w 1764435"/>
                      <a:gd name="connsiteY35" fmla="*/ 545377 h 1748555"/>
                      <a:gd name="connsiteX36" fmla="*/ 255898 w 1764435"/>
                      <a:gd name="connsiteY36" fmla="*/ 446398 h 1748555"/>
                      <a:gd name="connsiteX37" fmla="*/ 155077 w 1764435"/>
                      <a:gd name="connsiteY37" fmla="*/ 342479 h 1748555"/>
                      <a:gd name="connsiteX38" fmla="*/ 371560 w 1764435"/>
                      <a:gd name="connsiteY38" fmla="*/ 132449 h 1748555"/>
                      <a:gd name="connsiteX39" fmla="*/ 471585 w 1764435"/>
                      <a:gd name="connsiteY39" fmla="*/ 235548 h 1748555"/>
                      <a:gd name="connsiteX40" fmla="*/ 473859 w 1764435"/>
                      <a:gd name="connsiteY40" fmla="*/ 233929 h 1748555"/>
                      <a:gd name="connsiteX41" fmla="*/ 607436 w 1764435"/>
                      <a:gd name="connsiteY41" fmla="*/ 166197 h 1748555"/>
                      <a:gd name="connsiteX42" fmla="*/ 738328 w 1764435"/>
                      <a:gd name="connsiteY42" fmla="*/ 129551 h 1748555"/>
                      <a:gd name="connsiteX43" fmla="*/ 738328 w 1764435"/>
                      <a:gd name="connsiteY43" fmla="*/ 0 h 1748555"/>
                      <a:gd name="connsiteX44" fmla="*/ 1039953 w 1764435"/>
                      <a:gd name="connsiteY44" fmla="*/ 0 h 1748555"/>
                      <a:gd name="connsiteX45" fmla="*/ 1039953 w 1764435"/>
                      <a:gd name="connsiteY45" fmla="*/ 130857 h 1748555"/>
                      <a:gd name="connsiteX46" fmla="*/ 1040298 w 1764435"/>
                      <a:gd name="connsiteY46" fmla="*/ 130895 h 1748555"/>
                      <a:gd name="connsiteX47" fmla="*/ 1312320 w 1764435"/>
                      <a:gd name="connsiteY47" fmla="*/ 246617 h 1748555"/>
                      <a:gd name="connsiteX48" fmla="*/ 1315821 w 1764435"/>
                      <a:gd name="connsiteY48" fmla="*/ 249273 h 1748555"/>
                      <a:gd name="connsiteX49" fmla="*/ 1390262 w 1764435"/>
                      <a:gd name="connsiteY49"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240729 w 1764435"/>
                      <a:gd name="connsiteY28" fmla="*/ 1286259 h 1748555"/>
                      <a:gd name="connsiteX29" fmla="*/ 149448 w 1764435"/>
                      <a:gd name="connsiteY29" fmla="*/ 1112386 h 1748555"/>
                      <a:gd name="connsiteX30" fmla="*/ 136311 w 1764435"/>
                      <a:gd name="connsiteY30" fmla="*/ 1024161 h 1748555"/>
                      <a:gd name="connsiteX31" fmla="*/ 0 w 1764435"/>
                      <a:gd name="connsiteY31" fmla="*/ 1017916 h 1748555"/>
                      <a:gd name="connsiteX32" fmla="*/ 13805 w 1764435"/>
                      <a:gd name="connsiteY32" fmla="*/ 716607 h 1748555"/>
                      <a:gd name="connsiteX33" fmla="*/ 137591 w 1764435"/>
                      <a:gd name="connsiteY33" fmla="*/ 722279 h 1748555"/>
                      <a:gd name="connsiteX34" fmla="*/ 160456 w 1764435"/>
                      <a:gd name="connsiteY34" fmla="*/ 635514 h 1748555"/>
                      <a:gd name="connsiteX35" fmla="*/ 197010 w 1764435"/>
                      <a:gd name="connsiteY35" fmla="*/ 545377 h 1748555"/>
                      <a:gd name="connsiteX36" fmla="*/ 255898 w 1764435"/>
                      <a:gd name="connsiteY36" fmla="*/ 446398 h 1748555"/>
                      <a:gd name="connsiteX37" fmla="*/ 155077 w 1764435"/>
                      <a:gd name="connsiteY37" fmla="*/ 342479 h 1748555"/>
                      <a:gd name="connsiteX38" fmla="*/ 371560 w 1764435"/>
                      <a:gd name="connsiteY38" fmla="*/ 132449 h 1748555"/>
                      <a:gd name="connsiteX39" fmla="*/ 471585 w 1764435"/>
                      <a:gd name="connsiteY39" fmla="*/ 235548 h 1748555"/>
                      <a:gd name="connsiteX40" fmla="*/ 473859 w 1764435"/>
                      <a:gd name="connsiteY40" fmla="*/ 233929 h 1748555"/>
                      <a:gd name="connsiteX41" fmla="*/ 607436 w 1764435"/>
                      <a:gd name="connsiteY41" fmla="*/ 166197 h 1748555"/>
                      <a:gd name="connsiteX42" fmla="*/ 738328 w 1764435"/>
                      <a:gd name="connsiteY42" fmla="*/ 129551 h 1748555"/>
                      <a:gd name="connsiteX43" fmla="*/ 738328 w 1764435"/>
                      <a:gd name="connsiteY43" fmla="*/ 0 h 1748555"/>
                      <a:gd name="connsiteX44" fmla="*/ 1039953 w 1764435"/>
                      <a:gd name="connsiteY44" fmla="*/ 0 h 1748555"/>
                      <a:gd name="connsiteX45" fmla="*/ 1039953 w 1764435"/>
                      <a:gd name="connsiteY45" fmla="*/ 130857 h 1748555"/>
                      <a:gd name="connsiteX46" fmla="*/ 1040298 w 1764435"/>
                      <a:gd name="connsiteY46" fmla="*/ 130895 h 1748555"/>
                      <a:gd name="connsiteX47" fmla="*/ 1312320 w 1764435"/>
                      <a:gd name="connsiteY47" fmla="*/ 246617 h 1748555"/>
                      <a:gd name="connsiteX48" fmla="*/ 1315821 w 1764435"/>
                      <a:gd name="connsiteY48" fmla="*/ 249273 h 1748555"/>
                      <a:gd name="connsiteX49" fmla="*/ 1390262 w 1764435"/>
                      <a:gd name="connsiteY49"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240729 w 1764435"/>
                      <a:gd name="connsiteY28" fmla="*/ 1286259 h 1748555"/>
                      <a:gd name="connsiteX29" fmla="*/ 136311 w 1764435"/>
                      <a:gd name="connsiteY29" fmla="*/ 1024161 h 1748555"/>
                      <a:gd name="connsiteX30" fmla="*/ 0 w 1764435"/>
                      <a:gd name="connsiteY30" fmla="*/ 1017916 h 1748555"/>
                      <a:gd name="connsiteX31" fmla="*/ 13805 w 1764435"/>
                      <a:gd name="connsiteY31" fmla="*/ 716607 h 1748555"/>
                      <a:gd name="connsiteX32" fmla="*/ 137591 w 1764435"/>
                      <a:gd name="connsiteY32" fmla="*/ 722279 h 1748555"/>
                      <a:gd name="connsiteX33" fmla="*/ 160456 w 1764435"/>
                      <a:gd name="connsiteY33" fmla="*/ 635514 h 1748555"/>
                      <a:gd name="connsiteX34" fmla="*/ 197010 w 1764435"/>
                      <a:gd name="connsiteY34" fmla="*/ 545377 h 1748555"/>
                      <a:gd name="connsiteX35" fmla="*/ 255898 w 1764435"/>
                      <a:gd name="connsiteY35" fmla="*/ 446398 h 1748555"/>
                      <a:gd name="connsiteX36" fmla="*/ 155077 w 1764435"/>
                      <a:gd name="connsiteY36" fmla="*/ 342479 h 1748555"/>
                      <a:gd name="connsiteX37" fmla="*/ 371560 w 1764435"/>
                      <a:gd name="connsiteY37" fmla="*/ 132449 h 1748555"/>
                      <a:gd name="connsiteX38" fmla="*/ 471585 w 1764435"/>
                      <a:gd name="connsiteY38" fmla="*/ 235548 h 1748555"/>
                      <a:gd name="connsiteX39" fmla="*/ 473859 w 1764435"/>
                      <a:gd name="connsiteY39" fmla="*/ 233929 h 1748555"/>
                      <a:gd name="connsiteX40" fmla="*/ 607436 w 1764435"/>
                      <a:gd name="connsiteY40" fmla="*/ 166197 h 1748555"/>
                      <a:gd name="connsiteX41" fmla="*/ 738328 w 1764435"/>
                      <a:gd name="connsiteY41" fmla="*/ 129551 h 1748555"/>
                      <a:gd name="connsiteX42" fmla="*/ 738328 w 1764435"/>
                      <a:gd name="connsiteY42" fmla="*/ 0 h 1748555"/>
                      <a:gd name="connsiteX43" fmla="*/ 1039953 w 1764435"/>
                      <a:gd name="connsiteY43" fmla="*/ 0 h 1748555"/>
                      <a:gd name="connsiteX44" fmla="*/ 1039953 w 1764435"/>
                      <a:gd name="connsiteY44" fmla="*/ 130857 h 1748555"/>
                      <a:gd name="connsiteX45" fmla="*/ 1040298 w 1764435"/>
                      <a:gd name="connsiteY45" fmla="*/ 130895 h 1748555"/>
                      <a:gd name="connsiteX46" fmla="*/ 1312320 w 1764435"/>
                      <a:gd name="connsiteY46" fmla="*/ 246617 h 1748555"/>
                      <a:gd name="connsiteX47" fmla="*/ 1315821 w 1764435"/>
                      <a:gd name="connsiteY47" fmla="*/ 249273 h 1748555"/>
                      <a:gd name="connsiteX48" fmla="*/ 1390262 w 1764435"/>
                      <a:gd name="connsiteY48"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160456 w 1764435"/>
                      <a:gd name="connsiteY32" fmla="*/ 635514 h 1748555"/>
                      <a:gd name="connsiteX33" fmla="*/ 197010 w 1764435"/>
                      <a:gd name="connsiteY33" fmla="*/ 545377 h 1748555"/>
                      <a:gd name="connsiteX34" fmla="*/ 255898 w 1764435"/>
                      <a:gd name="connsiteY34" fmla="*/ 446398 h 1748555"/>
                      <a:gd name="connsiteX35" fmla="*/ 155077 w 1764435"/>
                      <a:gd name="connsiteY35" fmla="*/ 342479 h 1748555"/>
                      <a:gd name="connsiteX36" fmla="*/ 371560 w 1764435"/>
                      <a:gd name="connsiteY36" fmla="*/ 132449 h 1748555"/>
                      <a:gd name="connsiteX37" fmla="*/ 471585 w 1764435"/>
                      <a:gd name="connsiteY37" fmla="*/ 235548 h 1748555"/>
                      <a:gd name="connsiteX38" fmla="*/ 473859 w 1764435"/>
                      <a:gd name="connsiteY38" fmla="*/ 233929 h 1748555"/>
                      <a:gd name="connsiteX39" fmla="*/ 607436 w 1764435"/>
                      <a:gd name="connsiteY39" fmla="*/ 166197 h 1748555"/>
                      <a:gd name="connsiteX40" fmla="*/ 738328 w 1764435"/>
                      <a:gd name="connsiteY40" fmla="*/ 129551 h 1748555"/>
                      <a:gd name="connsiteX41" fmla="*/ 738328 w 1764435"/>
                      <a:gd name="connsiteY41" fmla="*/ 0 h 1748555"/>
                      <a:gd name="connsiteX42" fmla="*/ 1039953 w 1764435"/>
                      <a:gd name="connsiteY42" fmla="*/ 0 h 1748555"/>
                      <a:gd name="connsiteX43" fmla="*/ 1039953 w 1764435"/>
                      <a:gd name="connsiteY43" fmla="*/ 130857 h 1748555"/>
                      <a:gd name="connsiteX44" fmla="*/ 1040298 w 1764435"/>
                      <a:gd name="connsiteY44" fmla="*/ 130895 h 1748555"/>
                      <a:gd name="connsiteX45" fmla="*/ 1312320 w 1764435"/>
                      <a:gd name="connsiteY45" fmla="*/ 246617 h 1748555"/>
                      <a:gd name="connsiteX46" fmla="*/ 1315821 w 1764435"/>
                      <a:gd name="connsiteY46" fmla="*/ 249273 h 1748555"/>
                      <a:gd name="connsiteX47" fmla="*/ 1390262 w 1764435"/>
                      <a:gd name="connsiteY47"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160456 w 1764435"/>
                      <a:gd name="connsiteY32" fmla="*/ 635514 h 1748555"/>
                      <a:gd name="connsiteX33" fmla="*/ 197010 w 1764435"/>
                      <a:gd name="connsiteY33" fmla="*/ 545377 h 1748555"/>
                      <a:gd name="connsiteX34" fmla="*/ 255898 w 1764435"/>
                      <a:gd name="connsiteY34" fmla="*/ 446398 h 1748555"/>
                      <a:gd name="connsiteX35" fmla="*/ 155077 w 1764435"/>
                      <a:gd name="connsiteY35" fmla="*/ 342479 h 1748555"/>
                      <a:gd name="connsiteX36" fmla="*/ 371560 w 1764435"/>
                      <a:gd name="connsiteY36" fmla="*/ 132449 h 1748555"/>
                      <a:gd name="connsiteX37" fmla="*/ 471585 w 1764435"/>
                      <a:gd name="connsiteY37" fmla="*/ 235548 h 1748555"/>
                      <a:gd name="connsiteX38" fmla="*/ 473859 w 1764435"/>
                      <a:gd name="connsiteY38" fmla="*/ 233929 h 1748555"/>
                      <a:gd name="connsiteX39" fmla="*/ 607436 w 1764435"/>
                      <a:gd name="connsiteY39" fmla="*/ 166197 h 1748555"/>
                      <a:gd name="connsiteX40" fmla="*/ 738328 w 1764435"/>
                      <a:gd name="connsiteY40" fmla="*/ 129551 h 1748555"/>
                      <a:gd name="connsiteX41" fmla="*/ 738328 w 1764435"/>
                      <a:gd name="connsiteY41" fmla="*/ 0 h 1748555"/>
                      <a:gd name="connsiteX42" fmla="*/ 1039953 w 1764435"/>
                      <a:gd name="connsiteY42" fmla="*/ 0 h 1748555"/>
                      <a:gd name="connsiteX43" fmla="*/ 1039953 w 1764435"/>
                      <a:gd name="connsiteY43" fmla="*/ 130857 h 1748555"/>
                      <a:gd name="connsiteX44" fmla="*/ 1040298 w 1764435"/>
                      <a:gd name="connsiteY44" fmla="*/ 130895 h 1748555"/>
                      <a:gd name="connsiteX45" fmla="*/ 1312320 w 1764435"/>
                      <a:gd name="connsiteY45" fmla="*/ 246617 h 1748555"/>
                      <a:gd name="connsiteX46" fmla="*/ 1315821 w 1764435"/>
                      <a:gd name="connsiteY46" fmla="*/ 249273 h 1748555"/>
                      <a:gd name="connsiteX47" fmla="*/ 1390262 w 1764435"/>
                      <a:gd name="connsiteY47"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160456 w 1764435"/>
                      <a:gd name="connsiteY32" fmla="*/ 635514 h 1748555"/>
                      <a:gd name="connsiteX33" fmla="*/ 197010 w 1764435"/>
                      <a:gd name="connsiteY33" fmla="*/ 545377 h 1748555"/>
                      <a:gd name="connsiteX34" fmla="*/ 255898 w 1764435"/>
                      <a:gd name="connsiteY34" fmla="*/ 446398 h 1748555"/>
                      <a:gd name="connsiteX35" fmla="*/ 155077 w 1764435"/>
                      <a:gd name="connsiteY35" fmla="*/ 342479 h 1748555"/>
                      <a:gd name="connsiteX36" fmla="*/ 371560 w 1764435"/>
                      <a:gd name="connsiteY36" fmla="*/ 132449 h 1748555"/>
                      <a:gd name="connsiteX37" fmla="*/ 471585 w 1764435"/>
                      <a:gd name="connsiteY37" fmla="*/ 235548 h 1748555"/>
                      <a:gd name="connsiteX38" fmla="*/ 473859 w 1764435"/>
                      <a:gd name="connsiteY38" fmla="*/ 233929 h 1748555"/>
                      <a:gd name="connsiteX39" fmla="*/ 607436 w 1764435"/>
                      <a:gd name="connsiteY39" fmla="*/ 166197 h 1748555"/>
                      <a:gd name="connsiteX40" fmla="*/ 738328 w 1764435"/>
                      <a:gd name="connsiteY40" fmla="*/ 129551 h 1748555"/>
                      <a:gd name="connsiteX41" fmla="*/ 738328 w 1764435"/>
                      <a:gd name="connsiteY41" fmla="*/ 0 h 1748555"/>
                      <a:gd name="connsiteX42" fmla="*/ 1039953 w 1764435"/>
                      <a:gd name="connsiteY42" fmla="*/ 0 h 1748555"/>
                      <a:gd name="connsiteX43" fmla="*/ 1039953 w 1764435"/>
                      <a:gd name="connsiteY43" fmla="*/ 130857 h 1748555"/>
                      <a:gd name="connsiteX44" fmla="*/ 1040298 w 1764435"/>
                      <a:gd name="connsiteY44" fmla="*/ 130895 h 1748555"/>
                      <a:gd name="connsiteX45" fmla="*/ 1312320 w 1764435"/>
                      <a:gd name="connsiteY45" fmla="*/ 246617 h 1748555"/>
                      <a:gd name="connsiteX46" fmla="*/ 1315821 w 1764435"/>
                      <a:gd name="connsiteY46" fmla="*/ 249273 h 1748555"/>
                      <a:gd name="connsiteX47" fmla="*/ 1390262 w 1764435"/>
                      <a:gd name="connsiteY47"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160456 w 1764435"/>
                      <a:gd name="connsiteY32" fmla="*/ 635514 h 1748555"/>
                      <a:gd name="connsiteX33" fmla="*/ 197010 w 1764435"/>
                      <a:gd name="connsiteY33" fmla="*/ 545377 h 1748555"/>
                      <a:gd name="connsiteX34" fmla="*/ 255898 w 1764435"/>
                      <a:gd name="connsiteY34" fmla="*/ 446398 h 1748555"/>
                      <a:gd name="connsiteX35" fmla="*/ 155077 w 1764435"/>
                      <a:gd name="connsiteY35" fmla="*/ 342479 h 1748555"/>
                      <a:gd name="connsiteX36" fmla="*/ 371560 w 1764435"/>
                      <a:gd name="connsiteY36" fmla="*/ 132449 h 1748555"/>
                      <a:gd name="connsiteX37" fmla="*/ 471585 w 1764435"/>
                      <a:gd name="connsiteY37" fmla="*/ 235548 h 1748555"/>
                      <a:gd name="connsiteX38" fmla="*/ 473859 w 1764435"/>
                      <a:gd name="connsiteY38" fmla="*/ 233929 h 1748555"/>
                      <a:gd name="connsiteX39" fmla="*/ 607436 w 1764435"/>
                      <a:gd name="connsiteY39" fmla="*/ 166197 h 1748555"/>
                      <a:gd name="connsiteX40" fmla="*/ 738328 w 1764435"/>
                      <a:gd name="connsiteY40" fmla="*/ 129551 h 1748555"/>
                      <a:gd name="connsiteX41" fmla="*/ 738328 w 1764435"/>
                      <a:gd name="connsiteY41" fmla="*/ 0 h 1748555"/>
                      <a:gd name="connsiteX42" fmla="*/ 1039953 w 1764435"/>
                      <a:gd name="connsiteY42" fmla="*/ 0 h 1748555"/>
                      <a:gd name="connsiteX43" fmla="*/ 1039953 w 1764435"/>
                      <a:gd name="connsiteY43" fmla="*/ 130857 h 1748555"/>
                      <a:gd name="connsiteX44" fmla="*/ 1040298 w 1764435"/>
                      <a:gd name="connsiteY44" fmla="*/ 130895 h 1748555"/>
                      <a:gd name="connsiteX45" fmla="*/ 1312320 w 1764435"/>
                      <a:gd name="connsiteY45" fmla="*/ 246617 h 1748555"/>
                      <a:gd name="connsiteX46" fmla="*/ 1315821 w 1764435"/>
                      <a:gd name="connsiteY46" fmla="*/ 249273 h 1748555"/>
                      <a:gd name="connsiteX47" fmla="*/ 1390262 w 1764435"/>
                      <a:gd name="connsiteY47"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197010 w 1764435"/>
                      <a:gd name="connsiteY32" fmla="*/ 545377 h 1748555"/>
                      <a:gd name="connsiteX33" fmla="*/ 255898 w 1764435"/>
                      <a:gd name="connsiteY33" fmla="*/ 446398 h 1748555"/>
                      <a:gd name="connsiteX34" fmla="*/ 155077 w 1764435"/>
                      <a:gd name="connsiteY34" fmla="*/ 342479 h 1748555"/>
                      <a:gd name="connsiteX35" fmla="*/ 371560 w 1764435"/>
                      <a:gd name="connsiteY35" fmla="*/ 132449 h 1748555"/>
                      <a:gd name="connsiteX36" fmla="*/ 471585 w 1764435"/>
                      <a:gd name="connsiteY36" fmla="*/ 235548 h 1748555"/>
                      <a:gd name="connsiteX37" fmla="*/ 473859 w 1764435"/>
                      <a:gd name="connsiteY37" fmla="*/ 233929 h 1748555"/>
                      <a:gd name="connsiteX38" fmla="*/ 607436 w 1764435"/>
                      <a:gd name="connsiteY38" fmla="*/ 166197 h 1748555"/>
                      <a:gd name="connsiteX39" fmla="*/ 738328 w 1764435"/>
                      <a:gd name="connsiteY39" fmla="*/ 129551 h 1748555"/>
                      <a:gd name="connsiteX40" fmla="*/ 738328 w 1764435"/>
                      <a:gd name="connsiteY40" fmla="*/ 0 h 1748555"/>
                      <a:gd name="connsiteX41" fmla="*/ 1039953 w 1764435"/>
                      <a:gd name="connsiteY41" fmla="*/ 0 h 1748555"/>
                      <a:gd name="connsiteX42" fmla="*/ 1039953 w 1764435"/>
                      <a:gd name="connsiteY42" fmla="*/ 130857 h 1748555"/>
                      <a:gd name="connsiteX43" fmla="*/ 1040298 w 1764435"/>
                      <a:gd name="connsiteY43" fmla="*/ 130895 h 1748555"/>
                      <a:gd name="connsiteX44" fmla="*/ 1312320 w 1764435"/>
                      <a:gd name="connsiteY44" fmla="*/ 246617 h 1748555"/>
                      <a:gd name="connsiteX45" fmla="*/ 1315821 w 1764435"/>
                      <a:gd name="connsiteY45" fmla="*/ 249273 h 1748555"/>
                      <a:gd name="connsiteX46" fmla="*/ 1390262 w 1764435"/>
                      <a:gd name="connsiteY46"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607436 w 1764435"/>
                      <a:gd name="connsiteY37" fmla="*/ 166197 h 1748555"/>
                      <a:gd name="connsiteX38" fmla="*/ 738328 w 1764435"/>
                      <a:gd name="connsiteY38" fmla="*/ 129551 h 1748555"/>
                      <a:gd name="connsiteX39" fmla="*/ 738328 w 1764435"/>
                      <a:gd name="connsiteY39" fmla="*/ 0 h 1748555"/>
                      <a:gd name="connsiteX40" fmla="*/ 1039953 w 1764435"/>
                      <a:gd name="connsiteY40" fmla="*/ 0 h 1748555"/>
                      <a:gd name="connsiteX41" fmla="*/ 1039953 w 1764435"/>
                      <a:gd name="connsiteY41" fmla="*/ 130857 h 1748555"/>
                      <a:gd name="connsiteX42" fmla="*/ 1040298 w 1764435"/>
                      <a:gd name="connsiteY42" fmla="*/ 130895 h 1748555"/>
                      <a:gd name="connsiteX43" fmla="*/ 1312320 w 1764435"/>
                      <a:gd name="connsiteY43" fmla="*/ 246617 h 1748555"/>
                      <a:gd name="connsiteX44" fmla="*/ 1315821 w 1764435"/>
                      <a:gd name="connsiteY44" fmla="*/ 249273 h 1748555"/>
                      <a:gd name="connsiteX45" fmla="*/ 1390262 w 1764435"/>
                      <a:gd name="connsiteY45"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607436 w 1764435"/>
                      <a:gd name="connsiteY37" fmla="*/ 166197 h 1748555"/>
                      <a:gd name="connsiteX38" fmla="*/ 738328 w 1764435"/>
                      <a:gd name="connsiteY38" fmla="*/ 129551 h 1748555"/>
                      <a:gd name="connsiteX39" fmla="*/ 738328 w 1764435"/>
                      <a:gd name="connsiteY39" fmla="*/ 0 h 1748555"/>
                      <a:gd name="connsiteX40" fmla="*/ 1039953 w 1764435"/>
                      <a:gd name="connsiteY40" fmla="*/ 0 h 1748555"/>
                      <a:gd name="connsiteX41" fmla="*/ 1039953 w 1764435"/>
                      <a:gd name="connsiteY41" fmla="*/ 130857 h 1748555"/>
                      <a:gd name="connsiteX42" fmla="*/ 1040298 w 1764435"/>
                      <a:gd name="connsiteY42" fmla="*/ 130895 h 1748555"/>
                      <a:gd name="connsiteX43" fmla="*/ 1312320 w 1764435"/>
                      <a:gd name="connsiteY43" fmla="*/ 246617 h 1748555"/>
                      <a:gd name="connsiteX44" fmla="*/ 1315821 w 1764435"/>
                      <a:gd name="connsiteY44" fmla="*/ 249273 h 1748555"/>
                      <a:gd name="connsiteX45" fmla="*/ 1390262 w 1764435"/>
                      <a:gd name="connsiteY45"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607436 w 1764435"/>
                      <a:gd name="connsiteY37" fmla="*/ 166197 h 1748555"/>
                      <a:gd name="connsiteX38" fmla="*/ 738328 w 1764435"/>
                      <a:gd name="connsiteY38" fmla="*/ 129551 h 1748555"/>
                      <a:gd name="connsiteX39" fmla="*/ 738328 w 1764435"/>
                      <a:gd name="connsiteY39" fmla="*/ 0 h 1748555"/>
                      <a:gd name="connsiteX40" fmla="*/ 1039953 w 1764435"/>
                      <a:gd name="connsiteY40" fmla="*/ 0 h 1748555"/>
                      <a:gd name="connsiteX41" fmla="*/ 1039953 w 1764435"/>
                      <a:gd name="connsiteY41" fmla="*/ 130857 h 1748555"/>
                      <a:gd name="connsiteX42" fmla="*/ 1040298 w 1764435"/>
                      <a:gd name="connsiteY42" fmla="*/ 130895 h 1748555"/>
                      <a:gd name="connsiteX43" fmla="*/ 1312320 w 1764435"/>
                      <a:gd name="connsiteY43" fmla="*/ 246617 h 1748555"/>
                      <a:gd name="connsiteX44" fmla="*/ 1315821 w 1764435"/>
                      <a:gd name="connsiteY44" fmla="*/ 249273 h 1748555"/>
                      <a:gd name="connsiteX45" fmla="*/ 1390262 w 1764435"/>
                      <a:gd name="connsiteY45"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607436 w 1764435"/>
                      <a:gd name="connsiteY37" fmla="*/ 166197 h 1748555"/>
                      <a:gd name="connsiteX38" fmla="*/ 738328 w 1764435"/>
                      <a:gd name="connsiteY38" fmla="*/ 129551 h 1748555"/>
                      <a:gd name="connsiteX39" fmla="*/ 738328 w 1764435"/>
                      <a:gd name="connsiteY39" fmla="*/ 0 h 1748555"/>
                      <a:gd name="connsiteX40" fmla="*/ 1039953 w 1764435"/>
                      <a:gd name="connsiteY40" fmla="*/ 0 h 1748555"/>
                      <a:gd name="connsiteX41" fmla="*/ 1039953 w 1764435"/>
                      <a:gd name="connsiteY41" fmla="*/ 130857 h 1748555"/>
                      <a:gd name="connsiteX42" fmla="*/ 1040298 w 1764435"/>
                      <a:gd name="connsiteY42" fmla="*/ 130895 h 1748555"/>
                      <a:gd name="connsiteX43" fmla="*/ 1312320 w 1764435"/>
                      <a:gd name="connsiteY43" fmla="*/ 246617 h 1748555"/>
                      <a:gd name="connsiteX44" fmla="*/ 1315821 w 1764435"/>
                      <a:gd name="connsiteY44" fmla="*/ 249273 h 1748555"/>
                      <a:gd name="connsiteX45" fmla="*/ 1390262 w 1764435"/>
                      <a:gd name="connsiteY45"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4599 w 1764435"/>
                      <a:gd name="connsiteY24" fmla="*/ 1506700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3841 w 1764435"/>
                      <a:gd name="connsiteY24" fmla="*/ 1505919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3841 w 1764435"/>
                      <a:gd name="connsiteY24" fmla="*/ 1505919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3841 w 1764435"/>
                      <a:gd name="connsiteY24" fmla="*/ 1505919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898 w 1764435"/>
                      <a:gd name="connsiteY32" fmla="*/ 446398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3841 w 1764435"/>
                      <a:gd name="connsiteY24" fmla="*/ 1505919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921 w 1764435"/>
                      <a:gd name="connsiteY32" fmla="*/ 444859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3841 w 1764435"/>
                      <a:gd name="connsiteY24" fmla="*/ 1505919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921 w 1764435"/>
                      <a:gd name="connsiteY32" fmla="*/ 444859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3841 w 1764435"/>
                      <a:gd name="connsiteY24" fmla="*/ 1505919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921 w 1764435"/>
                      <a:gd name="connsiteY32" fmla="*/ 444859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3841 w 1764435"/>
                      <a:gd name="connsiteY24" fmla="*/ 1505919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921 w 1764435"/>
                      <a:gd name="connsiteY32" fmla="*/ 444859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 name="connsiteX0" fmla="*/ 1266294 w 1764435"/>
                      <a:gd name="connsiteY0" fmla="*/ 505238 h 1748555"/>
                      <a:gd name="connsiteX1" fmla="*/ 512038 w 1764435"/>
                      <a:gd name="connsiteY1" fmla="*/ 493824 h 1748555"/>
                      <a:gd name="connsiteX2" fmla="*/ 500625 w 1764435"/>
                      <a:gd name="connsiteY2" fmla="*/ 1248079 h 1748555"/>
                      <a:gd name="connsiteX3" fmla="*/ 1254880 w 1764435"/>
                      <a:gd name="connsiteY3" fmla="*/ 1259493 h 1748555"/>
                      <a:gd name="connsiteX4" fmla="*/ 1266294 w 1764435"/>
                      <a:gd name="connsiteY4" fmla="*/ 505238 h 1748555"/>
                      <a:gd name="connsiteX5" fmla="*/ 1390262 w 1764435"/>
                      <a:gd name="connsiteY5" fmla="*/ 177051 h 1748555"/>
                      <a:gd name="connsiteX6" fmla="*/ 1600291 w 1764435"/>
                      <a:gd name="connsiteY6" fmla="*/ 393535 h 1748555"/>
                      <a:gd name="connsiteX7" fmla="*/ 1525503 w 1764435"/>
                      <a:gd name="connsiteY7" fmla="*/ 466094 h 1748555"/>
                      <a:gd name="connsiteX8" fmla="*/ 1526189 w 1764435"/>
                      <a:gd name="connsiteY8" fmla="*/ 467058 h 1748555"/>
                      <a:gd name="connsiteX9" fmla="*/ 1633627 w 1764435"/>
                      <a:gd name="connsiteY9" fmla="*/ 742456 h 1748555"/>
                      <a:gd name="connsiteX10" fmla="*/ 1633839 w 1764435"/>
                      <a:gd name="connsiteY10" fmla="*/ 745095 h 1748555"/>
                      <a:gd name="connsiteX11" fmla="*/ 1764435 w 1764435"/>
                      <a:gd name="connsiteY11" fmla="*/ 751079 h 1748555"/>
                      <a:gd name="connsiteX12" fmla="*/ 1750629 w 1764435"/>
                      <a:gd name="connsiteY12" fmla="*/ 1052388 h 1748555"/>
                      <a:gd name="connsiteX13" fmla="*/ 1625111 w 1764435"/>
                      <a:gd name="connsiteY13" fmla="*/ 1046637 h 1748555"/>
                      <a:gd name="connsiteX14" fmla="*/ 1515303 w 1764435"/>
                      <a:gd name="connsiteY14" fmla="*/ 1302217 h 1748555"/>
                      <a:gd name="connsiteX15" fmla="*/ 1598713 w 1764435"/>
                      <a:gd name="connsiteY15" fmla="*/ 1388190 h 1748555"/>
                      <a:gd name="connsiteX16" fmla="*/ 1382229 w 1764435"/>
                      <a:gd name="connsiteY16" fmla="*/ 1598220 h 1748555"/>
                      <a:gd name="connsiteX17" fmla="*/ 1300563 w 1764435"/>
                      <a:gd name="connsiteY17" fmla="*/ 1514045 h 1748555"/>
                      <a:gd name="connsiteX18" fmla="*/ 1293060 w 1764435"/>
                      <a:gd name="connsiteY18" fmla="*/ 1519388 h 1748555"/>
                      <a:gd name="connsiteX19" fmla="*/ 1017662 w 1764435"/>
                      <a:gd name="connsiteY19" fmla="*/ 1626826 h 1748555"/>
                      <a:gd name="connsiteX20" fmla="*/ 1010698 w 1764435"/>
                      <a:gd name="connsiteY20" fmla="*/ 1627387 h 1748555"/>
                      <a:gd name="connsiteX21" fmla="*/ 1010698 w 1764435"/>
                      <a:gd name="connsiteY21" fmla="*/ 1748555 h 1748555"/>
                      <a:gd name="connsiteX22" fmla="*/ 709074 w 1764435"/>
                      <a:gd name="connsiteY22" fmla="*/ 1748555 h 1748555"/>
                      <a:gd name="connsiteX23" fmla="*/ 709074 w 1764435"/>
                      <a:gd name="connsiteY23" fmla="*/ 1616932 h 1748555"/>
                      <a:gd name="connsiteX24" fmla="*/ 453841 w 1764435"/>
                      <a:gd name="connsiteY24" fmla="*/ 1505919 h 1748555"/>
                      <a:gd name="connsiteX25" fmla="*/ 365195 w 1764435"/>
                      <a:gd name="connsiteY25" fmla="*/ 1591809 h 1748555"/>
                      <a:gd name="connsiteX26" fmla="*/ 155165 w 1764435"/>
                      <a:gd name="connsiteY26" fmla="*/ 1375325 h 1748555"/>
                      <a:gd name="connsiteX27" fmla="*/ 243279 w 1764435"/>
                      <a:gd name="connsiteY27" fmla="*/ 1289839 h 1748555"/>
                      <a:gd name="connsiteX28" fmla="*/ 136311 w 1764435"/>
                      <a:gd name="connsiteY28" fmla="*/ 1024161 h 1748555"/>
                      <a:gd name="connsiteX29" fmla="*/ 0 w 1764435"/>
                      <a:gd name="connsiteY29" fmla="*/ 1017916 h 1748555"/>
                      <a:gd name="connsiteX30" fmla="*/ 13805 w 1764435"/>
                      <a:gd name="connsiteY30" fmla="*/ 716607 h 1748555"/>
                      <a:gd name="connsiteX31" fmla="*/ 137591 w 1764435"/>
                      <a:gd name="connsiteY31" fmla="*/ 722279 h 1748555"/>
                      <a:gd name="connsiteX32" fmla="*/ 255921 w 1764435"/>
                      <a:gd name="connsiteY32" fmla="*/ 444859 h 1748555"/>
                      <a:gd name="connsiteX33" fmla="*/ 155077 w 1764435"/>
                      <a:gd name="connsiteY33" fmla="*/ 342479 h 1748555"/>
                      <a:gd name="connsiteX34" fmla="*/ 371560 w 1764435"/>
                      <a:gd name="connsiteY34" fmla="*/ 132449 h 1748555"/>
                      <a:gd name="connsiteX35" fmla="*/ 471585 w 1764435"/>
                      <a:gd name="connsiteY35" fmla="*/ 235548 h 1748555"/>
                      <a:gd name="connsiteX36" fmla="*/ 473859 w 1764435"/>
                      <a:gd name="connsiteY36" fmla="*/ 233929 h 1748555"/>
                      <a:gd name="connsiteX37" fmla="*/ 738328 w 1764435"/>
                      <a:gd name="connsiteY37" fmla="*/ 129551 h 1748555"/>
                      <a:gd name="connsiteX38" fmla="*/ 738328 w 1764435"/>
                      <a:gd name="connsiteY38" fmla="*/ 0 h 1748555"/>
                      <a:gd name="connsiteX39" fmla="*/ 1039953 w 1764435"/>
                      <a:gd name="connsiteY39" fmla="*/ 0 h 1748555"/>
                      <a:gd name="connsiteX40" fmla="*/ 1039953 w 1764435"/>
                      <a:gd name="connsiteY40" fmla="*/ 130857 h 1748555"/>
                      <a:gd name="connsiteX41" fmla="*/ 1040298 w 1764435"/>
                      <a:gd name="connsiteY41" fmla="*/ 130895 h 1748555"/>
                      <a:gd name="connsiteX42" fmla="*/ 1312320 w 1764435"/>
                      <a:gd name="connsiteY42" fmla="*/ 246617 h 1748555"/>
                      <a:gd name="connsiteX43" fmla="*/ 1315821 w 1764435"/>
                      <a:gd name="connsiteY43" fmla="*/ 249273 h 1748555"/>
                      <a:gd name="connsiteX44" fmla="*/ 1390262 w 1764435"/>
                      <a:gd name="connsiteY44" fmla="*/ 177051 h 174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64435" h="1748555">
                        <a:moveTo>
                          <a:pt x="1266294" y="505238"/>
                        </a:moveTo>
                        <a:cubicBezTo>
                          <a:pt x="1061163" y="293804"/>
                          <a:pt x="723472" y="288694"/>
                          <a:pt x="512038" y="493824"/>
                        </a:cubicBezTo>
                        <a:cubicBezTo>
                          <a:pt x="300605" y="698954"/>
                          <a:pt x="295495" y="1036645"/>
                          <a:pt x="500625" y="1248079"/>
                        </a:cubicBezTo>
                        <a:cubicBezTo>
                          <a:pt x="705755" y="1459513"/>
                          <a:pt x="1043446" y="1464623"/>
                          <a:pt x="1254880" y="1259493"/>
                        </a:cubicBezTo>
                        <a:cubicBezTo>
                          <a:pt x="1466314" y="1054362"/>
                          <a:pt x="1471424" y="716671"/>
                          <a:pt x="1266294" y="505238"/>
                        </a:cubicBezTo>
                        <a:close/>
                        <a:moveTo>
                          <a:pt x="1390262" y="177051"/>
                        </a:moveTo>
                        <a:lnTo>
                          <a:pt x="1600291" y="393535"/>
                        </a:lnTo>
                        <a:lnTo>
                          <a:pt x="1525503" y="466094"/>
                        </a:lnTo>
                        <a:lnTo>
                          <a:pt x="1526189" y="467058"/>
                        </a:lnTo>
                        <a:cubicBezTo>
                          <a:pt x="1580700" y="552399"/>
                          <a:pt x="1616483" y="646124"/>
                          <a:pt x="1633627" y="742456"/>
                        </a:cubicBezTo>
                        <a:cubicBezTo>
                          <a:pt x="1633698" y="743336"/>
                          <a:pt x="1633768" y="744215"/>
                          <a:pt x="1633839" y="745095"/>
                        </a:cubicBezTo>
                        <a:lnTo>
                          <a:pt x="1764435" y="751079"/>
                        </a:lnTo>
                        <a:lnTo>
                          <a:pt x="1750629" y="1052388"/>
                        </a:lnTo>
                        <a:lnTo>
                          <a:pt x="1625111" y="1046637"/>
                        </a:lnTo>
                        <a:cubicBezTo>
                          <a:pt x="1600053" y="1132004"/>
                          <a:pt x="1576201" y="1213928"/>
                          <a:pt x="1515303" y="1302217"/>
                        </a:cubicBezTo>
                        <a:lnTo>
                          <a:pt x="1598713" y="1388190"/>
                        </a:lnTo>
                        <a:lnTo>
                          <a:pt x="1382229" y="1598220"/>
                        </a:lnTo>
                        <a:lnTo>
                          <a:pt x="1300563" y="1514045"/>
                        </a:lnTo>
                        <a:lnTo>
                          <a:pt x="1293060" y="1519388"/>
                        </a:lnTo>
                        <a:cubicBezTo>
                          <a:pt x="1207719" y="1573899"/>
                          <a:pt x="1113994" y="1609683"/>
                          <a:pt x="1017662" y="1626826"/>
                        </a:cubicBezTo>
                        <a:lnTo>
                          <a:pt x="1010698" y="1627387"/>
                        </a:lnTo>
                        <a:lnTo>
                          <a:pt x="1010698" y="1748555"/>
                        </a:lnTo>
                        <a:lnTo>
                          <a:pt x="709074" y="1748555"/>
                        </a:lnTo>
                        <a:lnTo>
                          <a:pt x="709074" y="1616932"/>
                        </a:lnTo>
                        <a:cubicBezTo>
                          <a:pt x="623119" y="1604035"/>
                          <a:pt x="515840" y="1550401"/>
                          <a:pt x="453841" y="1505919"/>
                        </a:cubicBezTo>
                        <a:lnTo>
                          <a:pt x="365195" y="1591809"/>
                        </a:lnTo>
                        <a:lnTo>
                          <a:pt x="155165" y="1375325"/>
                        </a:lnTo>
                        <a:lnTo>
                          <a:pt x="243279" y="1289839"/>
                        </a:lnTo>
                        <a:cubicBezTo>
                          <a:pt x="196452" y="1227284"/>
                          <a:pt x="143345" y="1096505"/>
                          <a:pt x="136311" y="1024161"/>
                        </a:cubicBezTo>
                        <a:lnTo>
                          <a:pt x="0" y="1017916"/>
                        </a:lnTo>
                        <a:lnTo>
                          <a:pt x="13805" y="716607"/>
                        </a:lnTo>
                        <a:lnTo>
                          <a:pt x="137591" y="722279"/>
                        </a:lnTo>
                        <a:cubicBezTo>
                          <a:pt x="148044" y="637963"/>
                          <a:pt x="203775" y="511993"/>
                          <a:pt x="255921" y="444859"/>
                        </a:cubicBezTo>
                        <a:lnTo>
                          <a:pt x="155077" y="342479"/>
                        </a:lnTo>
                        <a:lnTo>
                          <a:pt x="371560" y="132449"/>
                        </a:lnTo>
                        <a:lnTo>
                          <a:pt x="471585" y="235548"/>
                        </a:lnTo>
                        <a:lnTo>
                          <a:pt x="473859" y="233929"/>
                        </a:lnTo>
                        <a:cubicBezTo>
                          <a:pt x="524030" y="194796"/>
                          <a:pt x="675191" y="130915"/>
                          <a:pt x="738328" y="129551"/>
                        </a:cubicBezTo>
                        <a:lnTo>
                          <a:pt x="738328" y="0"/>
                        </a:lnTo>
                        <a:lnTo>
                          <a:pt x="1039953" y="0"/>
                        </a:lnTo>
                        <a:lnTo>
                          <a:pt x="1039953" y="130857"/>
                        </a:lnTo>
                        <a:lnTo>
                          <a:pt x="1040298" y="130895"/>
                        </a:lnTo>
                        <a:cubicBezTo>
                          <a:pt x="1136068" y="150945"/>
                          <a:pt x="1228667" y="189548"/>
                          <a:pt x="1312320" y="246617"/>
                        </a:cubicBezTo>
                        <a:lnTo>
                          <a:pt x="1315821" y="249273"/>
                        </a:lnTo>
                        <a:lnTo>
                          <a:pt x="1390262" y="177051"/>
                        </a:ln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grpSp>
            <p:nvGrpSpPr>
              <p:cNvPr id="75" name="Group 74"/>
              <p:cNvGrpSpPr/>
              <p:nvPr/>
            </p:nvGrpSpPr>
            <p:grpSpPr>
              <a:xfrm flipH="1">
                <a:off x="6449541" y="2715891"/>
                <a:ext cx="968845" cy="1139091"/>
                <a:chOff x="2863120" y="3323055"/>
                <a:chExt cx="1244056" cy="1462663"/>
              </a:xfrm>
              <a:solidFill>
                <a:srgbClr val="404040"/>
              </a:solidFill>
            </p:grpSpPr>
            <p:sp>
              <p:nvSpPr>
                <p:cNvPr id="76" name="Oval 75"/>
                <p:cNvSpPr/>
                <p:nvPr/>
              </p:nvSpPr>
              <p:spPr>
                <a:xfrm>
                  <a:off x="3657272" y="3323055"/>
                  <a:ext cx="311034" cy="309762"/>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7" name="Rectangle 5"/>
                <p:cNvSpPr/>
                <p:nvPr/>
              </p:nvSpPr>
              <p:spPr>
                <a:xfrm>
                  <a:off x="2863120" y="3620479"/>
                  <a:ext cx="1244056" cy="1165239"/>
                </a:xfrm>
                <a:custGeom>
                  <a:avLst/>
                  <a:gdLst>
                    <a:gd name="connsiteX0" fmla="*/ 0 w 375285"/>
                    <a:gd name="connsiteY0" fmla="*/ 0 h 523875"/>
                    <a:gd name="connsiteX1" fmla="*/ 375285 w 375285"/>
                    <a:gd name="connsiteY1" fmla="*/ 0 h 523875"/>
                    <a:gd name="connsiteX2" fmla="*/ 375285 w 375285"/>
                    <a:gd name="connsiteY2" fmla="*/ 523875 h 523875"/>
                    <a:gd name="connsiteX3" fmla="*/ 0 w 375285"/>
                    <a:gd name="connsiteY3" fmla="*/ 523875 h 523875"/>
                    <a:gd name="connsiteX4" fmla="*/ 0 w 375285"/>
                    <a:gd name="connsiteY4" fmla="*/ 0 h 523875"/>
                    <a:gd name="connsiteX0" fmla="*/ 13335 w 375285"/>
                    <a:gd name="connsiteY0" fmla="*/ 0 h 529590"/>
                    <a:gd name="connsiteX1" fmla="*/ 375285 w 375285"/>
                    <a:gd name="connsiteY1" fmla="*/ 5715 h 529590"/>
                    <a:gd name="connsiteX2" fmla="*/ 375285 w 375285"/>
                    <a:gd name="connsiteY2" fmla="*/ 529590 h 529590"/>
                    <a:gd name="connsiteX3" fmla="*/ 0 w 375285"/>
                    <a:gd name="connsiteY3" fmla="*/ 529590 h 529590"/>
                    <a:gd name="connsiteX4" fmla="*/ 13335 w 375285"/>
                    <a:gd name="connsiteY4" fmla="*/ 0 h 529590"/>
                    <a:gd name="connsiteX0" fmla="*/ 13335 w 375285"/>
                    <a:gd name="connsiteY0" fmla="*/ 0 h 529590"/>
                    <a:gd name="connsiteX1" fmla="*/ 375285 w 375285"/>
                    <a:gd name="connsiteY1" fmla="*/ 5715 h 529590"/>
                    <a:gd name="connsiteX2" fmla="*/ 375285 w 375285"/>
                    <a:gd name="connsiteY2" fmla="*/ 529590 h 529590"/>
                    <a:gd name="connsiteX3" fmla="*/ 0 w 375285"/>
                    <a:gd name="connsiteY3" fmla="*/ 529590 h 529590"/>
                    <a:gd name="connsiteX4" fmla="*/ 13335 w 375285"/>
                    <a:gd name="connsiteY4" fmla="*/ 0 h 529590"/>
                    <a:gd name="connsiteX0" fmla="*/ 13335 w 375285"/>
                    <a:gd name="connsiteY0" fmla="*/ 0 h 529590"/>
                    <a:gd name="connsiteX1" fmla="*/ 375285 w 375285"/>
                    <a:gd name="connsiteY1" fmla="*/ 5715 h 529590"/>
                    <a:gd name="connsiteX2" fmla="*/ 375285 w 375285"/>
                    <a:gd name="connsiteY2" fmla="*/ 529590 h 529590"/>
                    <a:gd name="connsiteX3" fmla="*/ 0 w 375285"/>
                    <a:gd name="connsiteY3" fmla="*/ 529590 h 529590"/>
                    <a:gd name="connsiteX4" fmla="*/ 13335 w 375285"/>
                    <a:gd name="connsiteY4" fmla="*/ 0 h 529590"/>
                    <a:gd name="connsiteX0" fmla="*/ 13335 w 375285"/>
                    <a:gd name="connsiteY0" fmla="*/ 0 h 529590"/>
                    <a:gd name="connsiteX1" fmla="*/ 375285 w 375285"/>
                    <a:gd name="connsiteY1" fmla="*/ 5715 h 529590"/>
                    <a:gd name="connsiteX2" fmla="*/ 375285 w 375285"/>
                    <a:gd name="connsiteY2" fmla="*/ 529590 h 529590"/>
                    <a:gd name="connsiteX3" fmla="*/ 0 w 375285"/>
                    <a:gd name="connsiteY3" fmla="*/ 529590 h 529590"/>
                    <a:gd name="connsiteX4" fmla="*/ 13335 w 375285"/>
                    <a:gd name="connsiteY4" fmla="*/ 0 h 529590"/>
                    <a:gd name="connsiteX0" fmla="*/ 13335 w 375285"/>
                    <a:gd name="connsiteY0" fmla="*/ 0 h 542925"/>
                    <a:gd name="connsiteX1" fmla="*/ 375285 w 375285"/>
                    <a:gd name="connsiteY1" fmla="*/ 19050 h 542925"/>
                    <a:gd name="connsiteX2" fmla="*/ 375285 w 375285"/>
                    <a:gd name="connsiteY2" fmla="*/ 542925 h 542925"/>
                    <a:gd name="connsiteX3" fmla="*/ 0 w 375285"/>
                    <a:gd name="connsiteY3" fmla="*/ 542925 h 542925"/>
                    <a:gd name="connsiteX4" fmla="*/ 13335 w 375285"/>
                    <a:gd name="connsiteY4" fmla="*/ 0 h 542925"/>
                    <a:gd name="connsiteX0" fmla="*/ 13335 w 375285"/>
                    <a:gd name="connsiteY0" fmla="*/ 0 h 542925"/>
                    <a:gd name="connsiteX1" fmla="*/ 375285 w 375285"/>
                    <a:gd name="connsiteY1" fmla="*/ 19050 h 542925"/>
                    <a:gd name="connsiteX2" fmla="*/ 375285 w 375285"/>
                    <a:gd name="connsiteY2" fmla="*/ 542925 h 542925"/>
                    <a:gd name="connsiteX3" fmla="*/ 0 w 375285"/>
                    <a:gd name="connsiteY3" fmla="*/ 542925 h 542925"/>
                    <a:gd name="connsiteX4" fmla="*/ 13335 w 375285"/>
                    <a:gd name="connsiteY4" fmla="*/ 0 h 542925"/>
                    <a:gd name="connsiteX0" fmla="*/ 13335 w 375285"/>
                    <a:gd name="connsiteY0" fmla="*/ 0 h 542925"/>
                    <a:gd name="connsiteX1" fmla="*/ 375285 w 375285"/>
                    <a:gd name="connsiteY1" fmla="*/ 19050 h 542925"/>
                    <a:gd name="connsiteX2" fmla="*/ 375285 w 375285"/>
                    <a:gd name="connsiteY2" fmla="*/ 542925 h 542925"/>
                    <a:gd name="connsiteX3" fmla="*/ 0 w 375285"/>
                    <a:gd name="connsiteY3" fmla="*/ 542925 h 542925"/>
                    <a:gd name="connsiteX4" fmla="*/ 13335 w 375285"/>
                    <a:gd name="connsiteY4" fmla="*/ 0 h 542925"/>
                    <a:gd name="connsiteX0" fmla="*/ 13335 w 375285"/>
                    <a:gd name="connsiteY0" fmla="*/ 0 h 542925"/>
                    <a:gd name="connsiteX1" fmla="*/ 375285 w 375285"/>
                    <a:gd name="connsiteY1" fmla="*/ 19050 h 542925"/>
                    <a:gd name="connsiteX2" fmla="*/ 209550 w 375285"/>
                    <a:gd name="connsiteY2" fmla="*/ 129540 h 542925"/>
                    <a:gd name="connsiteX3" fmla="*/ 0 w 375285"/>
                    <a:gd name="connsiteY3" fmla="*/ 542925 h 542925"/>
                    <a:gd name="connsiteX4" fmla="*/ 13335 w 375285"/>
                    <a:gd name="connsiteY4" fmla="*/ 0 h 542925"/>
                    <a:gd name="connsiteX0" fmla="*/ 13335 w 375285"/>
                    <a:gd name="connsiteY0" fmla="*/ 0 h 542925"/>
                    <a:gd name="connsiteX1" fmla="*/ 375285 w 375285"/>
                    <a:gd name="connsiteY1" fmla="*/ 19050 h 542925"/>
                    <a:gd name="connsiteX2" fmla="*/ 369570 w 375285"/>
                    <a:gd name="connsiteY2" fmla="*/ 156210 h 542925"/>
                    <a:gd name="connsiteX3" fmla="*/ 0 w 375285"/>
                    <a:gd name="connsiteY3" fmla="*/ 542925 h 542925"/>
                    <a:gd name="connsiteX4" fmla="*/ 13335 w 375285"/>
                    <a:gd name="connsiteY4" fmla="*/ 0 h 542925"/>
                    <a:gd name="connsiteX0" fmla="*/ 43815 w 405765"/>
                    <a:gd name="connsiteY0" fmla="*/ 0 h 156210"/>
                    <a:gd name="connsiteX1" fmla="*/ 405765 w 405765"/>
                    <a:gd name="connsiteY1" fmla="*/ 19050 h 156210"/>
                    <a:gd name="connsiteX2" fmla="*/ 400050 w 405765"/>
                    <a:gd name="connsiteY2" fmla="*/ 156210 h 156210"/>
                    <a:gd name="connsiteX3" fmla="*/ 0 w 405765"/>
                    <a:gd name="connsiteY3" fmla="*/ 133350 h 156210"/>
                    <a:gd name="connsiteX4" fmla="*/ 43815 w 405765"/>
                    <a:gd name="connsiteY4" fmla="*/ 0 h 156210"/>
                    <a:gd name="connsiteX0" fmla="*/ 43815 w 405765"/>
                    <a:gd name="connsiteY0" fmla="*/ 0 h 187130"/>
                    <a:gd name="connsiteX1" fmla="*/ 405765 w 405765"/>
                    <a:gd name="connsiteY1" fmla="*/ 19050 h 187130"/>
                    <a:gd name="connsiteX2" fmla="*/ 400050 w 405765"/>
                    <a:gd name="connsiteY2" fmla="*/ 156210 h 187130"/>
                    <a:gd name="connsiteX3" fmla="*/ 0 w 405765"/>
                    <a:gd name="connsiteY3" fmla="*/ 133350 h 187130"/>
                    <a:gd name="connsiteX4" fmla="*/ 43815 w 405765"/>
                    <a:gd name="connsiteY4" fmla="*/ 0 h 187130"/>
                    <a:gd name="connsiteX0" fmla="*/ 43815 w 405765"/>
                    <a:gd name="connsiteY0" fmla="*/ 0 h 194741"/>
                    <a:gd name="connsiteX1" fmla="*/ 405765 w 405765"/>
                    <a:gd name="connsiteY1" fmla="*/ 19050 h 194741"/>
                    <a:gd name="connsiteX2" fmla="*/ 400050 w 405765"/>
                    <a:gd name="connsiteY2" fmla="*/ 156210 h 194741"/>
                    <a:gd name="connsiteX3" fmla="*/ 0 w 405765"/>
                    <a:gd name="connsiteY3" fmla="*/ 133350 h 194741"/>
                    <a:gd name="connsiteX4" fmla="*/ 43815 w 405765"/>
                    <a:gd name="connsiteY4" fmla="*/ 0 h 194741"/>
                    <a:gd name="connsiteX0" fmla="*/ 43815 w 405765"/>
                    <a:gd name="connsiteY0" fmla="*/ 0 h 201228"/>
                    <a:gd name="connsiteX1" fmla="*/ 405765 w 405765"/>
                    <a:gd name="connsiteY1" fmla="*/ 19050 h 201228"/>
                    <a:gd name="connsiteX2" fmla="*/ 400050 w 405765"/>
                    <a:gd name="connsiteY2" fmla="*/ 156210 h 201228"/>
                    <a:gd name="connsiteX3" fmla="*/ 0 w 405765"/>
                    <a:gd name="connsiteY3" fmla="*/ 133350 h 201228"/>
                    <a:gd name="connsiteX4" fmla="*/ 43815 w 405765"/>
                    <a:gd name="connsiteY4" fmla="*/ 0 h 201228"/>
                    <a:gd name="connsiteX0" fmla="*/ 43815 w 405765"/>
                    <a:gd name="connsiteY0" fmla="*/ 0 h 206552"/>
                    <a:gd name="connsiteX1" fmla="*/ 405765 w 405765"/>
                    <a:gd name="connsiteY1" fmla="*/ 19050 h 206552"/>
                    <a:gd name="connsiteX2" fmla="*/ 400050 w 405765"/>
                    <a:gd name="connsiteY2" fmla="*/ 156210 h 206552"/>
                    <a:gd name="connsiteX3" fmla="*/ 0 w 405765"/>
                    <a:gd name="connsiteY3" fmla="*/ 133350 h 206552"/>
                    <a:gd name="connsiteX4" fmla="*/ 43815 w 405765"/>
                    <a:gd name="connsiteY4" fmla="*/ 0 h 206552"/>
                    <a:gd name="connsiteX0" fmla="*/ 43815 w 405765"/>
                    <a:gd name="connsiteY0" fmla="*/ 0 h 206552"/>
                    <a:gd name="connsiteX1" fmla="*/ 405765 w 405765"/>
                    <a:gd name="connsiteY1" fmla="*/ 19050 h 206552"/>
                    <a:gd name="connsiteX2" fmla="*/ 400050 w 405765"/>
                    <a:gd name="connsiteY2" fmla="*/ 156210 h 206552"/>
                    <a:gd name="connsiteX3" fmla="*/ 0 w 405765"/>
                    <a:gd name="connsiteY3" fmla="*/ 133350 h 206552"/>
                    <a:gd name="connsiteX4" fmla="*/ 0 w 405765"/>
                    <a:gd name="connsiteY4" fmla="*/ 137160 h 206552"/>
                    <a:gd name="connsiteX5" fmla="*/ 43815 w 405765"/>
                    <a:gd name="connsiteY5" fmla="*/ 0 h 206552"/>
                    <a:gd name="connsiteX0" fmla="*/ 108585 w 470535"/>
                    <a:gd name="connsiteY0" fmla="*/ 53340 h 259892"/>
                    <a:gd name="connsiteX1" fmla="*/ 470535 w 470535"/>
                    <a:gd name="connsiteY1" fmla="*/ 72390 h 259892"/>
                    <a:gd name="connsiteX2" fmla="*/ 464820 w 470535"/>
                    <a:gd name="connsiteY2" fmla="*/ 209550 h 259892"/>
                    <a:gd name="connsiteX3" fmla="*/ 64770 w 470535"/>
                    <a:gd name="connsiteY3" fmla="*/ 186690 h 259892"/>
                    <a:gd name="connsiteX4" fmla="*/ 0 w 470535"/>
                    <a:gd name="connsiteY4" fmla="*/ 0 h 259892"/>
                    <a:gd name="connsiteX5" fmla="*/ 108585 w 470535"/>
                    <a:gd name="connsiteY5" fmla="*/ 53340 h 259892"/>
                    <a:gd name="connsiteX0" fmla="*/ 108585 w 470535"/>
                    <a:gd name="connsiteY0" fmla="*/ 60960 h 267512"/>
                    <a:gd name="connsiteX1" fmla="*/ 470535 w 470535"/>
                    <a:gd name="connsiteY1" fmla="*/ 80010 h 267512"/>
                    <a:gd name="connsiteX2" fmla="*/ 464820 w 470535"/>
                    <a:gd name="connsiteY2" fmla="*/ 217170 h 267512"/>
                    <a:gd name="connsiteX3" fmla="*/ 64770 w 470535"/>
                    <a:gd name="connsiteY3" fmla="*/ 194310 h 267512"/>
                    <a:gd name="connsiteX4" fmla="*/ 0 w 470535"/>
                    <a:gd name="connsiteY4" fmla="*/ 7620 h 267512"/>
                    <a:gd name="connsiteX5" fmla="*/ 1905 w 470535"/>
                    <a:gd name="connsiteY5" fmla="*/ 0 h 267512"/>
                    <a:gd name="connsiteX6" fmla="*/ 108585 w 470535"/>
                    <a:gd name="connsiteY6" fmla="*/ 60960 h 267512"/>
                    <a:gd name="connsiteX0" fmla="*/ 108585 w 470535"/>
                    <a:gd name="connsiteY0" fmla="*/ 106680 h 313232"/>
                    <a:gd name="connsiteX1" fmla="*/ 470535 w 470535"/>
                    <a:gd name="connsiteY1" fmla="*/ 125730 h 313232"/>
                    <a:gd name="connsiteX2" fmla="*/ 464820 w 470535"/>
                    <a:gd name="connsiteY2" fmla="*/ 262890 h 313232"/>
                    <a:gd name="connsiteX3" fmla="*/ 64770 w 470535"/>
                    <a:gd name="connsiteY3" fmla="*/ 240030 h 313232"/>
                    <a:gd name="connsiteX4" fmla="*/ 0 w 470535"/>
                    <a:gd name="connsiteY4" fmla="*/ 53340 h 313232"/>
                    <a:gd name="connsiteX5" fmla="*/ 13335 w 470535"/>
                    <a:gd name="connsiteY5" fmla="*/ 0 h 313232"/>
                    <a:gd name="connsiteX6" fmla="*/ 108585 w 470535"/>
                    <a:gd name="connsiteY6" fmla="*/ 106680 h 313232"/>
                    <a:gd name="connsiteX0" fmla="*/ 102870 w 464820"/>
                    <a:gd name="connsiteY0" fmla="*/ 106680 h 381000"/>
                    <a:gd name="connsiteX1" fmla="*/ 464820 w 464820"/>
                    <a:gd name="connsiteY1" fmla="*/ 125730 h 381000"/>
                    <a:gd name="connsiteX2" fmla="*/ 459105 w 464820"/>
                    <a:gd name="connsiteY2" fmla="*/ 262890 h 381000"/>
                    <a:gd name="connsiteX3" fmla="*/ 59055 w 464820"/>
                    <a:gd name="connsiteY3" fmla="*/ 240030 h 381000"/>
                    <a:gd name="connsiteX4" fmla="*/ 0 w 464820"/>
                    <a:gd name="connsiteY4" fmla="*/ 381000 h 381000"/>
                    <a:gd name="connsiteX5" fmla="*/ 7620 w 464820"/>
                    <a:gd name="connsiteY5" fmla="*/ 0 h 381000"/>
                    <a:gd name="connsiteX6" fmla="*/ 102870 w 464820"/>
                    <a:gd name="connsiteY6" fmla="*/ 106680 h 381000"/>
                    <a:gd name="connsiteX0" fmla="*/ 175260 w 537210"/>
                    <a:gd name="connsiteY0" fmla="*/ 0 h 274320"/>
                    <a:gd name="connsiteX1" fmla="*/ 537210 w 537210"/>
                    <a:gd name="connsiteY1" fmla="*/ 19050 h 274320"/>
                    <a:gd name="connsiteX2" fmla="*/ 531495 w 537210"/>
                    <a:gd name="connsiteY2" fmla="*/ 156210 h 274320"/>
                    <a:gd name="connsiteX3" fmla="*/ 131445 w 537210"/>
                    <a:gd name="connsiteY3" fmla="*/ 133350 h 274320"/>
                    <a:gd name="connsiteX4" fmla="*/ 72390 w 537210"/>
                    <a:gd name="connsiteY4" fmla="*/ 274320 h 274320"/>
                    <a:gd name="connsiteX5" fmla="*/ 0 w 537210"/>
                    <a:gd name="connsiteY5" fmla="*/ 9525 h 274320"/>
                    <a:gd name="connsiteX6" fmla="*/ 175260 w 537210"/>
                    <a:gd name="connsiteY6" fmla="*/ 0 h 274320"/>
                    <a:gd name="connsiteX0" fmla="*/ 123825 w 485775"/>
                    <a:gd name="connsiteY0" fmla="*/ 51435 h 325755"/>
                    <a:gd name="connsiteX1" fmla="*/ 485775 w 485775"/>
                    <a:gd name="connsiteY1" fmla="*/ 70485 h 325755"/>
                    <a:gd name="connsiteX2" fmla="*/ 480060 w 485775"/>
                    <a:gd name="connsiteY2" fmla="*/ 207645 h 325755"/>
                    <a:gd name="connsiteX3" fmla="*/ 80010 w 485775"/>
                    <a:gd name="connsiteY3" fmla="*/ 184785 h 325755"/>
                    <a:gd name="connsiteX4" fmla="*/ 20955 w 485775"/>
                    <a:gd name="connsiteY4" fmla="*/ 325755 h 325755"/>
                    <a:gd name="connsiteX5" fmla="*/ 0 w 485775"/>
                    <a:gd name="connsiteY5" fmla="*/ 0 h 325755"/>
                    <a:gd name="connsiteX6" fmla="*/ 123825 w 485775"/>
                    <a:gd name="connsiteY6" fmla="*/ 51435 h 325755"/>
                    <a:gd name="connsiteX0" fmla="*/ 270510 w 632460"/>
                    <a:gd name="connsiteY0" fmla="*/ 30480 h 304800"/>
                    <a:gd name="connsiteX1" fmla="*/ 632460 w 632460"/>
                    <a:gd name="connsiteY1" fmla="*/ 49530 h 304800"/>
                    <a:gd name="connsiteX2" fmla="*/ 626745 w 632460"/>
                    <a:gd name="connsiteY2" fmla="*/ 186690 h 304800"/>
                    <a:gd name="connsiteX3" fmla="*/ 226695 w 632460"/>
                    <a:gd name="connsiteY3" fmla="*/ 163830 h 304800"/>
                    <a:gd name="connsiteX4" fmla="*/ 167640 w 632460"/>
                    <a:gd name="connsiteY4" fmla="*/ 304800 h 304800"/>
                    <a:gd name="connsiteX5" fmla="*/ 0 w 632460"/>
                    <a:gd name="connsiteY5" fmla="*/ 0 h 304800"/>
                    <a:gd name="connsiteX6" fmla="*/ 270510 w 632460"/>
                    <a:gd name="connsiteY6" fmla="*/ 30480 h 304800"/>
                    <a:gd name="connsiteX0" fmla="*/ 270510 w 632460"/>
                    <a:gd name="connsiteY0" fmla="*/ 70933 h 345253"/>
                    <a:gd name="connsiteX1" fmla="*/ 632460 w 632460"/>
                    <a:gd name="connsiteY1" fmla="*/ 89983 h 345253"/>
                    <a:gd name="connsiteX2" fmla="*/ 626745 w 632460"/>
                    <a:gd name="connsiteY2" fmla="*/ 227143 h 345253"/>
                    <a:gd name="connsiteX3" fmla="*/ 226695 w 632460"/>
                    <a:gd name="connsiteY3" fmla="*/ 204283 h 345253"/>
                    <a:gd name="connsiteX4" fmla="*/ 167640 w 632460"/>
                    <a:gd name="connsiteY4" fmla="*/ 345253 h 345253"/>
                    <a:gd name="connsiteX5" fmla="*/ 0 w 632460"/>
                    <a:gd name="connsiteY5" fmla="*/ 40453 h 345253"/>
                    <a:gd name="connsiteX6" fmla="*/ 270510 w 632460"/>
                    <a:gd name="connsiteY6" fmla="*/ 70933 h 345253"/>
                    <a:gd name="connsiteX0" fmla="*/ 270510 w 632460"/>
                    <a:gd name="connsiteY0" fmla="*/ 73449 h 347769"/>
                    <a:gd name="connsiteX1" fmla="*/ 632460 w 632460"/>
                    <a:gd name="connsiteY1" fmla="*/ 92499 h 347769"/>
                    <a:gd name="connsiteX2" fmla="*/ 626745 w 632460"/>
                    <a:gd name="connsiteY2" fmla="*/ 229659 h 347769"/>
                    <a:gd name="connsiteX3" fmla="*/ 226695 w 632460"/>
                    <a:gd name="connsiteY3" fmla="*/ 206799 h 347769"/>
                    <a:gd name="connsiteX4" fmla="*/ 167640 w 632460"/>
                    <a:gd name="connsiteY4" fmla="*/ 347769 h 347769"/>
                    <a:gd name="connsiteX5" fmla="*/ 0 w 632460"/>
                    <a:gd name="connsiteY5" fmla="*/ 42969 h 347769"/>
                    <a:gd name="connsiteX6" fmla="*/ 270510 w 632460"/>
                    <a:gd name="connsiteY6" fmla="*/ 73449 h 347769"/>
                    <a:gd name="connsiteX0" fmla="*/ 299493 w 661443"/>
                    <a:gd name="connsiteY0" fmla="*/ 52917 h 327237"/>
                    <a:gd name="connsiteX1" fmla="*/ 661443 w 661443"/>
                    <a:gd name="connsiteY1" fmla="*/ 71967 h 327237"/>
                    <a:gd name="connsiteX2" fmla="*/ 655728 w 661443"/>
                    <a:gd name="connsiteY2" fmla="*/ 209127 h 327237"/>
                    <a:gd name="connsiteX3" fmla="*/ 255678 w 661443"/>
                    <a:gd name="connsiteY3" fmla="*/ 186267 h 327237"/>
                    <a:gd name="connsiteX4" fmla="*/ 196623 w 661443"/>
                    <a:gd name="connsiteY4" fmla="*/ 327237 h 327237"/>
                    <a:gd name="connsiteX5" fmla="*/ 28983 w 661443"/>
                    <a:gd name="connsiteY5" fmla="*/ 22437 h 327237"/>
                    <a:gd name="connsiteX6" fmla="*/ 27077 w 661443"/>
                    <a:gd name="connsiteY6" fmla="*/ 26248 h 327237"/>
                    <a:gd name="connsiteX7" fmla="*/ 299493 w 661443"/>
                    <a:gd name="connsiteY7" fmla="*/ 52917 h 327237"/>
                    <a:gd name="connsiteX0" fmla="*/ 281709 w 643659"/>
                    <a:gd name="connsiteY0" fmla="*/ 72108 h 346428"/>
                    <a:gd name="connsiteX1" fmla="*/ 643659 w 643659"/>
                    <a:gd name="connsiteY1" fmla="*/ 91158 h 346428"/>
                    <a:gd name="connsiteX2" fmla="*/ 637944 w 643659"/>
                    <a:gd name="connsiteY2" fmla="*/ 228318 h 346428"/>
                    <a:gd name="connsiteX3" fmla="*/ 237894 w 643659"/>
                    <a:gd name="connsiteY3" fmla="*/ 205458 h 346428"/>
                    <a:gd name="connsiteX4" fmla="*/ 178839 w 643659"/>
                    <a:gd name="connsiteY4" fmla="*/ 346428 h 346428"/>
                    <a:gd name="connsiteX5" fmla="*/ 11199 w 643659"/>
                    <a:gd name="connsiteY5" fmla="*/ 41628 h 346428"/>
                    <a:gd name="connsiteX6" fmla="*/ 56918 w 643659"/>
                    <a:gd name="connsiteY6" fmla="*/ 3529 h 346428"/>
                    <a:gd name="connsiteX7" fmla="*/ 281709 w 643659"/>
                    <a:gd name="connsiteY7" fmla="*/ 72108 h 346428"/>
                    <a:gd name="connsiteX0" fmla="*/ 512615 w 874565"/>
                    <a:gd name="connsiteY0" fmla="*/ 68632 h 407722"/>
                    <a:gd name="connsiteX1" fmla="*/ 874565 w 874565"/>
                    <a:gd name="connsiteY1" fmla="*/ 87682 h 407722"/>
                    <a:gd name="connsiteX2" fmla="*/ 868850 w 874565"/>
                    <a:gd name="connsiteY2" fmla="*/ 224842 h 407722"/>
                    <a:gd name="connsiteX3" fmla="*/ 468800 w 874565"/>
                    <a:gd name="connsiteY3" fmla="*/ 201982 h 407722"/>
                    <a:gd name="connsiteX4" fmla="*/ 409745 w 874565"/>
                    <a:gd name="connsiteY4" fmla="*/ 342952 h 407722"/>
                    <a:gd name="connsiteX5" fmla="*/ 2075 w 874565"/>
                    <a:gd name="connsiteY5" fmla="*/ 407722 h 407722"/>
                    <a:gd name="connsiteX6" fmla="*/ 287824 w 874565"/>
                    <a:gd name="connsiteY6" fmla="*/ 53 h 407722"/>
                    <a:gd name="connsiteX7" fmla="*/ 512615 w 874565"/>
                    <a:gd name="connsiteY7" fmla="*/ 68632 h 407722"/>
                    <a:gd name="connsiteX0" fmla="*/ 512628 w 874578"/>
                    <a:gd name="connsiteY0" fmla="*/ 11492 h 350582"/>
                    <a:gd name="connsiteX1" fmla="*/ 874578 w 874578"/>
                    <a:gd name="connsiteY1" fmla="*/ 30542 h 350582"/>
                    <a:gd name="connsiteX2" fmla="*/ 868863 w 874578"/>
                    <a:gd name="connsiteY2" fmla="*/ 167702 h 350582"/>
                    <a:gd name="connsiteX3" fmla="*/ 468813 w 874578"/>
                    <a:gd name="connsiteY3" fmla="*/ 144842 h 350582"/>
                    <a:gd name="connsiteX4" fmla="*/ 409758 w 874578"/>
                    <a:gd name="connsiteY4" fmla="*/ 285812 h 350582"/>
                    <a:gd name="connsiteX5" fmla="*/ 2088 w 874578"/>
                    <a:gd name="connsiteY5" fmla="*/ 350582 h 350582"/>
                    <a:gd name="connsiteX6" fmla="*/ 285932 w 874578"/>
                    <a:gd name="connsiteY6" fmla="*/ 63 h 350582"/>
                    <a:gd name="connsiteX7" fmla="*/ 512628 w 874578"/>
                    <a:gd name="connsiteY7" fmla="*/ 11492 h 350582"/>
                    <a:gd name="connsiteX0" fmla="*/ 512730 w 874680"/>
                    <a:gd name="connsiteY0" fmla="*/ 40061 h 379151"/>
                    <a:gd name="connsiteX1" fmla="*/ 874680 w 874680"/>
                    <a:gd name="connsiteY1" fmla="*/ 59111 h 379151"/>
                    <a:gd name="connsiteX2" fmla="*/ 868965 w 874680"/>
                    <a:gd name="connsiteY2" fmla="*/ 196271 h 379151"/>
                    <a:gd name="connsiteX3" fmla="*/ 468915 w 874680"/>
                    <a:gd name="connsiteY3" fmla="*/ 173411 h 379151"/>
                    <a:gd name="connsiteX4" fmla="*/ 409860 w 874680"/>
                    <a:gd name="connsiteY4" fmla="*/ 314381 h 379151"/>
                    <a:gd name="connsiteX5" fmla="*/ 2190 w 874680"/>
                    <a:gd name="connsiteY5" fmla="*/ 379151 h 379151"/>
                    <a:gd name="connsiteX6" fmla="*/ 272699 w 874680"/>
                    <a:gd name="connsiteY6" fmla="*/ 57 h 379151"/>
                    <a:gd name="connsiteX7" fmla="*/ 512730 w 874680"/>
                    <a:gd name="connsiteY7" fmla="*/ 40061 h 379151"/>
                    <a:gd name="connsiteX0" fmla="*/ 512730 w 874680"/>
                    <a:gd name="connsiteY0" fmla="*/ 66449 h 405539"/>
                    <a:gd name="connsiteX1" fmla="*/ 874680 w 874680"/>
                    <a:gd name="connsiteY1" fmla="*/ 85499 h 405539"/>
                    <a:gd name="connsiteX2" fmla="*/ 868965 w 874680"/>
                    <a:gd name="connsiteY2" fmla="*/ 222659 h 405539"/>
                    <a:gd name="connsiteX3" fmla="*/ 468915 w 874680"/>
                    <a:gd name="connsiteY3" fmla="*/ 199799 h 405539"/>
                    <a:gd name="connsiteX4" fmla="*/ 409860 w 874680"/>
                    <a:gd name="connsiteY4" fmla="*/ 340769 h 405539"/>
                    <a:gd name="connsiteX5" fmla="*/ 2190 w 874680"/>
                    <a:gd name="connsiteY5" fmla="*/ 405539 h 405539"/>
                    <a:gd name="connsiteX6" fmla="*/ 272699 w 874680"/>
                    <a:gd name="connsiteY6" fmla="*/ 26445 h 405539"/>
                    <a:gd name="connsiteX7" fmla="*/ 512730 w 874680"/>
                    <a:gd name="connsiteY7" fmla="*/ 66449 h 405539"/>
                    <a:gd name="connsiteX0" fmla="*/ 512730 w 874680"/>
                    <a:gd name="connsiteY0" fmla="*/ 69506 h 408596"/>
                    <a:gd name="connsiteX1" fmla="*/ 874680 w 874680"/>
                    <a:gd name="connsiteY1" fmla="*/ 88556 h 408596"/>
                    <a:gd name="connsiteX2" fmla="*/ 868965 w 874680"/>
                    <a:gd name="connsiteY2" fmla="*/ 225716 h 408596"/>
                    <a:gd name="connsiteX3" fmla="*/ 468915 w 874680"/>
                    <a:gd name="connsiteY3" fmla="*/ 202856 h 408596"/>
                    <a:gd name="connsiteX4" fmla="*/ 409860 w 874680"/>
                    <a:gd name="connsiteY4" fmla="*/ 343826 h 408596"/>
                    <a:gd name="connsiteX5" fmla="*/ 2190 w 874680"/>
                    <a:gd name="connsiteY5" fmla="*/ 408596 h 408596"/>
                    <a:gd name="connsiteX6" fmla="*/ 272699 w 874680"/>
                    <a:gd name="connsiteY6" fmla="*/ 29502 h 408596"/>
                    <a:gd name="connsiteX7" fmla="*/ 512730 w 874680"/>
                    <a:gd name="connsiteY7" fmla="*/ 69506 h 408596"/>
                    <a:gd name="connsiteX0" fmla="*/ 522181 w 884131"/>
                    <a:gd name="connsiteY0" fmla="*/ 69506 h 399071"/>
                    <a:gd name="connsiteX1" fmla="*/ 884131 w 884131"/>
                    <a:gd name="connsiteY1" fmla="*/ 88556 h 399071"/>
                    <a:gd name="connsiteX2" fmla="*/ 878416 w 884131"/>
                    <a:gd name="connsiteY2" fmla="*/ 225716 h 399071"/>
                    <a:gd name="connsiteX3" fmla="*/ 478366 w 884131"/>
                    <a:gd name="connsiteY3" fmla="*/ 202856 h 399071"/>
                    <a:gd name="connsiteX4" fmla="*/ 419311 w 884131"/>
                    <a:gd name="connsiteY4" fmla="*/ 343826 h 399071"/>
                    <a:gd name="connsiteX5" fmla="*/ 2116 w 884131"/>
                    <a:gd name="connsiteY5" fmla="*/ 399071 h 399071"/>
                    <a:gd name="connsiteX6" fmla="*/ 282150 w 884131"/>
                    <a:gd name="connsiteY6" fmla="*/ 29502 h 399071"/>
                    <a:gd name="connsiteX7" fmla="*/ 522181 w 884131"/>
                    <a:gd name="connsiteY7" fmla="*/ 69506 h 399071"/>
                    <a:gd name="connsiteX0" fmla="*/ 512731 w 874681"/>
                    <a:gd name="connsiteY0" fmla="*/ 69506 h 400976"/>
                    <a:gd name="connsiteX1" fmla="*/ 874681 w 874681"/>
                    <a:gd name="connsiteY1" fmla="*/ 88556 h 400976"/>
                    <a:gd name="connsiteX2" fmla="*/ 868966 w 874681"/>
                    <a:gd name="connsiteY2" fmla="*/ 225716 h 400976"/>
                    <a:gd name="connsiteX3" fmla="*/ 468916 w 874681"/>
                    <a:gd name="connsiteY3" fmla="*/ 202856 h 400976"/>
                    <a:gd name="connsiteX4" fmla="*/ 409861 w 874681"/>
                    <a:gd name="connsiteY4" fmla="*/ 343826 h 400976"/>
                    <a:gd name="connsiteX5" fmla="*/ 2191 w 874681"/>
                    <a:gd name="connsiteY5" fmla="*/ 400976 h 400976"/>
                    <a:gd name="connsiteX6" fmla="*/ 272700 w 874681"/>
                    <a:gd name="connsiteY6" fmla="*/ 29502 h 400976"/>
                    <a:gd name="connsiteX7" fmla="*/ 512731 w 874681"/>
                    <a:gd name="connsiteY7" fmla="*/ 69506 h 400976"/>
                    <a:gd name="connsiteX0" fmla="*/ 510540 w 872490"/>
                    <a:gd name="connsiteY0" fmla="*/ 69506 h 400976"/>
                    <a:gd name="connsiteX1" fmla="*/ 872490 w 872490"/>
                    <a:gd name="connsiteY1" fmla="*/ 88556 h 400976"/>
                    <a:gd name="connsiteX2" fmla="*/ 866775 w 872490"/>
                    <a:gd name="connsiteY2" fmla="*/ 225716 h 400976"/>
                    <a:gd name="connsiteX3" fmla="*/ 466725 w 872490"/>
                    <a:gd name="connsiteY3" fmla="*/ 202856 h 400976"/>
                    <a:gd name="connsiteX4" fmla="*/ 407670 w 872490"/>
                    <a:gd name="connsiteY4" fmla="*/ 343826 h 400976"/>
                    <a:gd name="connsiteX5" fmla="*/ 0 w 872490"/>
                    <a:gd name="connsiteY5" fmla="*/ 400976 h 400976"/>
                    <a:gd name="connsiteX6" fmla="*/ 270509 w 872490"/>
                    <a:gd name="connsiteY6" fmla="*/ 29502 h 400976"/>
                    <a:gd name="connsiteX7" fmla="*/ 510540 w 872490"/>
                    <a:gd name="connsiteY7" fmla="*/ 69506 h 400976"/>
                    <a:gd name="connsiteX0" fmla="*/ 510540 w 872490"/>
                    <a:gd name="connsiteY0" fmla="*/ 69506 h 400976"/>
                    <a:gd name="connsiteX1" fmla="*/ 872490 w 872490"/>
                    <a:gd name="connsiteY1" fmla="*/ 88556 h 400976"/>
                    <a:gd name="connsiteX2" fmla="*/ 866775 w 872490"/>
                    <a:gd name="connsiteY2" fmla="*/ 225716 h 400976"/>
                    <a:gd name="connsiteX3" fmla="*/ 466725 w 872490"/>
                    <a:gd name="connsiteY3" fmla="*/ 202856 h 400976"/>
                    <a:gd name="connsiteX4" fmla="*/ 407670 w 872490"/>
                    <a:gd name="connsiteY4" fmla="*/ 343826 h 400976"/>
                    <a:gd name="connsiteX5" fmla="*/ 0 w 872490"/>
                    <a:gd name="connsiteY5" fmla="*/ 400976 h 400976"/>
                    <a:gd name="connsiteX6" fmla="*/ 270509 w 872490"/>
                    <a:gd name="connsiteY6" fmla="*/ 29502 h 400976"/>
                    <a:gd name="connsiteX7" fmla="*/ 510540 w 872490"/>
                    <a:gd name="connsiteY7" fmla="*/ 69506 h 400976"/>
                    <a:gd name="connsiteX0" fmla="*/ 510540 w 872490"/>
                    <a:gd name="connsiteY0" fmla="*/ 69506 h 400976"/>
                    <a:gd name="connsiteX1" fmla="*/ 872490 w 872490"/>
                    <a:gd name="connsiteY1" fmla="*/ 88556 h 400976"/>
                    <a:gd name="connsiteX2" fmla="*/ 866775 w 872490"/>
                    <a:gd name="connsiteY2" fmla="*/ 225716 h 400976"/>
                    <a:gd name="connsiteX3" fmla="*/ 466725 w 872490"/>
                    <a:gd name="connsiteY3" fmla="*/ 202856 h 400976"/>
                    <a:gd name="connsiteX4" fmla="*/ 407670 w 872490"/>
                    <a:gd name="connsiteY4" fmla="*/ 343826 h 400976"/>
                    <a:gd name="connsiteX5" fmla="*/ 0 w 872490"/>
                    <a:gd name="connsiteY5" fmla="*/ 400976 h 400976"/>
                    <a:gd name="connsiteX6" fmla="*/ 270509 w 872490"/>
                    <a:gd name="connsiteY6" fmla="*/ 29502 h 400976"/>
                    <a:gd name="connsiteX7" fmla="*/ 510540 w 872490"/>
                    <a:gd name="connsiteY7" fmla="*/ 69506 h 400976"/>
                    <a:gd name="connsiteX0" fmla="*/ 512445 w 874395"/>
                    <a:gd name="connsiteY0" fmla="*/ 69506 h 393356"/>
                    <a:gd name="connsiteX1" fmla="*/ 874395 w 874395"/>
                    <a:gd name="connsiteY1" fmla="*/ 88556 h 393356"/>
                    <a:gd name="connsiteX2" fmla="*/ 868680 w 874395"/>
                    <a:gd name="connsiteY2" fmla="*/ 225716 h 393356"/>
                    <a:gd name="connsiteX3" fmla="*/ 468630 w 874395"/>
                    <a:gd name="connsiteY3" fmla="*/ 202856 h 393356"/>
                    <a:gd name="connsiteX4" fmla="*/ 409575 w 874395"/>
                    <a:gd name="connsiteY4" fmla="*/ 343826 h 393356"/>
                    <a:gd name="connsiteX5" fmla="*/ 0 w 874395"/>
                    <a:gd name="connsiteY5" fmla="*/ 393356 h 393356"/>
                    <a:gd name="connsiteX6" fmla="*/ 272414 w 874395"/>
                    <a:gd name="connsiteY6" fmla="*/ 29502 h 393356"/>
                    <a:gd name="connsiteX7" fmla="*/ 512445 w 874395"/>
                    <a:gd name="connsiteY7" fmla="*/ 69506 h 393356"/>
                    <a:gd name="connsiteX0" fmla="*/ 512445 w 874395"/>
                    <a:gd name="connsiteY0" fmla="*/ 69506 h 393356"/>
                    <a:gd name="connsiteX1" fmla="*/ 874395 w 874395"/>
                    <a:gd name="connsiteY1" fmla="*/ 88556 h 393356"/>
                    <a:gd name="connsiteX2" fmla="*/ 868680 w 874395"/>
                    <a:gd name="connsiteY2" fmla="*/ 225716 h 393356"/>
                    <a:gd name="connsiteX3" fmla="*/ 468630 w 874395"/>
                    <a:gd name="connsiteY3" fmla="*/ 202856 h 393356"/>
                    <a:gd name="connsiteX4" fmla="*/ 409575 w 874395"/>
                    <a:gd name="connsiteY4" fmla="*/ 343826 h 393356"/>
                    <a:gd name="connsiteX5" fmla="*/ 0 w 874395"/>
                    <a:gd name="connsiteY5" fmla="*/ 393356 h 393356"/>
                    <a:gd name="connsiteX6" fmla="*/ 272414 w 874395"/>
                    <a:gd name="connsiteY6" fmla="*/ 29502 h 393356"/>
                    <a:gd name="connsiteX7" fmla="*/ 512445 w 874395"/>
                    <a:gd name="connsiteY7" fmla="*/ 69506 h 393356"/>
                    <a:gd name="connsiteX0" fmla="*/ 512445 w 874395"/>
                    <a:gd name="connsiteY0" fmla="*/ 69506 h 393356"/>
                    <a:gd name="connsiteX1" fmla="*/ 874395 w 874395"/>
                    <a:gd name="connsiteY1" fmla="*/ 88556 h 393356"/>
                    <a:gd name="connsiteX2" fmla="*/ 868680 w 874395"/>
                    <a:gd name="connsiteY2" fmla="*/ 225716 h 393356"/>
                    <a:gd name="connsiteX3" fmla="*/ 468630 w 874395"/>
                    <a:gd name="connsiteY3" fmla="*/ 202856 h 393356"/>
                    <a:gd name="connsiteX4" fmla="*/ 409575 w 874395"/>
                    <a:gd name="connsiteY4" fmla="*/ 343826 h 393356"/>
                    <a:gd name="connsiteX5" fmla="*/ 177166 w 874395"/>
                    <a:gd name="connsiteY5" fmla="*/ 366688 h 393356"/>
                    <a:gd name="connsiteX6" fmla="*/ 0 w 874395"/>
                    <a:gd name="connsiteY6" fmla="*/ 393356 h 393356"/>
                    <a:gd name="connsiteX7" fmla="*/ 272414 w 874395"/>
                    <a:gd name="connsiteY7" fmla="*/ 29502 h 393356"/>
                    <a:gd name="connsiteX8" fmla="*/ 512445 w 874395"/>
                    <a:gd name="connsiteY8" fmla="*/ 69506 h 393356"/>
                    <a:gd name="connsiteX0" fmla="*/ 632459 w 994409"/>
                    <a:gd name="connsiteY0" fmla="*/ 69506 h 761023"/>
                    <a:gd name="connsiteX1" fmla="*/ 994409 w 994409"/>
                    <a:gd name="connsiteY1" fmla="*/ 88556 h 761023"/>
                    <a:gd name="connsiteX2" fmla="*/ 988694 w 994409"/>
                    <a:gd name="connsiteY2" fmla="*/ 225716 h 761023"/>
                    <a:gd name="connsiteX3" fmla="*/ 588644 w 994409"/>
                    <a:gd name="connsiteY3" fmla="*/ 202856 h 761023"/>
                    <a:gd name="connsiteX4" fmla="*/ 529589 w 994409"/>
                    <a:gd name="connsiteY4" fmla="*/ 343826 h 761023"/>
                    <a:gd name="connsiteX5" fmla="*/ 0 w 994409"/>
                    <a:gd name="connsiteY5" fmla="*/ 761023 h 761023"/>
                    <a:gd name="connsiteX6" fmla="*/ 120014 w 994409"/>
                    <a:gd name="connsiteY6" fmla="*/ 393356 h 761023"/>
                    <a:gd name="connsiteX7" fmla="*/ 392428 w 994409"/>
                    <a:gd name="connsiteY7" fmla="*/ 29502 h 761023"/>
                    <a:gd name="connsiteX8" fmla="*/ 632459 w 994409"/>
                    <a:gd name="connsiteY8" fmla="*/ 69506 h 761023"/>
                    <a:gd name="connsiteX0" fmla="*/ 632459 w 994409"/>
                    <a:gd name="connsiteY0" fmla="*/ 69506 h 761023"/>
                    <a:gd name="connsiteX1" fmla="*/ 994409 w 994409"/>
                    <a:gd name="connsiteY1" fmla="*/ 88556 h 761023"/>
                    <a:gd name="connsiteX2" fmla="*/ 988694 w 994409"/>
                    <a:gd name="connsiteY2" fmla="*/ 225716 h 761023"/>
                    <a:gd name="connsiteX3" fmla="*/ 588644 w 994409"/>
                    <a:gd name="connsiteY3" fmla="*/ 202856 h 761023"/>
                    <a:gd name="connsiteX4" fmla="*/ 529589 w 994409"/>
                    <a:gd name="connsiteY4" fmla="*/ 343826 h 761023"/>
                    <a:gd name="connsiteX5" fmla="*/ 0 w 994409"/>
                    <a:gd name="connsiteY5" fmla="*/ 761023 h 761023"/>
                    <a:gd name="connsiteX6" fmla="*/ 120014 w 994409"/>
                    <a:gd name="connsiteY6" fmla="*/ 393356 h 761023"/>
                    <a:gd name="connsiteX7" fmla="*/ 392428 w 994409"/>
                    <a:gd name="connsiteY7" fmla="*/ 29502 h 761023"/>
                    <a:gd name="connsiteX8" fmla="*/ 632459 w 994409"/>
                    <a:gd name="connsiteY8" fmla="*/ 69506 h 761023"/>
                    <a:gd name="connsiteX0" fmla="*/ 632459 w 994409"/>
                    <a:gd name="connsiteY0" fmla="*/ 69506 h 761023"/>
                    <a:gd name="connsiteX1" fmla="*/ 994409 w 994409"/>
                    <a:gd name="connsiteY1" fmla="*/ 88556 h 761023"/>
                    <a:gd name="connsiteX2" fmla="*/ 988694 w 994409"/>
                    <a:gd name="connsiteY2" fmla="*/ 225716 h 761023"/>
                    <a:gd name="connsiteX3" fmla="*/ 588644 w 994409"/>
                    <a:gd name="connsiteY3" fmla="*/ 202856 h 761023"/>
                    <a:gd name="connsiteX4" fmla="*/ 529589 w 994409"/>
                    <a:gd name="connsiteY4" fmla="*/ 343826 h 761023"/>
                    <a:gd name="connsiteX5" fmla="*/ 0 w 994409"/>
                    <a:gd name="connsiteY5" fmla="*/ 761023 h 761023"/>
                    <a:gd name="connsiteX6" fmla="*/ 120014 w 994409"/>
                    <a:gd name="connsiteY6" fmla="*/ 393356 h 761023"/>
                    <a:gd name="connsiteX7" fmla="*/ 392428 w 994409"/>
                    <a:gd name="connsiteY7" fmla="*/ 29502 h 761023"/>
                    <a:gd name="connsiteX8" fmla="*/ 632459 w 994409"/>
                    <a:gd name="connsiteY8" fmla="*/ 69506 h 761023"/>
                    <a:gd name="connsiteX0" fmla="*/ 632459 w 994409"/>
                    <a:gd name="connsiteY0" fmla="*/ 69506 h 721018"/>
                    <a:gd name="connsiteX1" fmla="*/ 994409 w 994409"/>
                    <a:gd name="connsiteY1" fmla="*/ 88556 h 721018"/>
                    <a:gd name="connsiteX2" fmla="*/ 988694 w 994409"/>
                    <a:gd name="connsiteY2" fmla="*/ 225716 h 721018"/>
                    <a:gd name="connsiteX3" fmla="*/ 588644 w 994409"/>
                    <a:gd name="connsiteY3" fmla="*/ 202856 h 721018"/>
                    <a:gd name="connsiteX4" fmla="*/ 529589 w 994409"/>
                    <a:gd name="connsiteY4" fmla="*/ 343826 h 721018"/>
                    <a:gd name="connsiteX5" fmla="*/ 0 w 994409"/>
                    <a:gd name="connsiteY5" fmla="*/ 721018 h 721018"/>
                    <a:gd name="connsiteX6" fmla="*/ 120014 w 994409"/>
                    <a:gd name="connsiteY6" fmla="*/ 393356 h 721018"/>
                    <a:gd name="connsiteX7" fmla="*/ 392428 w 994409"/>
                    <a:gd name="connsiteY7" fmla="*/ 29502 h 721018"/>
                    <a:gd name="connsiteX8" fmla="*/ 632459 w 994409"/>
                    <a:gd name="connsiteY8" fmla="*/ 69506 h 721018"/>
                    <a:gd name="connsiteX0" fmla="*/ 678024 w 1039974"/>
                    <a:gd name="connsiteY0" fmla="*/ 69506 h 766160"/>
                    <a:gd name="connsiteX1" fmla="*/ 1039974 w 1039974"/>
                    <a:gd name="connsiteY1" fmla="*/ 88556 h 766160"/>
                    <a:gd name="connsiteX2" fmla="*/ 1034259 w 1039974"/>
                    <a:gd name="connsiteY2" fmla="*/ 225716 h 766160"/>
                    <a:gd name="connsiteX3" fmla="*/ 634209 w 1039974"/>
                    <a:gd name="connsiteY3" fmla="*/ 202856 h 766160"/>
                    <a:gd name="connsiteX4" fmla="*/ 575154 w 1039974"/>
                    <a:gd name="connsiteY4" fmla="*/ 343826 h 766160"/>
                    <a:gd name="connsiteX5" fmla="*/ 45565 w 1039974"/>
                    <a:gd name="connsiteY5" fmla="*/ 721018 h 766160"/>
                    <a:gd name="connsiteX6" fmla="*/ 41755 w 1039974"/>
                    <a:gd name="connsiteY6" fmla="*/ 722923 h 766160"/>
                    <a:gd name="connsiteX7" fmla="*/ 165579 w 1039974"/>
                    <a:gd name="connsiteY7" fmla="*/ 393356 h 766160"/>
                    <a:gd name="connsiteX8" fmla="*/ 437993 w 1039974"/>
                    <a:gd name="connsiteY8" fmla="*/ 29502 h 766160"/>
                    <a:gd name="connsiteX9" fmla="*/ 678024 w 1039974"/>
                    <a:gd name="connsiteY9" fmla="*/ 69506 h 766160"/>
                    <a:gd name="connsiteX0" fmla="*/ 672464 w 1034414"/>
                    <a:gd name="connsiteY0" fmla="*/ 69506 h 746494"/>
                    <a:gd name="connsiteX1" fmla="*/ 1034414 w 1034414"/>
                    <a:gd name="connsiteY1" fmla="*/ 88556 h 746494"/>
                    <a:gd name="connsiteX2" fmla="*/ 1028699 w 1034414"/>
                    <a:gd name="connsiteY2" fmla="*/ 225716 h 746494"/>
                    <a:gd name="connsiteX3" fmla="*/ 628649 w 1034414"/>
                    <a:gd name="connsiteY3" fmla="*/ 202856 h 746494"/>
                    <a:gd name="connsiteX4" fmla="*/ 569594 w 1034414"/>
                    <a:gd name="connsiteY4" fmla="*/ 343826 h 746494"/>
                    <a:gd name="connsiteX5" fmla="*/ 40005 w 1034414"/>
                    <a:gd name="connsiteY5" fmla="*/ 721018 h 746494"/>
                    <a:gd name="connsiteX6" fmla="*/ 55245 w 1034414"/>
                    <a:gd name="connsiteY6" fmla="*/ 661963 h 746494"/>
                    <a:gd name="connsiteX7" fmla="*/ 160019 w 1034414"/>
                    <a:gd name="connsiteY7" fmla="*/ 393356 h 746494"/>
                    <a:gd name="connsiteX8" fmla="*/ 432433 w 1034414"/>
                    <a:gd name="connsiteY8" fmla="*/ 29502 h 746494"/>
                    <a:gd name="connsiteX9" fmla="*/ 672464 w 1034414"/>
                    <a:gd name="connsiteY9" fmla="*/ 69506 h 746494"/>
                    <a:gd name="connsiteX0" fmla="*/ 880577 w 1242527"/>
                    <a:gd name="connsiteY0" fmla="*/ 69506 h 1072386"/>
                    <a:gd name="connsiteX1" fmla="*/ 1242527 w 1242527"/>
                    <a:gd name="connsiteY1" fmla="*/ 88556 h 1072386"/>
                    <a:gd name="connsiteX2" fmla="*/ 1236812 w 1242527"/>
                    <a:gd name="connsiteY2" fmla="*/ 225716 h 1072386"/>
                    <a:gd name="connsiteX3" fmla="*/ 836762 w 1242527"/>
                    <a:gd name="connsiteY3" fmla="*/ 202856 h 1072386"/>
                    <a:gd name="connsiteX4" fmla="*/ 777707 w 1242527"/>
                    <a:gd name="connsiteY4" fmla="*/ 343826 h 1072386"/>
                    <a:gd name="connsiteX5" fmla="*/ 15708 w 1242527"/>
                    <a:gd name="connsiteY5" fmla="*/ 1065823 h 1072386"/>
                    <a:gd name="connsiteX6" fmla="*/ 263358 w 1242527"/>
                    <a:gd name="connsiteY6" fmla="*/ 661963 h 1072386"/>
                    <a:gd name="connsiteX7" fmla="*/ 368132 w 1242527"/>
                    <a:gd name="connsiteY7" fmla="*/ 393356 h 1072386"/>
                    <a:gd name="connsiteX8" fmla="*/ 640546 w 1242527"/>
                    <a:gd name="connsiteY8" fmla="*/ 29502 h 1072386"/>
                    <a:gd name="connsiteX9" fmla="*/ 880577 w 1242527"/>
                    <a:gd name="connsiteY9" fmla="*/ 69506 h 1072386"/>
                    <a:gd name="connsiteX0" fmla="*/ 880899 w 1242849"/>
                    <a:gd name="connsiteY0" fmla="*/ 69506 h 1073182"/>
                    <a:gd name="connsiteX1" fmla="*/ 1242849 w 1242849"/>
                    <a:gd name="connsiteY1" fmla="*/ 88556 h 1073182"/>
                    <a:gd name="connsiteX2" fmla="*/ 1237134 w 1242849"/>
                    <a:gd name="connsiteY2" fmla="*/ 225716 h 1073182"/>
                    <a:gd name="connsiteX3" fmla="*/ 837084 w 1242849"/>
                    <a:gd name="connsiteY3" fmla="*/ 202856 h 1073182"/>
                    <a:gd name="connsiteX4" fmla="*/ 778029 w 1242849"/>
                    <a:gd name="connsiteY4" fmla="*/ 343826 h 1073182"/>
                    <a:gd name="connsiteX5" fmla="*/ 16030 w 1242849"/>
                    <a:gd name="connsiteY5" fmla="*/ 1065823 h 1073182"/>
                    <a:gd name="connsiteX6" fmla="*/ 256060 w 1242849"/>
                    <a:gd name="connsiteY6" fmla="*/ 711493 h 1073182"/>
                    <a:gd name="connsiteX7" fmla="*/ 368454 w 1242849"/>
                    <a:gd name="connsiteY7" fmla="*/ 393356 h 1073182"/>
                    <a:gd name="connsiteX8" fmla="*/ 640868 w 1242849"/>
                    <a:gd name="connsiteY8" fmla="*/ 29502 h 1073182"/>
                    <a:gd name="connsiteX9" fmla="*/ 880899 w 1242849"/>
                    <a:gd name="connsiteY9" fmla="*/ 69506 h 1073182"/>
                    <a:gd name="connsiteX0" fmla="*/ 879134 w 1241084"/>
                    <a:gd name="connsiteY0" fmla="*/ 69506 h 1080661"/>
                    <a:gd name="connsiteX1" fmla="*/ 1241084 w 1241084"/>
                    <a:gd name="connsiteY1" fmla="*/ 88556 h 1080661"/>
                    <a:gd name="connsiteX2" fmla="*/ 1235369 w 1241084"/>
                    <a:gd name="connsiteY2" fmla="*/ 225716 h 1080661"/>
                    <a:gd name="connsiteX3" fmla="*/ 835319 w 1241084"/>
                    <a:gd name="connsiteY3" fmla="*/ 202856 h 1080661"/>
                    <a:gd name="connsiteX4" fmla="*/ 776264 w 1241084"/>
                    <a:gd name="connsiteY4" fmla="*/ 343826 h 1080661"/>
                    <a:gd name="connsiteX5" fmla="*/ 14265 w 1241084"/>
                    <a:gd name="connsiteY5" fmla="*/ 1065823 h 1080661"/>
                    <a:gd name="connsiteX6" fmla="*/ 277156 w 1241084"/>
                    <a:gd name="connsiteY6" fmla="*/ 821983 h 1080661"/>
                    <a:gd name="connsiteX7" fmla="*/ 254295 w 1241084"/>
                    <a:gd name="connsiteY7" fmla="*/ 711493 h 1080661"/>
                    <a:gd name="connsiteX8" fmla="*/ 366689 w 1241084"/>
                    <a:gd name="connsiteY8" fmla="*/ 393356 h 1080661"/>
                    <a:gd name="connsiteX9" fmla="*/ 639103 w 1241084"/>
                    <a:gd name="connsiteY9" fmla="*/ 29502 h 1080661"/>
                    <a:gd name="connsiteX10" fmla="*/ 879134 w 1241084"/>
                    <a:gd name="connsiteY10" fmla="*/ 69506 h 1080661"/>
                    <a:gd name="connsiteX0" fmla="*/ 894905 w 1256855"/>
                    <a:gd name="connsiteY0" fmla="*/ 69506 h 1089457"/>
                    <a:gd name="connsiteX1" fmla="*/ 1256855 w 1256855"/>
                    <a:gd name="connsiteY1" fmla="*/ 88556 h 1089457"/>
                    <a:gd name="connsiteX2" fmla="*/ 1251140 w 1256855"/>
                    <a:gd name="connsiteY2" fmla="*/ 225716 h 1089457"/>
                    <a:gd name="connsiteX3" fmla="*/ 851090 w 1256855"/>
                    <a:gd name="connsiteY3" fmla="*/ 202856 h 1089457"/>
                    <a:gd name="connsiteX4" fmla="*/ 792035 w 1256855"/>
                    <a:gd name="connsiteY4" fmla="*/ 343826 h 1089457"/>
                    <a:gd name="connsiteX5" fmla="*/ 30036 w 1256855"/>
                    <a:gd name="connsiteY5" fmla="*/ 1065823 h 1089457"/>
                    <a:gd name="connsiteX6" fmla="*/ 98617 w 1256855"/>
                    <a:gd name="connsiteY6" fmla="*/ 943903 h 1089457"/>
                    <a:gd name="connsiteX7" fmla="*/ 270066 w 1256855"/>
                    <a:gd name="connsiteY7" fmla="*/ 711493 h 1089457"/>
                    <a:gd name="connsiteX8" fmla="*/ 382460 w 1256855"/>
                    <a:gd name="connsiteY8" fmla="*/ 393356 h 1089457"/>
                    <a:gd name="connsiteX9" fmla="*/ 654874 w 1256855"/>
                    <a:gd name="connsiteY9" fmla="*/ 29502 h 1089457"/>
                    <a:gd name="connsiteX10" fmla="*/ 894905 w 1256855"/>
                    <a:gd name="connsiteY10" fmla="*/ 69506 h 1089457"/>
                    <a:gd name="connsiteX0" fmla="*/ 814433 w 1176383"/>
                    <a:gd name="connsiteY0" fmla="*/ 69506 h 1116911"/>
                    <a:gd name="connsiteX1" fmla="*/ 1176383 w 1176383"/>
                    <a:gd name="connsiteY1" fmla="*/ 88556 h 1116911"/>
                    <a:gd name="connsiteX2" fmla="*/ 1170668 w 1176383"/>
                    <a:gd name="connsiteY2" fmla="*/ 225716 h 1116911"/>
                    <a:gd name="connsiteX3" fmla="*/ 770618 w 1176383"/>
                    <a:gd name="connsiteY3" fmla="*/ 202856 h 1116911"/>
                    <a:gd name="connsiteX4" fmla="*/ 711563 w 1176383"/>
                    <a:gd name="connsiteY4" fmla="*/ 343826 h 1116911"/>
                    <a:gd name="connsiteX5" fmla="*/ 88629 w 1176383"/>
                    <a:gd name="connsiteY5" fmla="*/ 1096303 h 1116911"/>
                    <a:gd name="connsiteX6" fmla="*/ 18145 w 1176383"/>
                    <a:gd name="connsiteY6" fmla="*/ 943903 h 1116911"/>
                    <a:gd name="connsiteX7" fmla="*/ 189594 w 1176383"/>
                    <a:gd name="connsiteY7" fmla="*/ 711493 h 1116911"/>
                    <a:gd name="connsiteX8" fmla="*/ 301988 w 1176383"/>
                    <a:gd name="connsiteY8" fmla="*/ 393356 h 1116911"/>
                    <a:gd name="connsiteX9" fmla="*/ 574402 w 1176383"/>
                    <a:gd name="connsiteY9" fmla="*/ 29502 h 1116911"/>
                    <a:gd name="connsiteX10" fmla="*/ 814433 w 1176383"/>
                    <a:gd name="connsiteY10" fmla="*/ 69506 h 1116911"/>
                    <a:gd name="connsiteX0" fmla="*/ 829563 w 1191513"/>
                    <a:gd name="connsiteY0" fmla="*/ 69506 h 1153900"/>
                    <a:gd name="connsiteX1" fmla="*/ 1191513 w 1191513"/>
                    <a:gd name="connsiteY1" fmla="*/ 88556 h 1153900"/>
                    <a:gd name="connsiteX2" fmla="*/ 1185798 w 1191513"/>
                    <a:gd name="connsiteY2" fmla="*/ 225716 h 1153900"/>
                    <a:gd name="connsiteX3" fmla="*/ 785748 w 1191513"/>
                    <a:gd name="connsiteY3" fmla="*/ 202856 h 1153900"/>
                    <a:gd name="connsiteX4" fmla="*/ 726693 w 1191513"/>
                    <a:gd name="connsiteY4" fmla="*/ 343826 h 1153900"/>
                    <a:gd name="connsiteX5" fmla="*/ 103759 w 1191513"/>
                    <a:gd name="connsiteY5" fmla="*/ 1096303 h 1153900"/>
                    <a:gd name="connsiteX6" fmla="*/ 33275 w 1191513"/>
                    <a:gd name="connsiteY6" fmla="*/ 943903 h 1153900"/>
                    <a:gd name="connsiteX7" fmla="*/ 204724 w 1191513"/>
                    <a:gd name="connsiteY7" fmla="*/ 711493 h 1153900"/>
                    <a:gd name="connsiteX8" fmla="*/ 317118 w 1191513"/>
                    <a:gd name="connsiteY8" fmla="*/ 393356 h 1153900"/>
                    <a:gd name="connsiteX9" fmla="*/ 589532 w 1191513"/>
                    <a:gd name="connsiteY9" fmla="*/ 29502 h 1153900"/>
                    <a:gd name="connsiteX10" fmla="*/ 829563 w 1191513"/>
                    <a:gd name="connsiteY10" fmla="*/ 69506 h 1153900"/>
                    <a:gd name="connsiteX0" fmla="*/ 841096 w 1203046"/>
                    <a:gd name="connsiteY0" fmla="*/ 69506 h 1186980"/>
                    <a:gd name="connsiteX1" fmla="*/ 1203046 w 1203046"/>
                    <a:gd name="connsiteY1" fmla="*/ 88556 h 1186980"/>
                    <a:gd name="connsiteX2" fmla="*/ 1197331 w 1203046"/>
                    <a:gd name="connsiteY2" fmla="*/ 225716 h 1186980"/>
                    <a:gd name="connsiteX3" fmla="*/ 797281 w 1203046"/>
                    <a:gd name="connsiteY3" fmla="*/ 202856 h 1186980"/>
                    <a:gd name="connsiteX4" fmla="*/ 738226 w 1203046"/>
                    <a:gd name="connsiteY4" fmla="*/ 343826 h 1186980"/>
                    <a:gd name="connsiteX5" fmla="*/ 90527 w 1203046"/>
                    <a:gd name="connsiteY5" fmla="*/ 1134403 h 1186980"/>
                    <a:gd name="connsiteX6" fmla="*/ 44808 w 1203046"/>
                    <a:gd name="connsiteY6" fmla="*/ 943903 h 1186980"/>
                    <a:gd name="connsiteX7" fmla="*/ 216257 w 1203046"/>
                    <a:gd name="connsiteY7" fmla="*/ 711493 h 1186980"/>
                    <a:gd name="connsiteX8" fmla="*/ 328651 w 1203046"/>
                    <a:gd name="connsiteY8" fmla="*/ 393356 h 1186980"/>
                    <a:gd name="connsiteX9" fmla="*/ 601065 w 1203046"/>
                    <a:gd name="connsiteY9" fmla="*/ 29502 h 1186980"/>
                    <a:gd name="connsiteX10" fmla="*/ 841096 w 1203046"/>
                    <a:gd name="connsiteY10" fmla="*/ 69506 h 1186980"/>
                    <a:gd name="connsiteX0" fmla="*/ 860141 w 1222091"/>
                    <a:gd name="connsiteY0" fmla="*/ 69506 h 1199049"/>
                    <a:gd name="connsiteX1" fmla="*/ 1222091 w 1222091"/>
                    <a:gd name="connsiteY1" fmla="*/ 88556 h 1199049"/>
                    <a:gd name="connsiteX2" fmla="*/ 1216376 w 1222091"/>
                    <a:gd name="connsiteY2" fmla="*/ 225716 h 1199049"/>
                    <a:gd name="connsiteX3" fmla="*/ 816326 w 1222091"/>
                    <a:gd name="connsiteY3" fmla="*/ 202856 h 1199049"/>
                    <a:gd name="connsiteX4" fmla="*/ 757271 w 1222091"/>
                    <a:gd name="connsiteY4" fmla="*/ 343826 h 1199049"/>
                    <a:gd name="connsiteX5" fmla="*/ 109572 w 1222091"/>
                    <a:gd name="connsiteY5" fmla="*/ 1134403 h 1199049"/>
                    <a:gd name="connsiteX6" fmla="*/ 29563 w 1222091"/>
                    <a:gd name="connsiteY6" fmla="*/ 1025818 h 1199049"/>
                    <a:gd name="connsiteX7" fmla="*/ 235302 w 1222091"/>
                    <a:gd name="connsiteY7" fmla="*/ 711493 h 1199049"/>
                    <a:gd name="connsiteX8" fmla="*/ 347696 w 1222091"/>
                    <a:gd name="connsiteY8" fmla="*/ 393356 h 1199049"/>
                    <a:gd name="connsiteX9" fmla="*/ 620110 w 1222091"/>
                    <a:gd name="connsiteY9" fmla="*/ 29502 h 1199049"/>
                    <a:gd name="connsiteX10" fmla="*/ 860141 w 1222091"/>
                    <a:gd name="connsiteY10" fmla="*/ 69506 h 1199049"/>
                    <a:gd name="connsiteX0" fmla="*/ 868967 w 1230917"/>
                    <a:gd name="connsiteY0" fmla="*/ 69506 h 1199394"/>
                    <a:gd name="connsiteX1" fmla="*/ 1230917 w 1230917"/>
                    <a:gd name="connsiteY1" fmla="*/ 88556 h 1199394"/>
                    <a:gd name="connsiteX2" fmla="*/ 1225202 w 1230917"/>
                    <a:gd name="connsiteY2" fmla="*/ 225716 h 1199394"/>
                    <a:gd name="connsiteX3" fmla="*/ 825152 w 1230917"/>
                    <a:gd name="connsiteY3" fmla="*/ 202856 h 1199394"/>
                    <a:gd name="connsiteX4" fmla="*/ 766097 w 1230917"/>
                    <a:gd name="connsiteY4" fmla="*/ 343826 h 1199394"/>
                    <a:gd name="connsiteX5" fmla="*/ 118398 w 1230917"/>
                    <a:gd name="connsiteY5" fmla="*/ 1134403 h 1199394"/>
                    <a:gd name="connsiteX6" fmla="*/ 25054 w 1230917"/>
                    <a:gd name="connsiteY6" fmla="*/ 1027723 h 1199394"/>
                    <a:gd name="connsiteX7" fmla="*/ 244128 w 1230917"/>
                    <a:gd name="connsiteY7" fmla="*/ 711493 h 1199394"/>
                    <a:gd name="connsiteX8" fmla="*/ 356522 w 1230917"/>
                    <a:gd name="connsiteY8" fmla="*/ 393356 h 1199394"/>
                    <a:gd name="connsiteX9" fmla="*/ 628936 w 1230917"/>
                    <a:gd name="connsiteY9" fmla="*/ 29502 h 1199394"/>
                    <a:gd name="connsiteX10" fmla="*/ 868967 w 1230917"/>
                    <a:gd name="connsiteY10" fmla="*/ 69506 h 1199394"/>
                    <a:gd name="connsiteX0" fmla="*/ 884117 w 1246067"/>
                    <a:gd name="connsiteY0" fmla="*/ 69506 h 1189229"/>
                    <a:gd name="connsiteX1" fmla="*/ 1246067 w 1246067"/>
                    <a:gd name="connsiteY1" fmla="*/ 88556 h 1189229"/>
                    <a:gd name="connsiteX2" fmla="*/ 1240352 w 1246067"/>
                    <a:gd name="connsiteY2" fmla="*/ 225716 h 1189229"/>
                    <a:gd name="connsiteX3" fmla="*/ 840302 w 1246067"/>
                    <a:gd name="connsiteY3" fmla="*/ 202856 h 1189229"/>
                    <a:gd name="connsiteX4" fmla="*/ 781247 w 1246067"/>
                    <a:gd name="connsiteY4" fmla="*/ 343826 h 1189229"/>
                    <a:gd name="connsiteX5" fmla="*/ 133548 w 1246067"/>
                    <a:gd name="connsiteY5" fmla="*/ 1134403 h 1189229"/>
                    <a:gd name="connsiteX6" fmla="*/ 40204 w 1246067"/>
                    <a:gd name="connsiteY6" fmla="*/ 1027723 h 1189229"/>
                    <a:gd name="connsiteX7" fmla="*/ 259278 w 1246067"/>
                    <a:gd name="connsiteY7" fmla="*/ 711493 h 1189229"/>
                    <a:gd name="connsiteX8" fmla="*/ 371672 w 1246067"/>
                    <a:gd name="connsiteY8" fmla="*/ 393356 h 1189229"/>
                    <a:gd name="connsiteX9" fmla="*/ 644086 w 1246067"/>
                    <a:gd name="connsiteY9" fmla="*/ 29502 h 1189229"/>
                    <a:gd name="connsiteX10" fmla="*/ 884117 w 1246067"/>
                    <a:gd name="connsiteY10" fmla="*/ 69506 h 1189229"/>
                    <a:gd name="connsiteX0" fmla="*/ 846307 w 1208257"/>
                    <a:gd name="connsiteY0" fmla="*/ 69506 h 1184789"/>
                    <a:gd name="connsiteX1" fmla="*/ 1208257 w 1208257"/>
                    <a:gd name="connsiteY1" fmla="*/ 88556 h 1184789"/>
                    <a:gd name="connsiteX2" fmla="*/ 1202542 w 1208257"/>
                    <a:gd name="connsiteY2" fmla="*/ 225716 h 1184789"/>
                    <a:gd name="connsiteX3" fmla="*/ 802492 w 1208257"/>
                    <a:gd name="connsiteY3" fmla="*/ 202856 h 1184789"/>
                    <a:gd name="connsiteX4" fmla="*/ 743437 w 1208257"/>
                    <a:gd name="connsiteY4" fmla="*/ 343826 h 1184789"/>
                    <a:gd name="connsiteX5" fmla="*/ 95738 w 1208257"/>
                    <a:gd name="connsiteY5" fmla="*/ 1134403 h 1184789"/>
                    <a:gd name="connsiteX6" fmla="*/ 65259 w 1208257"/>
                    <a:gd name="connsiteY6" fmla="*/ 991528 h 1184789"/>
                    <a:gd name="connsiteX7" fmla="*/ 221468 w 1208257"/>
                    <a:gd name="connsiteY7" fmla="*/ 711493 h 1184789"/>
                    <a:gd name="connsiteX8" fmla="*/ 333862 w 1208257"/>
                    <a:gd name="connsiteY8" fmla="*/ 393356 h 1184789"/>
                    <a:gd name="connsiteX9" fmla="*/ 606276 w 1208257"/>
                    <a:gd name="connsiteY9" fmla="*/ 29502 h 1184789"/>
                    <a:gd name="connsiteX10" fmla="*/ 846307 w 1208257"/>
                    <a:gd name="connsiteY10" fmla="*/ 69506 h 1184789"/>
                    <a:gd name="connsiteX0" fmla="*/ 866403 w 1228353"/>
                    <a:gd name="connsiteY0" fmla="*/ 69506 h 1187745"/>
                    <a:gd name="connsiteX1" fmla="*/ 1228353 w 1228353"/>
                    <a:gd name="connsiteY1" fmla="*/ 88556 h 1187745"/>
                    <a:gd name="connsiteX2" fmla="*/ 1222638 w 1228353"/>
                    <a:gd name="connsiteY2" fmla="*/ 225716 h 1187745"/>
                    <a:gd name="connsiteX3" fmla="*/ 822588 w 1228353"/>
                    <a:gd name="connsiteY3" fmla="*/ 202856 h 1187745"/>
                    <a:gd name="connsiteX4" fmla="*/ 763533 w 1228353"/>
                    <a:gd name="connsiteY4" fmla="*/ 343826 h 1187745"/>
                    <a:gd name="connsiteX5" fmla="*/ 115834 w 1228353"/>
                    <a:gd name="connsiteY5" fmla="*/ 1134403 h 1187745"/>
                    <a:gd name="connsiteX6" fmla="*/ 49160 w 1228353"/>
                    <a:gd name="connsiteY6" fmla="*/ 1016293 h 1187745"/>
                    <a:gd name="connsiteX7" fmla="*/ 241564 w 1228353"/>
                    <a:gd name="connsiteY7" fmla="*/ 711493 h 1187745"/>
                    <a:gd name="connsiteX8" fmla="*/ 353958 w 1228353"/>
                    <a:gd name="connsiteY8" fmla="*/ 393356 h 1187745"/>
                    <a:gd name="connsiteX9" fmla="*/ 626372 w 1228353"/>
                    <a:gd name="connsiteY9" fmla="*/ 29502 h 1187745"/>
                    <a:gd name="connsiteX10" fmla="*/ 866403 w 1228353"/>
                    <a:gd name="connsiteY10" fmla="*/ 69506 h 1187745"/>
                    <a:gd name="connsiteX0" fmla="*/ 880276 w 1242226"/>
                    <a:gd name="connsiteY0" fmla="*/ 69506 h 1189789"/>
                    <a:gd name="connsiteX1" fmla="*/ 1242226 w 1242226"/>
                    <a:gd name="connsiteY1" fmla="*/ 88556 h 1189789"/>
                    <a:gd name="connsiteX2" fmla="*/ 1236511 w 1242226"/>
                    <a:gd name="connsiteY2" fmla="*/ 225716 h 1189789"/>
                    <a:gd name="connsiteX3" fmla="*/ 836461 w 1242226"/>
                    <a:gd name="connsiteY3" fmla="*/ 202856 h 1189789"/>
                    <a:gd name="connsiteX4" fmla="*/ 777406 w 1242226"/>
                    <a:gd name="connsiteY4" fmla="*/ 343826 h 1189789"/>
                    <a:gd name="connsiteX5" fmla="*/ 129707 w 1242226"/>
                    <a:gd name="connsiteY5" fmla="*/ 1134403 h 1189789"/>
                    <a:gd name="connsiteX6" fmla="*/ 63033 w 1242226"/>
                    <a:gd name="connsiteY6" fmla="*/ 1016293 h 1189789"/>
                    <a:gd name="connsiteX7" fmla="*/ 255437 w 1242226"/>
                    <a:gd name="connsiteY7" fmla="*/ 711493 h 1189789"/>
                    <a:gd name="connsiteX8" fmla="*/ 367831 w 1242226"/>
                    <a:gd name="connsiteY8" fmla="*/ 393356 h 1189789"/>
                    <a:gd name="connsiteX9" fmla="*/ 640245 w 1242226"/>
                    <a:gd name="connsiteY9" fmla="*/ 29502 h 1189789"/>
                    <a:gd name="connsiteX10" fmla="*/ 880276 w 1242226"/>
                    <a:gd name="connsiteY10" fmla="*/ 69506 h 1189789"/>
                    <a:gd name="connsiteX0" fmla="*/ 803241 w 1165191"/>
                    <a:gd name="connsiteY0" fmla="*/ 69506 h 1204030"/>
                    <a:gd name="connsiteX1" fmla="*/ 1165191 w 1165191"/>
                    <a:gd name="connsiteY1" fmla="*/ 88556 h 1204030"/>
                    <a:gd name="connsiteX2" fmla="*/ 1159476 w 1165191"/>
                    <a:gd name="connsiteY2" fmla="*/ 225716 h 1204030"/>
                    <a:gd name="connsiteX3" fmla="*/ 759426 w 1165191"/>
                    <a:gd name="connsiteY3" fmla="*/ 202856 h 1204030"/>
                    <a:gd name="connsiteX4" fmla="*/ 700371 w 1165191"/>
                    <a:gd name="connsiteY4" fmla="*/ 343826 h 1204030"/>
                    <a:gd name="connsiteX5" fmla="*/ 52672 w 1165191"/>
                    <a:gd name="connsiteY5" fmla="*/ 1134403 h 1204030"/>
                    <a:gd name="connsiteX6" fmla="*/ 191738 w 1165191"/>
                    <a:gd name="connsiteY6" fmla="*/ 1100113 h 1204030"/>
                    <a:gd name="connsiteX7" fmla="*/ 178402 w 1165191"/>
                    <a:gd name="connsiteY7" fmla="*/ 711493 h 1204030"/>
                    <a:gd name="connsiteX8" fmla="*/ 290796 w 1165191"/>
                    <a:gd name="connsiteY8" fmla="*/ 393356 h 1204030"/>
                    <a:gd name="connsiteX9" fmla="*/ 563210 w 1165191"/>
                    <a:gd name="connsiteY9" fmla="*/ 29502 h 1204030"/>
                    <a:gd name="connsiteX10" fmla="*/ 803241 w 1165191"/>
                    <a:gd name="connsiteY10" fmla="*/ 69506 h 1204030"/>
                    <a:gd name="connsiteX0" fmla="*/ 866214 w 1228164"/>
                    <a:gd name="connsiteY0" fmla="*/ 69506 h 1184848"/>
                    <a:gd name="connsiteX1" fmla="*/ 1228164 w 1228164"/>
                    <a:gd name="connsiteY1" fmla="*/ 88556 h 1184848"/>
                    <a:gd name="connsiteX2" fmla="*/ 1222449 w 1228164"/>
                    <a:gd name="connsiteY2" fmla="*/ 225716 h 1184848"/>
                    <a:gd name="connsiteX3" fmla="*/ 822399 w 1228164"/>
                    <a:gd name="connsiteY3" fmla="*/ 202856 h 1184848"/>
                    <a:gd name="connsiteX4" fmla="*/ 763344 w 1228164"/>
                    <a:gd name="connsiteY4" fmla="*/ 343826 h 1184848"/>
                    <a:gd name="connsiteX5" fmla="*/ 115645 w 1228164"/>
                    <a:gd name="connsiteY5" fmla="*/ 1134403 h 1184848"/>
                    <a:gd name="connsiteX6" fmla="*/ 71831 w 1228164"/>
                    <a:gd name="connsiteY6" fmla="*/ 976288 h 1184848"/>
                    <a:gd name="connsiteX7" fmla="*/ 241375 w 1228164"/>
                    <a:gd name="connsiteY7" fmla="*/ 711493 h 1184848"/>
                    <a:gd name="connsiteX8" fmla="*/ 353769 w 1228164"/>
                    <a:gd name="connsiteY8" fmla="*/ 393356 h 1184848"/>
                    <a:gd name="connsiteX9" fmla="*/ 626183 w 1228164"/>
                    <a:gd name="connsiteY9" fmla="*/ 29502 h 1184848"/>
                    <a:gd name="connsiteX10" fmla="*/ 866214 w 1228164"/>
                    <a:gd name="connsiteY10" fmla="*/ 69506 h 1184848"/>
                    <a:gd name="connsiteX0" fmla="*/ 866998 w 1228948"/>
                    <a:gd name="connsiteY0" fmla="*/ 69506 h 1186262"/>
                    <a:gd name="connsiteX1" fmla="*/ 1228948 w 1228948"/>
                    <a:gd name="connsiteY1" fmla="*/ 88556 h 1186262"/>
                    <a:gd name="connsiteX2" fmla="*/ 1223233 w 1228948"/>
                    <a:gd name="connsiteY2" fmla="*/ 225716 h 1186262"/>
                    <a:gd name="connsiteX3" fmla="*/ 823183 w 1228948"/>
                    <a:gd name="connsiteY3" fmla="*/ 202856 h 1186262"/>
                    <a:gd name="connsiteX4" fmla="*/ 764128 w 1228948"/>
                    <a:gd name="connsiteY4" fmla="*/ 343826 h 1186262"/>
                    <a:gd name="connsiteX5" fmla="*/ 116429 w 1228948"/>
                    <a:gd name="connsiteY5" fmla="*/ 1134403 h 1186262"/>
                    <a:gd name="connsiteX6" fmla="*/ 72615 w 1228948"/>
                    <a:gd name="connsiteY6" fmla="*/ 976288 h 1186262"/>
                    <a:gd name="connsiteX7" fmla="*/ 242159 w 1228948"/>
                    <a:gd name="connsiteY7" fmla="*/ 711493 h 1186262"/>
                    <a:gd name="connsiteX8" fmla="*/ 354553 w 1228948"/>
                    <a:gd name="connsiteY8" fmla="*/ 393356 h 1186262"/>
                    <a:gd name="connsiteX9" fmla="*/ 626967 w 1228948"/>
                    <a:gd name="connsiteY9" fmla="*/ 29502 h 1186262"/>
                    <a:gd name="connsiteX10" fmla="*/ 866998 w 1228948"/>
                    <a:gd name="connsiteY10" fmla="*/ 69506 h 1186262"/>
                    <a:gd name="connsiteX0" fmla="*/ 869532 w 1231482"/>
                    <a:gd name="connsiteY0" fmla="*/ 69506 h 1166436"/>
                    <a:gd name="connsiteX1" fmla="*/ 1231482 w 1231482"/>
                    <a:gd name="connsiteY1" fmla="*/ 88556 h 1166436"/>
                    <a:gd name="connsiteX2" fmla="*/ 1225767 w 1231482"/>
                    <a:gd name="connsiteY2" fmla="*/ 225716 h 1166436"/>
                    <a:gd name="connsiteX3" fmla="*/ 825717 w 1231482"/>
                    <a:gd name="connsiteY3" fmla="*/ 202856 h 1166436"/>
                    <a:gd name="connsiteX4" fmla="*/ 766662 w 1231482"/>
                    <a:gd name="connsiteY4" fmla="*/ 343826 h 1166436"/>
                    <a:gd name="connsiteX5" fmla="*/ 118963 w 1231482"/>
                    <a:gd name="connsiteY5" fmla="*/ 1134403 h 1166436"/>
                    <a:gd name="connsiteX6" fmla="*/ 75149 w 1231482"/>
                    <a:gd name="connsiteY6" fmla="*/ 976288 h 1166436"/>
                    <a:gd name="connsiteX7" fmla="*/ 244693 w 1231482"/>
                    <a:gd name="connsiteY7" fmla="*/ 711493 h 1166436"/>
                    <a:gd name="connsiteX8" fmla="*/ 357087 w 1231482"/>
                    <a:gd name="connsiteY8" fmla="*/ 393356 h 1166436"/>
                    <a:gd name="connsiteX9" fmla="*/ 629501 w 1231482"/>
                    <a:gd name="connsiteY9" fmla="*/ 29502 h 1166436"/>
                    <a:gd name="connsiteX10" fmla="*/ 869532 w 1231482"/>
                    <a:gd name="connsiteY10" fmla="*/ 69506 h 1166436"/>
                    <a:gd name="connsiteX0" fmla="*/ 869532 w 1231482"/>
                    <a:gd name="connsiteY0" fmla="*/ 69506 h 1169281"/>
                    <a:gd name="connsiteX1" fmla="*/ 1231482 w 1231482"/>
                    <a:gd name="connsiteY1" fmla="*/ 88556 h 1169281"/>
                    <a:gd name="connsiteX2" fmla="*/ 1225767 w 1231482"/>
                    <a:gd name="connsiteY2" fmla="*/ 225716 h 1169281"/>
                    <a:gd name="connsiteX3" fmla="*/ 825717 w 1231482"/>
                    <a:gd name="connsiteY3" fmla="*/ 202856 h 1169281"/>
                    <a:gd name="connsiteX4" fmla="*/ 766662 w 1231482"/>
                    <a:gd name="connsiteY4" fmla="*/ 343826 h 1169281"/>
                    <a:gd name="connsiteX5" fmla="*/ 118963 w 1231482"/>
                    <a:gd name="connsiteY5" fmla="*/ 1134403 h 1169281"/>
                    <a:gd name="connsiteX6" fmla="*/ 75149 w 1231482"/>
                    <a:gd name="connsiteY6" fmla="*/ 976288 h 1169281"/>
                    <a:gd name="connsiteX7" fmla="*/ 244693 w 1231482"/>
                    <a:gd name="connsiteY7" fmla="*/ 711493 h 1169281"/>
                    <a:gd name="connsiteX8" fmla="*/ 357087 w 1231482"/>
                    <a:gd name="connsiteY8" fmla="*/ 393356 h 1169281"/>
                    <a:gd name="connsiteX9" fmla="*/ 629501 w 1231482"/>
                    <a:gd name="connsiteY9" fmla="*/ 29502 h 1169281"/>
                    <a:gd name="connsiteX10" fmla="*/ 869532 w 1231482"/>
                    <a:gd name="connsiteY10" fmla="*/ 69506 h 1169281"/>
                    <a:gd name="connsiteX0" fmla="*/ 903875 w 1265825"/>
                    <a:gd name="connsiteY0" fmla="*/ 69506 h 1175541"/>
                    <a:gd name="connsiteX1" fmla="*/ 1265825 w 1265825"/>
                    <a:gd name="connsiteY1" fmla="*/ 88556 h 1175541"/>
                    <a:gd name="connsiteX2" fmla="*/ 1260110 w 1265825"/>
                    <a:gd name="connsiteY2" fmla="*/ 225716 h 1175541"/>
                    <a:gd name="connsiteX3" fmla="*/ 860060 w 1265825"/>
                    <a:gd name="connsiteY3" fmla="*/ 202856 h 1175541"/>
                    <a:gd name="connsiteX4" fmla="*/ 801005 w 1265825"/>
                    <a:gd name="connsiteY4" fmla="*/ 343826 h 1175541"/>
                    <a:gd name="connsiteX5" fmla="*/ 153306 w 1265825"/>
                    <a:gd name="connsiteY5" fmla="*/ 1134403 h 1175541"/>
                    <a:gd name="connsiteX6" fmla="*/ 56152 w 1265825"/>
                    <a:gd name="connsiteY6" fmla="*/ 1031533 h 1175541"/>
                    <a:gd name="connsiteX7" fmla="*/ 279036 w 1265825"/>
                    <a:gd name="connsiteY7" fmla="*/ 711493 h 1175541"/>
                    <a:gd name="connsiteX8" fmla="*/ 391430 w 1265825"/>
                    <a:gd name="connsiteY8" fmla="*/ 393356 h 1175541"/>
                    <a:gd name="connsiteX9" fmla="*/ 663844 w 1265825"/>
                    <a:gd name="connsiteY9" fmla="*/ 29502 h 1175541"/>
                    <a:gd name="connsiteX10" fmla="*/ 903875 w 1265825"/>
                    <a:gd name="connsiteY10" fmla="*/ 69506 h 1175541"/>
                    <a:gd name="connsiteX0" fmla="*/ 873575 w 1235525"/>
                    <a:gd name="connsiteY0" fmla="*/ 69506 h 1181214"/>
                    <a:gd name="connsiteX1" fmla="*/ 1235525 w 1235525"/>
                    <a:gd name="connsiteY1" fmla="*/ 88556 h 1181214"/>
                    <a:gd name="connsiteX2" fmla="*/ 1229810 w 1235525"/>
                    <a:gd name="connsiteY2" fmla="*/ 225716 h 1181214"/>
                    <a:gd name="connsiteX3" fmla="*/ 829760 w 1235525"/>
                    <a:gd name="connsiteY3" fmla="*/ 202856 h 1181214"/>
                    <a:gd name="connsiteX4" fmla="*/ 770705 w 1235525"/>
                    <a:gd name="connsiteY4" fmla="*/ 343826 h 1181214"/>
                    <a:gd name="connsiteX5" fmla="*/ 123006 w 1235525"/>
                    <a:gd name="connsiteY5" fmla="*/ 1134403 h 1181214"/>
                    <a:gd name="connsiteX6" fmla="*/ 25852 w 1235525"/>
                    <a:gd name="connsiteY6" fmla="*/ 1031533 h 1181214"/>
                    <a:gd name="connsiteX7" fmla="*/ 248736 w 1235525"/>
                    <a:gd name="connsiteY7" fmla="*/ 711493 h 1181214"/>
                    <a:gd name="connsiteX8" fmla="*/ 361130 w 1235525"/>
                    <a:gd name="connsiteY8" fmla="*/ 393356 h 1181214"/>
                    <a:gd name="connsiteX9" fmla="*/ 633544 w 1235525"/>
                    <a:gd name="connsiteY9" fmla="*/ 29502 h 1181214"/>
                    <a:gd name="connsiteX10" fmla="*/ 873575 w 1235525"/>
                    <a:gd name="connsiteY10" fmla="*/ 69506 h 1181214"/>
                    <a:gd name="connsiteX0" fmla="*/ 881966 w 1243916"/>
                    <a:gd name="connsiteY0" fmla="*/ 69506 h 1179543"/>
                    <a:gd name="connsiteX1" fmla="*/ 1243916 w 1243916"/>
                    <a:gd name="connsiteY1" fmla="*/ 88556 h 1179543"/>
                    <a:gd name="connsiteX2" fmla="*/ 1238201 w 1243916"/>
                    <a:gd name="connsiteY2" fmla="*/ 225716 h 1179543"/>
                    <a:gd name="connsiteX3" fmla="*/ 838151 w 1243916"/>
                    <a:gd name="connsiteY3" fmla="*/ 202856 h 1179543"/>
                    <a:gd name="connsiteX4" fmla="*/ 779096 w 1243916"/>
                    <a:gd name="connsiteY4" fmla="*/ 343826 h 1179543"/>
                    <a:gd name="connsiteX5" fmla="*/ 131397 w 1243916"/>
                    <a:gd name="connsiteY5" fmla="*/ 1134403 h 1179543"/>
                    <a:gd name="connsiteX6" fmla="*/ 34243 w 1243916"/>
                    <a:gd name="connsiteY6" fmla="*/ 1031533 h 1179543"/>
                    <a:gd name="connsiteX7" fmla="*/ 257127 w 1243916"/>
                    <a:gd name="connsiteY7" fmla="*/ 711493 h 1179543"/>
                    <a:gd name="connsiteX8" fmla="*/ 369521 w 1243916"/>
                    <a:gd name="connsiteY8" fmla="*/ 393356 h 1179543"/>
                    <a:gd name="connsiteX9" fmla="*/ 641935 w 1243916"/>
                    <a:gd name="connsiteY9" fmla="*/ 29502 h 1179543"/>
                    <a:gd name="connsiteX10" fmla="*/ 881966 w 1243916"/>
                    <a:gd name="connsiteY10" fmla="*/ 69506 h 1179543"/>
                    <a:gd name="connsiteX0" fmla="*/ 885331 w 1247281"/>
                    <a:gd name="connsiteY0" fmla="*/ 69506 h 1179543"/>
                    <a:gd name="connsiteX1" fmla="*/ 1247281 w 1247281"/>
                    <a:gd name="connsiteY1" fmla="*/ 88556 h 1179543"/>
                    <a:gd name="connsiteX2" fmla="*/ 1241566 w 1247281"/>
                    <a:gd name="connsiteY2" fmla="*/ 225716 h 1179543"/>
                    <a:gd name="connsiteX3" fmla="*/ 841516 w 1247281"/>
                    <a:gd name="connsiteY3" fmla="*/ 202856 h 1179543"/>
                    <a:gd name="connsiteX4" fmla="*/ 782461 w 1247281"/>
                    <a:gd name="connsiteY4" fmla="*/ 343826 h 1179543"/>
                    <a:gd name="connsiteX5" fmla="*/ 134762 w 1247281"/>
                    <a:gd name="connsiteY5" fmla="*/ 1134403 h 1179543"/>
                    <a:gd name="connsiteX6" fmla="*/ 37608 w 1247281"/>
                    <a:gd name="connsiteY6" fmla="*/ 1031533 h 1179543"/>
                    <a:gd name="connsiteX7" fmla="*/ 260492 w 1247281"/>
                    <a:gd name="connsiteY7" fmla="*/ 711493 h 1179543"/>
                    <a:gd name="connsiteX8" fmla="*/ 372886 w 1247281"/>
                    <a:gd name="connsiteY8" fmla="*/ 393356 h 1179543"/>
                    <a:gd name="connsiteX9" fmla="*/ 645300 w 1247281"/>
                    <a:gd name="connsiteY9" fmla="*/ 29502 h 1179543"/>
                    <a:gd name="connsiteX10" fmla="*/ 885331 w 1247281"/>
                    <a:gd name="connsiteY10" fmla="*/ 69506 h 1179543"/>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131537 w 1244056"/>
                    <a:gd name="connsiteY5" fmla="*/ 1134403 h 1165239"/>
                    <a:gd name="connsiteX6" fmla="*/ 34383 w 1244056"/>
                    <a:gd name="connsiteY6" fmla="*/ 1031533 h 1165239"/>
                    <a:gd name="connsiteX7" fmla="*/ 257267 w 1244056"/>
                    <a:gd name="connsiteY7" fmla="*/ 711493 h 1165239"/>
                    <a:gd name="connsiteX8" fmla="*/ 369661 w 1244056"/>
                    <a:gd name="connsiteY8" fmla="*/ 393356 h 1165239"/>
                    <a:gd name="connsiteX9" fmla="*/ 642075 w 1244056"/>
                    <a:gd name="connsiteY9" fmla="*/ 29502 h 1165239"/>
                    <a:gd name="connsiteX10" fmla="*/ 882106 w 1244056"/>
                    <a:gd name="connsiteY10"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131537 w 1244056"/>
                    <a:gd name="connsiteY5" fmla="*/ 1134403 h 1165239"/>
                    <a:gd name="connsiteX6" fmla="*/ 34383 w 1244056"/>
                    <a:gd name="connsiteY6" fmla="*/ 1031533 h 1165239"/>
                    <a:gd name="connsiteX7" fmla="*/ 257267 w 1244056"/>
                    <a:gd name="connsiteY7" fmla="*/ 711493 h 1165239"/>
                    <a:gd name="connsiteX8" fmla="*/ 369661 w 1244056"/>
                    <a:gd name="connsiteY8" fmla="*/ 393356 h 1165239"/>
                    <a:gd name="connsiteX9" fmla="*/ 642075 w 1244056"/>
                    <a:gd name="connsiteY9" fmla="*/ 29502 h 1165239"/>
                    <a:gd name="connsiteX10" fmla="*/ 882106 w 1244056"/>
                    <a:gd name="connsiteY10"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392525 w 1244056"/>
                    <a:gd name="connsiteY5" fmla="*/ 8105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57295 w 1244056"/>
                    <a:gd name="connsiteY5" fmla="*/ 602906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49675 w 1244056"/>
                    <a:gd name="connsiteY5" fmla="*/ 620051 h 1165239"/>
                    <a:gd name="connsiteX6" fmla="*/ 131537 w 1244056"/>
                    <a:gd name="connsiteY6" fmla="*/ 1134403 h 1165239"/>
                    <a:gd name="connsiteX7" fmla="*/ 34383 w 1244056"/>
                    <a:gd name="connsiteY7" fmla="*/ 1031533 h 1165239"/>
                    <a:gd name="connsiteX8" fmla="*/ 257267 w 1244056"/>
                    <a:gd name="connsiteY8" fmla="*/ 711493 h 1165239"/>
                    <a:gd name="connsiteX9" fmla="*/ 369661 w 1244056"/>
                    <a:gd name="connsiteY9" fmla="*/ 393356 h 1165239"/>
                    <a:gd name="connsiteX10" fmla="*/ 642075 w 1244056"/>
                    <a:gd name="connsiteY10" fmla="*/ 29502 h 1165239"/>
                    <a:gd name="connsiteX11" fmla="*/ 882106 w 1244056"/>
                    <a:gd name="connsiteY11"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19220 w 1244056"/>
                    <a:gd name="connsiteY5" fmla="*/ 475271 h 1165239"/>
                    <a:gd name="connsiteX6" fmla="*/ 449675 w 1244056"/>
                    <a:gd name="connsiteY6" fmla="*/ 620051 h 1165239"/>
                    <a:gd name="connsiteX7" fmla="*/ 131537 w 1244056"/>
                    <a:gd name="connsiteY7" fmla="*/ 1134403 h 1165239"/>
                    <a:gd name="connsiteX8" fmla="*/ 34383 w 1244056"/>
                    <a:gd name="connsiteY8" fmla="*/ 1031533 h 1165239"/>
                    <a:gd name="connsiteX9" fmla="*/ 257267 w 1244056"/>
                    <a:gd name="connsiteY9" fmla="*/ 711493 h 1165239"/>
                    <a:gd name="connsiteX10" fmla="*/ 369661 w 1244056"/>
                    <a:gd name="connsiteY10" fmla="*/ 393356 h 1165239"/>
                    <a:gd name="connsiteX11" fmla="*/ 642075 w 1244056"/>
                    <a:gd name="connsiteY11" fmla="*/ 29502 h 1165239"/>
                    <a:gd name="connsiteX12" fmla="*/ 882106 w 1244056"/>
                    <a:gd name="connsiteY12"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590645 w 1244056"/>
                    <a:gd name="connsiteY5" fmla="*/ 797216 h 1165239"/>
                    <a:gd name="connsiteX6" fmla="*/ 449675 w 1244056"/>
                    <a:gd name="connsiteY6" fmla="*/ 620051 h 1165239"/>
                    <a:gd name="connsiteX7" fmla="*/ 131537 w 1244056"/>
                    <a:gd name="connsiteY7" fmla="*/ 1134403 h 1165239"/>
                    <a:gd name="connsiteX8" fmla="*/ 34383 w 1244056"/>
                    <a:gd name="connsiteY8" fmla="*/ 1031533 h 1165239"/>
                    <a:gd name="connsiteX9" fmla="*/ 257267 w 1244056"/>
                    <a:gd name="connsiteY9" fmla="*/ 711493 h 1165239"/>
                    <a:gd name="connsiteX10" fmla="*/ 369661 w 1244056"/>
                    <a:gd name="connsiteY10" fmla="*/ 393356 h 1165239"/>
                    <a:gd name="connsiteX11" fmla="*/ 642075 w 1244056"/>
                    <a:gd name="connsiteY11" fmla="*/ 29502 h 1165239"/>
                    <a:gd name="connsiteX12" fmla="*/ 882106 w 1244056"/>
                    <a:gd name="connsiteY12"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590645 w 1244056"/>
                    <a:gd name="connsiteY5" fmla="*/ 797216 h 1165239"/>
                    <a:gd name="connsiteX6" fmla="*/ 449675 w 1244056"/>
                    <a:gd name="connsiteY6" fmla="*/ 620051 h 1165239"/>
                    <a:gd name="connsiteX7" fmla="*/ 131537 w 1244056"/>
                    <a:gd name="connsiteY7" fmla="*/ 1134403 h 1165239"/>
                    <a:gd name="connsiteX8" fmla="*/ 34383 w 1244056"/>
                    <a:gd name="connsiteY8" fmla="*/ 1031533 h 1165239"/>
                    <a:gd name="connsiteX9" fmla="*/ 257267 w 1244056"/>
                    <a:gd name="connsiteY9" fmla="*/ 711493 h 1165239"/>
                    <a:gd name="connsiteX10" fmla="*/ 369661 w 1244056"/>
                    <a:gd name="connsiteY10" fmla="*/ 393356 h 1165239"/>
                    <a:gd name="connsiteX11" fmla="*/ 642075 w 1244056"/>
                    <a:gd name="connsiteY11" fmla="*/ 29502 h 1165239"/>
                    <a:gd name="connsiteX12" fmla="*/ 882106 w 1244056"/>
                    <a:gd name="connsiteY12"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581120 w 1244056"/>
                    <a:gd name="connsiteY5" fmla="*/ 797216 h 1165239"/>
                    <a:gd name="connsiteX6" fmla="*/ 449675 w 1244056"/>
                    <a:gd name="connsiteY6" fmla="*/ 620051 h 1165239"/>
                    <a:gd name="connsiteX7" fmla="*/ 131537 w 1244056"/>
                    <a:gd name="connsiteY7" fmla="*/ 1134403 h 1165239"/>
                    <a:gd name="connsiteX8" fmla="*/ 34383 w 1244056"/>
                    <a:gd name="connsiteY8" fmla="*/ 1031533 h 1165239"/>
                    <a:gd name="connsiteX9" fmla="*/ 257267 w 1244056"/>
                    <a:gd name="connsiteY9" fmla="*/ 711493 h 1165239"/>
                    <a:gd name="connsiteX10" fmla="*/ 369661 w 1244056"/>
                    <a:gd name="connsiteY10" fmla="*/ 393356 h 1165239"/>
                    <a:gd name="connsiteX11" fmla="*/ 642075 w 1244056"/>
                    <a:gd name="connsiteY11" fmla="*/ 29502 h 1165239"/>
                    <a:gd name="connsiteX12" fmla="*/ 882106 w 1244056"/>
                    <a:gd name="connsiteY12"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581120 w 1244056"/>
                    <a:gd name="connsiteY5" fmla="*/ 797216 h 1165239"/>
                    <a:gd name="connsiteX6" fmla="*/ 449675 w 1244056"/>
                    <a:gd name="connsiteY6" fmla="*/ 620051 h 1165239"/>
                    <a:gd name="connsiteX7" fmla="*/ 131537 w 1244056"/>
                    <a:gd name="connsiteY7" fmla="*/ 1134403 h 1165239"/>
                    <a:gd name="connsiteX8" fmla="*/ 34383 w 1244056"/>
                    <a:gd name="connsiteY8" fmla="*/ 1031533 h 1165239"/>
                    <a:gd name="connsiteX9" fmla="*/ 257267 w 1244056"/>
                    <a:gd name="connsiteY9" fmla="*/ 711493 h 1165239"/>
                    <a:gd name="connsiteX10" fmla="*/ 369661 w 1244056"/>
                    <a:gd name="connsiteY10" fmla="*/ 393356 h 1165239"/>
                    <a:gd name="connsiteX11" fmla="*/ 642075 w 1244056"/>
                    <a:gd name="connsiteY11" fmla="*/ 29502 h 1165239"/>
                    <a:gd name="connsiteX12" fmla="*/ 882106 w 1244056"/>
                    <a:gd name="connsiteY12"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581120 w 1244056"/>
                    <a:gd name="connsiteY5" fmla="*/ 797216 h 1165239"/>
                    <a:gd name="connsiteX6" fmla="*/ 449675 w 1244056"/>
                    <a:gd name="connsiteY6" fmla="*/ 620051 h 1165239"/>
                    <a:gd name="connsiteX7" fmla="*/ 131537 w 1244056"/>
                    <a:gd name="connsiteY7" fmla="*/ 1134403 h 1165239"/>
                    <a:gd name="connsiteX8" fmla="*/ 34383 w 1244056"/>
                    <a:gd name="connsiteY8" fmla="*/ 1031533 h 1165239"/>
                    <a:gd name="connsiteX9" fmla="*/ 257267 w 1244056"/>
                    <a:gd name="connsiteY9" fmla="*/ 711493 h 1165239"/>
                    <a:gd name="connsiteX10" fmla="*/ 369661 w 1244056"/>
                    <a:gd name="connsiteY10" fmla="*/ 393356 h 1165239"/>
                    <a:gd name="connsiteX11" fmla="*/ 642075 w 1244056"/>
                    <a:gd name="connsiteY11" fmla="*/ 29502 h 1165239"/>
                    <a:gd name="connsiteX12" fmla="*/ 882106 w 1244056"/>
                    <a:gd name="connsiteY12"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581120 w 1244056"/>
                    <a:gd name="connsiteY5" fmla="*/ 797216 h 1165239"/>
                    <a:gd name="connsiteX6" fmla="*/ 449675 w 1244056"/>
                    <a:gd name="connsiteY6" fmla="*/ 620051 h 1165239"/>
                    <a:gd name="connsiteX7" fmla="*/ 131537 w 1244056"/>
                    <a:gd name="connsiteY7" fmla="*/ 1134403 h 1165239"/>
                    <a:gd name="connsiteX8" fmla="*/ 34383 w 1244056"/>
                    <a:gd name="connsiteY8" fmla="*/ 1031533 h 1165239"/>
                    <a:gd name="connsiteX9" fmla="*/ 257267 w 1244056"/>
                    <a:gd name="connsiteY9" fmla="*/ 711493 h 1165239"/>
                    <a:gd name="connsiteX10" fmla="*/ 369661 w 1244056"/>
                    <a:gd name="connsiteY10" fmla="*/ 393356 h 1165239"/>
                    <a:gd name="connsiteX11" fmla="*/ 642075 w 1244056"/>
                    <a:gd name="connsiteY11" fmla="*/ 29502 h 1165239"/>
                    <a:gd name="connsiteX12" fmla="*/ 882106 w 1244056"/>
                    <a:gd name="connsiteY12"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57320 w 1244056"/>
                    <a:gd name="connsiteY5" fmla="*/ 618146 h 1165239"/>
                    <a:gd name="connsiteX6" fmla="*/ 581120 w 1244056"/>
                    <a:gd name="connsiteY6" fmla="*/ 797216 h 1165239"/>
                    <a:gd name="connsiteX7" fmla="*/ 449675 w 1244056"/>
                    <a:gd name="connsiteY7" fmla="*/ 620051 h 1165239"/>
                    <a:gd name="connsiteX8" fmla="*/ 131537 w 1244056"/>
                    <a:gd name="connsiteY8" fmla="*/ 1134403 h 1165239"/>
                    <a:gd name="connsiteX9" fmla="*/ 34383 w 1244056"/>
                    <a:gd name="connsiteY9" fmla="*/ 1031533 h 1165239"/>
                    <a:gd name="connsiteX10" fmla="*/ 257267 w 1244056"/>
                    <a:gd name="connsiteY10" fmla="*/ 711493 h 1165239"/>
                    <a:gd name="connsiteX11" fmla="*/ 369661 w 1244056"/>
                    <a:gd name="connsiteY11" fmla="*/ 393356 h 1165239"/>
                    <a:gd name="connsiteX12" fmla="*/ 642075 w 1244056"/>
                    <a:gd name="connsiteY12" fmla="*/ 29502 h 1165239"/>
                    <a:gd name="connsiteX13" fmla="*/ 882106 w 1244056"/>
                    <a:gd name="connsiteY13"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59200 w 1244056"/>
                    <a:gd name="connsiteY5" fmla="*/ 1046771 h 1165239"/>
                    <a:gd name="connsiteX6" fmla="*/ 581120 w 1244056"/>
                    <a:gd name="connsiteY6" fmla="*/ 797216 h 1165239"/>
                    <a:gd name="connsiteX7" fmla="*/ 449675 w 1244056"/>
                    <a:gd name="connsiteY7" fmla="*/ 620051 h 1165239"/>
                    <a:gd name="connsiteX8" fmla="*/ 131537 w 1244056"/>
                    <a:gd name="connsiteY8" fmla="*/ 1134403 h 1165239"/>
                    <a:gd name="connsiteX9" fmla="*/ 34383 w 1244056"/>
                    <a:gd name="connsiteY9" fmla="*/ 1031533 h 1165239"/>
                    <a:gd name="connsiteX10" fmla="*/ 257267 w 1244056"/>
                    <a:gd name="connsiteY10" fmla="*/ 711493 h 1165239"/>
                    <a:gd name="connsiteX11" fmla="*/ 369661 w 1244056"/>
                    <a:gd name="connsiteY11" fmla="*/ 393356 h 1165239"/>
                    <a:gd name="connsiteX12" fmla="*/ 642075 w 1244056"/>
                    <a:gd name="connsiteY12" fmla="*/ 29502 h 1165239"/>
                    <a:gd name="connsiteX13" fmla="*/ 882106 w 1244056"/>
                    <a:gd name="connsiteY13"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59200 w 1244056"/>
                    <a:gd name="connsiteY5" fmla="*/ 1046771 h 1165239"/>
                    <a:gd name="connsiteX6" fmla="*/ 461105 w 1244056"/>
                    <a:gd name="connsiteY6" fmla="*/ 1048676 h 1165239"/>
                    <a:gd name="connsiteX7" fmla="*/ 581120 w 1244056"/>
                    <a:gd name="connsiteY7" fmla="*/ 797216 h 1165239"/>
                    <a:gd name="connsiteX8" fmla="*/ 449675 w 1244056"/>
                    <a:gd name="connsiteY8" fmla="*/ 620051 h 1165239"/>
                    <a:gd name="connsiteX9" fmla="*/ 131537 w 1244056"/>
                    <a:gd name="connsiteY9" fmla="*/ 1134403 h 1165239"/>
                    <a:gd name="connsiteX10" fmla="*/ 34383 w 1244056"/>
                    <a:gd name="connsiteY10" fmla="*/ 1031533 h 1165239"/>
                    <a:gd name="connsiteX11" fmla="*/ 257267 w 1244056"/>
                    <a:gd name="connsiteY11" fmla="*/ 711493 h 1165239"/>
                    <a:gd name="connsiteX12" fmla="*/ 369661 w 1244056"/>
                    <a:gd name="connsiteY12" fmla="*/ 393356 h 1165239"/>
                    <a:gd name="connsiteX13" fmla="*/ 642075 w 1244056"/>
                    <a:gd name="connsiteY13" fmla="*/ 29502 h 1165239"/>
                    <a:gd name="connsiteX14" fmla="*/ 882106 w 1244056"/>
                    <a:gd name="connsiteY14"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59200 w 1244056"/>
                    <a:gd name="connsiteY5" fmla="*/ 1046771 h 1165239"/>
                    <a:gd name="connsiteX6" fmla="*/ 714470 w 1244056"/>
                    <a:gd name="connsiteY6" fmla="*/ 974381 h 1165239"/>
                    <a:gd name="connsiteX7" fmla="*/ 581120 w 1244056"/>
                    <a:gd name="connsiteY7" fmla="*/ 797216 h 1165239"/>
                    <a:gd name="connsiteX8" fmla="*/ 449675 w 1244056"/>
                    <a:gd name="connsiteY8" fmla="*/ 620051 h 1165239"/>
                    <a:gd name="connsiteX9" fmla="*/ 131537 w 1244056"/>
                    <a:gd name="connsiteY9" fmla="*/ 1134403 h 1165239"/>
                    <a:gd name="connsiteX10" fmla="*/ 34383 w 1244056"/>
                    <a:gd name="connsiteY10" fmla="*/ 1031533 h 1165239"/>
                    <a:gd name="connsiteX11" fmla="*/ 257267 w 1244056"/>
                    <a:gd name="connsiteY11" fmla="*/ 711493 h 1165239"/>
                    <a:gd name="connsiteX12" fmla="*/ 369661 w 1244056"/>
                    <a:gd name="connsiteY12" fmla="*/ 393356 h 1165239"/>
                    <a:gd name="connsiteX13" fmla="*/ 642075 w 1244056"/>
                    <a:gd name="connsiteY13" fmla="*/ 29502 h 1165239"/>
                    <a:gd name="connsiteX14" fmla="*/ 882106 w 1244056"/>
                    <a:gd name="connsiteY14"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459200 w 1244056"/>
                    <a:gd name="connsiteY5" fmla="*/ 1046771 h 1165239"/>
                    <a:gd name="connsiteX6" fmla="*/ 381095 w 1244056"/>
                    <a:gd name="connsiteY6" fmla="*/ 1016291 h 1165239"/>
                    <a:gd name="connsiteX7" fmla="*/ 581120 w 1244056"/>
                    <a:gd name="connsiteY7" fmla="*/ 797216 h 1165239"/>
                    <a:gd name="connsiteX8" fmla="*/ 449675 w 1244056"/>
                    <a:gd name="connsiteY8" fmla="*/ 620051 h 1165239"/>
                    <a:gd name="connsiteX9" fmla="*/ 131537 w 1244056"/>
                    <a:gd name="connsiteY9" fmla="*/ 1134403 h 1165239"/>
                    <a:gd name="connsiteX10" fmla="*/ 34383 w 1244056"/>
                    <a:gd name="connsiteY10" fmla="*/ 1031533 h 1165239"/>
                    <a:gd name="connsiteX11" fmla="*/ 257267 w 1244056"/>
                    <a:gd name="connsiteY11" fmla="*/ 711493 h 1165239"/>
                    <a:gd name="connsiteX12" fmla="*/ 369661 w 1244056"/>
                    <a:gd name="connsiteY12" fmla="*/ 393356 h 1165239"/>
                    <a:gd name="connsiteX13" fmla="*/ 642075 w 1244056"/>
                    <a:gd name="connsiteY13" fmla="*/ 29502 h 1165239"/>
                    <a:gd name="connsiteX14" fmla="*/ 882106 w 1244056"/>
                    <a:gd name="connsiteY14"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33520 w 1244056"/>
                    <a:gd name="connsiteY5" fmla="*/ 785786 h 1165239"/>
                    <a:gd name="connsiteX6" fmla="*/ 381095 w 1244056"/>
                    <a:gd name="connsiteY6" fmla="*/ 1016291 h 1165239"/>
                    <a:gd name="connsiteX7" fmla="*/ 581120 w 1244056"/>
                    <a:gd name="connsiteY7" fmla="*/ 797216 h 1165239"/>
                    <a:gd name="connsiteX8" fmla="*/ 449675 w 1244056"/>
                    <a:gd name="connsiteY8" fmla="*/ 620051 h 1165239"/>
                    <a:gd name="connsiteX9" fmla="*/ 131537 w 1244056"/>
                    <a:gd name="connsiteY9" fmla="*/ 1134403 h 1165239"/>
                    <a:gd name="connsiteX10" fmla="*/ 34383 w 1244056"/>
                    <a:gd name="connsiteY10" fmla="*/ 1031533 h 1165239"/>
                    <a:gd name="connsiteX11" fmla="*/ 257267 w 1244056"/>
                    <a:gd name="connsiteY11" fmla="*/ 711493 h 1165239"/>
                    <a:gd name="connsiteX12" fmla="*/ 369661 w 1244056"/>
                    <a:gd name="connsiteY12" fmla="*/ 393356 h 1165239"/>
                    <a:gd name="connsiteX13" fmla="*/ 642075 w 1244056"/>
                    <a:gd name="connsiteY13" fmla="*/ 29502 h 1165239"/>
                    <a:gd name="connsiteX14" fmla="*/ 882106 w 1244056"/>
                    <a:gd name="connsiteY14"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33520 w 1244056"/>
                    <a:gd name="connsiteY5" fmla="*/ 785786 h 1165239"/>
                    <a:gd name="connsiteX6" fmla="*/ 466820 w 1244056"/>
                    <a:gd name="connsiteY6" fmla="*/ 1044866 h 1165239"/>
                    <a:gd name="connsiteX7" fmla="*/ 581120 w 1244056"/>
                    <a:gd name="connsiteY7" fmla="*/ 797216 h 1165239"/>
                    <a:gd name="connsiteX8" fmla="*/ 449675 w 1244056"/>
                    <a:gd name="connsiteY8" fmla="*/ 620051 h 1165239"/>
                    <a:gd name="connsiteX9" fmla="*/ 131537 w 1244056"/>
                    <a:gd name="connsiteY9" fmla="*/ 1134403 h 1165239"/>
                    <a:gd name="connsiteX10" fmla="*/ 34383 w 1244056"/>
                    <a:gd name="connsiteY10" fmla="*/ 1031533 h 1165239"/>
                    <a:gd name="connsiteX11" fmla="*/ 257267 w 1244056"/>
                    <a:gd name="connsiteY11" fmla="*/ 711493 h 1165239"/>
                    <a:gd name="connsiteX12" fmla="*/ 369661 w 1244056"/>
                    <a:gd name="connsiteY12" fmla="*/ 393356 h 1165239"/>
                    <a:gd name="connsiteX13" fmla="*/ 642075 w 1244056"/>
                    <a:gd name="connsiteY13" fmla="*/ 29502 h 1165239"/>
                    <a:gd name="connsiteX14" fmla="*/ 882106 w 1244056"/>
                    <a:gd name="connsiteY14"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33520 w 1244056"/>
                    <a:gd name="connsiteY5" fmla="*/ 785786 h 1165239"/>
                    <a:gd name="connsiteX6" fmla="*/ 459200 w 1244056"/>
                    <a:gd name="connsiteY6" fmla="*/ 1052486 h 1165239"/>
                    <a:gd name="connsiteX7" fmla="*/ 581120 w 1244056"/>
                    <a:gd name="connsiteY7" fmla="*/ 797216 h 1165239"/>
                    <a:gd name="connsiteX8" fmla="*/ 449675 w 1244056"/>
                    <a:gd name="connsiteY8" fmla="*/ 620051 h 1165239"/>
                    <a:gd name="connsiteX9" fmla="*/ 131537 w 1244056"/>
                    <a:gd name="connsiteY9" fmla="*/ 1134403 h 1165239"/>
                    <a:gd name="connsiteX10" fmla="*/ 34383 w 1244056"/>
                    <a:gd name="connsiteY10" fmla="*/ 1031533 h 1165239"/>
                    <a:gd name="connsiteX11" fmla="*/ 257267 w 1244056"/>
                    <a:gd name="connsiteY11" fmla="*/ 711493 h 1165239"/>
                    <a:gd name="connsiteX12" fmla="*/ 369661 w 1244056"/>
                    <a:gd name="connsiteY12" fmla="*/ 393356 h 1165239"/>
                    <a:gd name="connsiteX13" fmla="*/ 642075 w 1244056"/>
                    <a:gd name="connsiteY13" fmla="*/ 29502 h 1165239"/>
                    <a:gd name="connsiteX14" fmla="*/ 882106 w 1244056"/>
                    <a:gd name="connsiteY14"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459200 w 1244056"/>
                    <a:gd name="connsiteY6" fmla="*/ 1052486 h 1165239"/>
                    <a:gd name="connsiteX7" fmla="*/ 581120 w 1244056"/>
                    <a:gd name="connsiteY7" fmla="*/ 797216 h 1165239"/>
                    <a:gd name="connsiteX8" fmla="*/ 449675 w 1244056"/>
                    <a:gd name="connsiteY8" fmla="*/ 620051 h 1165239"/>
                    <a:gd name="connsiteX9" fmla="*/ 131537 w 1244056"/>
                    <a:gd name="connsiteY9" fmla="*/ 1134403 h 1165239"/>
                    <a:gd name="connsiteX10" fmla="*/ 34383 w 1244056"/>
                    <a:gd name="connsiteY10" fmla="*/ 1031533 h 1165239"/>
                    <a:gd name="connsiteX11" fmla="*/ 257267 w 1244056"/>
                    <a:gd name="connsiteY11" fmla="*/ 711493 h 1165239"/>
                    <a:gd name="connsiteX12" fmla="*/ 369661 w 1244056"/>
                    <a:gd name="connsiteY12" fmla="*/ 393356 h 1165239"/>
                    <a:gd name="connsiteX13" fmla="*/ 642075 w 1244056"/>
                    <a:gd name="connsiteY13" fmla="*/ 29502 h 1165239"/>
                    <a:gd name="connsiteX14" fmla="*/ 882106 w 1244056"/>
                    <a:gd name="connsiteY14"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752570 w 1244056"/>
                    <a:gd name="connsiteY6" fmla="*/ 827696 h 1165239"/>
                    <a:gd name="connsiteX7" fmla="*/ 459200 w 1244056"/>
                    <a:gd name="connsiteY7" fmla="*/ 1052486 h 1165239"/>
                    <a:gd name="connsiteX8" fmla="*/ 581120 w 1244056"/>
                    <a:gd name="connsiteY8" fmla="*/ 797216 h 1165239"/>
                    <a:gd name="connsiteX9" fmla="*/ 449675 w 1244056"/>
                    <a:gd name="connsiteY9" fmla="*/ 620051 h 1165239"/>
                    <a:gd name="connsiteX10" fmla="*/ 131537 w 1244056"/>
                    <a:gd name="connsiteY10" fmla="*/ 1134403 h 1165239"/>
                    <a:gd name="connsiteX11" fmla="*/ 34383 w 1244056"/>
                    <a:gd name="connsiteY11" fmla="*/ 1031533 h 1165239"/>
                    <a:gd name="connsiteX12" fmla="*/ 257267 w 1244056"/>
                    <a:gd name="connsiteY12" fmla="*/ 711493 h 1165239"/>
                    <a:gd name="connsiteX13" fmla="*/ 369661 w 1244056"/>
                    <a:gd name="connsiteY13" fmla="*/ 393356 h 1165239"/>
                    <a:gd name="connsiteX14" fmla="*/ 642075 w 1244056"/>
                    <a:gd name="connsiteY14" fmla="*/ 29502 h 1165239"/>
                    <a:gd name="connsiteX15" fmla="*/ 882106 w 1244056"/>
                    <a:gd name="connsiteY15"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577310 w 1244056"/>
                    <a:gd name="connsiteY6" fmla="*/ 1134401 h 1165239"/>
                    <a:gd name="connsiteX7" fmla="*/ 459200 w 1244056"/>
                    <a:gd name="connsiteY7" fmla="*/ 1052486 h 1165239"/>
                    <a:gd name="connsiteX8" fmla="*/ 581120 w 1244056"/>
                    <a:gd name="connsiteY8" fmla="*/ 797216 h 1165239"/>
                    <a:gd name="connsiteX9" fmla="*/ 449675 w 1244056"/>
                    <a:gd name="connsiteY9" fmla="*/ 620051 h 1165239"/>
                    <a:gd name="connsiteX10" fmla="*/ 131537 w 1244056"/>
                    <a:gd name="connsiteY10" fmla="*/ 1134403 h 1165239"/>
                    <a:gd name="connsiteX11" fmla="*/ 34383 w 1244056"/>
                    <a:gd name="connsiteY11" fmla="*/ 1031533 h 1165239"/>
                    <a:gd name="connsiteX12" fmla="*/ 257267 w 1244056"/>
                    <a:gd name="connsiteY12" fmla="*/ 711493 h 1165239"/>
                    <a:gd name="connsiteX13" fmla="*/ 369661 w 1244056"/>
                    <a:gd name="connsiteY13" fmla="*/ 393356 h 1165239"/>
                    <a:gd name="connsiteX14" fmla="*/ 642075 w 1244056"/>
                    <a:gd name="connsiteY14" fmla="*/ 29502 h 1165239"/>
                    <a:gd name="connsiteX15" fmla="*/ 882106 w 1244056"/>
                    <a:gd name="connsiteY15"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577310 w 1244056"/>
                    <a:gd name="connsiteY6" fmla="*/ 1134401 h 1165239"/>
                    <a:gd name="connsiteX7" fmla="*/ 459200 w 1244056"/>
                    <a:gd name="connsiteY7" fmla="*/ 1052486 h 1165239"/>
                    <a:gd name="connsiteX8" fmla="*/ 581120 w 1244056"/>
                    <a:gd name="connsiteY8" fmla="*/ 797216 h 1165239"/>
                    <a:gd name="connsiteX9" fmla="*/ 449675 w 1244056"/>
                    <a:gd name="connsiteY9" fmla="*/ 620051 h 1165239"/>
                    <a:gd name="connsiteX10" fmla="*/ 131537 w 1244056"/>
                    <a:gd name="connsiteY10" fmla="*/ 1134403 h 1165239"/>
                    <a:gd name="connsiteX11" fmla="*/ 34383 w 1244056"/>
                    <a:gd name="connsiteY11" fmla="*/ 1031533 h 1165239"/>
                    <a:gd name="connsiteX12" fmla="*/ 257267 w 1244056"/>
                    <a:gd name="connsiteY12" fmla="*/ 711493 h 1165239"/>
                    <a:gd name="connsiteX13" fmla="*/ 369661 w 1244056"/>
                    <a:gd name="connsiteY13" fmla="*/ 393356 h 1165239"/>
                    <a:gd name="connsiteX14" fmla="*/ 642075 w 1244056"/>
                    <a:gd name="connsiteY14" fmla="*/ 29502 h 1165239"/>
                    <a:gd name="connsiteX15" fmla="*/ 882106 w 1244056"/>
                    <a:gd name="connsiteY15"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577310 w 1244056"/>
                    <a:gd name="connsiteY6" fmla="*/ 1134401 h 1165239"/>
                    <a:gd name="connsiteX7" fmla="*/ 459200 w 1244056"/>
                    <a:gd name="connsiteY7" fmla="*/ 1052486 h 1165239"/>
                    <a:gd name="connsiteX8" fmla="*/ 581120 w 1244056"/>
                    <a:gd name="connsiteY8" fmla="*/ 797216 h 1165239"/>
                    <a:gd name="connsiteX9" fmla="*/ 449675 w 1244056"/>
                    <a:gd name="connsiteY9" fmla="*/ 620051 h 1165239"/>
                    <a:gd name="connsiteX10" fmla="*/ 131537 w 1244056"/>
                    <a:gd name="connsiteY10" fmla="*/ 1134403 h 1165239"/>
                    <a:gd name="connsiteX11" fmla="*/ 34383 w 1244056"/>
                    <a:gd name="connsiteY11" fmla="*/ 1031533 h 1165239"/>
                    <a:gd name="connsiteX12" fmla="*/ 257267 w 1244056"/>
                    <a:gd name="connsiteY12" fmla="*/ 711493 h 1165239"/>
                    <a:gd name="connsiteX13" fmla="*/ 369661 w 1244056"/>
                    <a:gd name="connsiteY13" fmla="*/ 393356 h 1165239"/>
                    <a:gd name="connsiteX14" fmla="*/ 642075 w 1244056"/>
                    <a:gd name="connsiteY14" fmla="*/ 29502 h 1165239"/>
                    <a:gd name="connsiteX15" fmla="*/ 882106 w 1244056"/>
                    <a:gd name="connsiteY15" fmla="*/ 69506 h 1165239"/>
                    <a:gd name="connsiteX0" fmla="*/ 882106 w 1244056"/>
                    <a:gd name="connsiteY0" fmla="*/ 69506 h 1166925"/>
                    <a:gd name="connsiteX1" fmla="*/ 1244056 w 1244056"/>
                    <a:gd name="connsiteY1" fmla="*/ 88556 h 1166925"/>
                    <a:gd name="connsiteX2" fmla="*/ 1238341 w 1244056"/>
                    <a:gd name="connsiteY2" fmla="*/ 225716 h 1166925"/>
                    <a:gd name="connsiteX3" fmla="*/ 838291 w 1244056"/>
                    <a:gd name="connsiteY3" fmla="*/ 202856 h 1166925"/>
                    <a:gd name="connsiteX4" fmla="*/ 779236 w 1244056"/>
                    <a:gd name="connsiteY4" fmla="*/ 343826 h 1166925"/>
                    <a:gd name="connsiteX5" fmla="*/ 746855 w 1244056"/>
                    <a:gd name="connsiteY5" fmla="*/ 827696 h 1166925"/>
                    <a:gd name="connsiteX6" fmla="*/ 577310 w 1244056"/>
                    <a:gd name="connsiteY6" fmla="*/ 1134401 h 1166925"/>
                    <a:gd name="connsiteX7" fmla="*/ 459200 w 1244056"/>
                    <a:gd name="connsiteY7" fmla="*/ 1052486 h 1166925"/>
                    <a:gd name="connsiteX8" fmla="*/ 581120 w 1244056"/>
                    <a:gd name="connsiteY8" fmla="*/ 797216 h 1166925"/>
                    <a:gd name="connsiteX9" fmla="*/ 449675 w 1244056"/>
                    <a:gd name="connsiteY9" fmla="*/ 620051 h 1166925"/>
                    <a:gd name="connsiteX10" fmla="*/ 131537 w 1244056"/>
                    <a:gd name="connsiteY10" fmla="*/ 1134403 h 1166925"/>
                    <a:gd name="connsiteX11" fmla="*/ 34383 w 1244056"/>
                    <a:gd name="connsiteY11" fmla="*/ 1031533 h 1166925"/>
                    <a:gd name="connsiteX12" fmla="*/ 257267 w 1244056"/>
                    <a:gd name="connsiteY12" fmla="*/ 711493 h 1166925"/>
                    <a:gd name="connsiteX13" fmla="*/ 369661 w 1244056"/>
                    <a:gd name="connsiteY13" fmla="*/ 393356 h 1166925"/>
                    <a:gd name="connsiteX14" fmla="*/ 642075 w 1244056"/>
                    <a:gd name="connsiteY14" fmla="*/ 29502 h 1166925"/>
                    <a:gd name="connsiteX15" fmla="*/ 882106 w 1244056"/>
                    <a:gd name="connsiteY15" fmla="*/ 69506 h 1166925"/>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577310 w 1244056"/>
                    <a:gd name="connsiteY6" fmla="*/ 1134401 h 1165239"/>
                    <a:gd name="connsiteX7" fmla="*/ 459200 w 1244056"/>
                    <a:gd name="connsiteY7" fmla="*/ 1052486 h 1165239"/>
                    <a:gd name="connsiteX8" fmla="*/ 581120 w 1244056"/>
                    <a:gd name="connsiteY8" fmla="*/ 797216 h 1165239"/>
                    <a:gd name="connsiteX9" fmla="*/ 449675 w 1244056"/>
                    <a:gd name="connsiteY9" fmla="*/ 620051 h 1165239"/>
                    <a:gd name="connsiteX10" fmla="*/ 131537 w 1244056"/>
                    <a:gd name="connsiteY10" fmla="*/ 1134403 h 1165239"/>
                    <a:gd name="connsiteX11" fmla="*/ 34383 w 1244056"/>
                    <a:gd name="connsiteY11" fmla="*/ 1031533 h 1165239"/>
                    <a:gd name="connsiteX12" fmla="*/ 257267 w 1244056"/>
                    <a:gd name="connsiteY12" fmla="*/ 711493 h 1165239"/>
                    <a:gd name="connsiteX13" fmla="*/ 369661 w 1244056"/>
                    <a:gd name="connsiteY13" fmla="*/ 393356 h 1165239"/>
                    <a:gd name="connsiteX14" fmla="*/ 642075 w 1244056"/>
                    <a:gd name="connsiteY14" fmla="*/ 29502 h 1165239"/>
                    <a:gd name="connsiteX15" fmla="*/ 882106 w 1244056"/>
                    <a:gd name="connsiteY15"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577310 w 1244056"/>
                    <a:gd name="connsiteY6" fmla="*/ 1134401 h 1165239"/>
                    <a:gd name="connsiteX7" fmla="*/ 459200 w 1244056"/>
                    <a:gd name="connsiteY7" fmla="*/ 1052486 h 1165239"/>
                    <a:gd name="connsiteX8" fmla="*/ 581120 w 1244056"/>
                    <a:gd name="connsiteY8" fmla="*/ 797216 h 1165239"/>
                    <a:gd name="connsiteX9" fmla="*/ 449675 w 1244056"/>
                    <a:gd name="connsiteY9" fmla="*/ 620051 h 1165239"/>
                    <a:gd name="connsiteX10" fmla="*/ 131537 w 1244056"/>
                    <a:gd name="connsiteY10" fmla="*/ 1134403 h 1165239"/>
                    <a:gd name="connsiteX11" fmla="*/ 34383 w 1244056"/>
                    <a:gd name="connsiteY11" fmla="*/ 1031533 h 1165239"/>
                    <a:gd name="connsiteX12" fmla="*/ 257267 w 1244056"/>
                    <a:gd name="connsiteY12" fmla="*/ 711493 h 1165239"/>
                    <a:gd name="connsiteX13" fmla="*/ 369661 w 1244056"/>
                    <a:gd name="connsiteY13" fmla="*/ 393356 h 1165239"/>
                    <a:gd name="connsiteX14" fmla="*/ 642075 w 1244056"/>
                    <a:gd name="connsiteY14" fmla="*/ 29502 h 1165239"/>
                    <a:gd name="connsiteX15" fmla="*/ 882106 w 1244056"/>
                    <a:gd name="connsiteY15"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750665 w 1244056"/>
                    <a:gd name="connsiteY6" fmla="*/ 823886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46855 w 1244056"/>
                    <a:gd name="connsiteY5" fmla="*/ 827696 h 1165239"/>
                    <a:gd name="connsiteX6" fmla="*/ 727805 w 1244056"/>
                    <a:gd name="connsiteY6" fmla="*/ 861986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03040 w 1244056"/>
                    <a:gd name="connsiteY5" fmla="*/ 707681 h 1165239"/>
                    <a:gd name="connsiteX6" fmla="*/ 727805 w 1244056"/>
                    <a:gd name="connsiteY6" fmla="*/ 861986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18280 w 1244056"/>
                    <a:gd name="connsiteY5" fmla="*/ 701966 h 1165239"/>
                    <a:gd name="connsiteX6" fmla="*/ 727805 w 1244056"/>
                    <a:gd name="connsiteY6" fmla="*/ 861986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18280 w 1244056"/>
                    <a:gd name="connsiteY5" fmla="*/ 701966 h 1165239"/>
                    <a:gd name="connsiteX6" fmla="*/ 716375 w 1244056"/>
                    <a:gd name="connsiteY6" fmla="*/ 842936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18280 w 1244056"/>
                    <a:gd name="connsiteY5" fmla="*/ 701966 h 1165239"/>
                    <a:gd name="connsiteX6" fmla="*/ 723995 w 1244056"/>
                    <a:gd name="connsiteY6" fmla="*/ 860081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18280 w 1244056"/>
                    <a:gd name="connsiteY5" fmla="*/ 701966 h 1165239"/>
                    <a:gd name="connsiteX6" fmla="*/ 723995 w 1244056"/>
                    <a:gd name="connsiteY6" fmla="*/ 860081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18280 w 1244056"/>
                    <a:gd name="connsiteY5" fmla="*/ 701966 h 1165239"/>
                    <a:gd name="connsiteX6" fmla="*/ 723995 w 1244056"/>
                    <a:gd name="connsiteY6" fmla="*/ 860081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18280 w 1244056"/>
                    <a:gd name="connsiteY5" fmla="*/ 701966 h 1165239"/>
                    <a:gd name="connsiteX6" fmla="*/ 723995 w 1244056"/>
                    <a:gd name="connsiteY6" fmla="*/ 860081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18280 w 1244056"/>
                    <a:gd name="connsiteY5" fmla="*/ 701966 h 1165239"/>
                    <a:gd name="connsiteX6" fmla="*/ 716375 w 1244056"/>
                    <a:gd name="connsiteY6" fmla="*/ 698156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718280 w 1244056"/>
                    <a:gd name="connsiteY5" fmla="*/ 701966 h 1165239"/>
                    <a:gd name="connsiteX6" fmla="*/ 748760 w 1244056"/>
                    <a:gd name="connsiteY6" fmla="*/ 73435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23030 w 1244056"/>
                    <a:gd name="connsiteY5" fmla="*/ 479081 h 1165239"/>
                    <a:gd name="connsiteX6" fmla="*/ 748760 w 1244056"/>
                    <a:gd name="connsiteY6" fmla="*/ 73435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23030 w 1244056"/>
                    <a:gd name="connsiteY5" fmla="*/ 479081 h 1165239"/>
                    <a:gd name="connsiteX6" fmla="*/ 748760 w 1244056"/>
                    <a:gd name="connsiteY6" fmla="*/ 73435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23030 w 1244056"/>
                    <a:gd name="connsiteY5" fmla="*/ 479081 h 1165239"/>
                    <a:gd name="connsiteX6" fmla="*/ 718280 w 1244056"/>
                    <a:gd name="connsiteY6" fmla="*/ 73435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23030 w 1244056"/>
                    <a:gd name="connsiteY5" fmla="*/ 479081 h 1165239"/>
                    <a:gd name="connsiteX6" fmla="*/ 727805 w 1244056"/>
                    <a:gd name="connsiteY6" fmla="*/ 70768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23030 w 1244056"/>
                    <a:gd name="connsiteY5" fmla="*/ 479081 h 1165239"/>
                    <a:gd name="connsiteX6" fmla="*/ 727805 w 1244056"/>
                    <a:gd name="connsiteY6" fmla="*/ 70768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23030 w 1244056"/>
                    <a:gd name="connsiteY5" fmla="*/ 479081 h 1165239"/>
                    <a:gd name="connsiteX6" fmla="*/ 727805 w 1244056"/>
                    <a:gd name="connsiteY6" fmla="*/ 70768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23030 w 1244056"/>
                    <a:gd name="connsiteY5" fmla="*/ 479081 h 1165239"/>
                    <a:gd name="connsiteX6" fmla="*/ 727805 w 1244056"/>
                    <a:gd name="connsiteY6" fmla="*/ 70768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79236 w 1244056"/>
                    <a:gd name="connsiteY4" fmla="*/ 343826 h 1165239"/>
                    <a:gd name="connsiteX5" fmla="*/ 623030 w 1244056"/>
                    <a:gd name="connsiteY5" fmla="*/ 479081 h 1165239"/>
                    <a:gd name="connsiteX6" fmla="*/ 727805 w 1244056"/>
                    <a:gd name="connsiteY6" fmla="*/ 70768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03036 w 1244056"/>
                    <a:gd name="connsiteY4" fmla="*/ 282866 h 1165239"/>
                    <a:gd name="connsiteX5" fmla="*/ 623030 w 1244056"/>
                    <a:gd name="connsiteY5" fmla="*/ 479081 h 1165239"/>
                    <a:gd name="connsiteX6" fmla="*/ 727805 w 1244056"/>
                    <a:gd name="connsiteY6" fmla="*/ 70768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756376 w 1244056"/>
                    <a:gd name="connsiteY4" fmla="*/ 303821 h 1165239"/>
                    <a:gd name="connsiteX5" fmla="*/ 623030 w 1244056"/>
                    <a:gd name="connsiteY5" fmla="*/ 479081 h 1165239"/>
                    <a:gd name="connsiteX6" fmla="*/ 727805 w 1244056"/>
                    <a:gd name="connsiteY6" fmla="*/ 707681 h 1165239"/>
                    <a:gd name="connsiteX7" fmla="*/ 723995 w 1244056"/>
                    <a:gd name="connsiteY7" fmla="*/ 860081 h 1165239"/>
                    <a:gd name="connsiteX8" fmla="*/ 577310 w 1244056"/>
                    <a:gd name="connsiteY8" fmla="*/ 1134401 h 1165239"/>
                    <a:gd name="connsiteX9" fmla="*/ 459200 w 1244056"/>
                    <a:gd name="connsiteY9" fmla="*/ 1052486 h 1165239"/>
                    <a:gd name="connsiteX10" fmla="*/ 581120 w 1244056"/>
                    <a:gd name="connsiteY10" fmla="*/ 797216 h 1165239"/>
                    <a:gd name="connsiteX11" fmla="*/ 449675 w 1244056"/>
                    <a:gd name="connsiteY11" fmla="*/ 620051 h 1165239"/>
                    <a:gd name="connsiteX12" fmla="*/ 131537 w 1244056"/>
                    <a:gd name="connsiteY12" fmla="*/ 1134403 h 1165239"/>
                    <a:gd name="connsiteX13" fmla="*/ 34383 w 1244056"/>
                    <a:gd name="connsiteY13" fmla="*/ 1031533 h 1165239"/>
                    <a:gd name="connsiteX14" fmla="*/ 257267 w 1244056"/>
                    <a:gd name="connsiteY14" fmla="*/ 711493 h 1165239"/>
                    <a:gd name="connsiteX15" fmla="*/ 369661 w 1244056"/>
                    <a:gd name="connsiteY15" fmla="*/ 393356 h 1165239"/>
                    <a:gd name="connsiteX16" fmla="*/ 642075 w 1244056"/>
                    <a:gd name="connsiteY16" fmla="*/ 29502 h 1165239"/>
                    <a:gd name="connsiteX17" fmla="*/ 882106 w 1244056"/>
                    <a:gd name="connsiteY17"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623030 w 1244056"/>
                    <a:gd name="connsiteY4" fmla="*/ 479081 h 1165239"/>
                    <a:gd name="connsiteX5" fmla="*/ 727805 w 1244056"/>
                    <a:gd name="connsiteY5" fmla="*/ 707681 h 1165239"/>
                    <a:gd name="connsiteX6" fmla="*/ 723995 w 1244056"/>
                    <a:gd name="connsiteY6" fmla="*/ 860081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623030 w 1244056"/>
                    <a:gd name="connsiteY4" fmla="*/ 479081 h 1165239"/>
                    <a:gd name="connsiteX5" fmla="*/ 727805 w 1244056"/>
                    <a:gd name="connsiteY5" fmla="*/ 707681 h 1165239"/>
                    <a:gd name="connsiteX6" fmla="*/ 723995 w 1244056"/>
                    <a:gd name="connsiteY6" fmla="*/ 860081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623030 w 1244056"/>
                    <a:gd name="connsiteY4" fmla="*/ 479081 h 1165239"/>
                    <a:gd name="connsiteX5" fmla="*/ 727805 w 1244056"/>
                    <a:gd name="connsiteY5" fmla="*/ 707681 h 1165239"/>
                    <a:gd name="connsiteX6" fmla="*/ 723995 w 1244056"/>
                    <a:gd name="connsiteY6" fmla="*/ 860081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 name="connsiteX0" fmla="*/ 882106 w 1244056"/>
                    <a:gd name="connsiteY0" fmla="*/ 69506 h 1165239"/>
                    <a:gd name="connsiteX1" fmla="*/ 1244056 w 1244056"/>
                    <a:gd name="connsiteY1" fmla="*/ 88556 h 1165239"/>
                    <a:gd name="connsiteX2" fmla="*/ 1238341 w 1244056"/>
                    <a:gd name="connsiteY2" fmla="*/ 225716 h 1165239"/>
                    <a:gd name="connsiteX3" fmla="*/ 838291 w 1244056"/>
                    <a:gd name="connsiteY3" fmla="*/ 202856 h 1165239"/>
                    <a:gd name="connsiteX4" fmla="*/ 623030 w 1244056"/>
                    <a:gd name="connsiteY4" fmla="*/ 479081 h 1165239"/>
                    <a:gd name="connsiteX5" fmla="*/ 727805 w 1244056"/>
                    <a:gd name="connsiteY5" fmla="*/ 707681 h 1165239"/>
                    <a:gd name="connsiteX6" fmla="*/ 723995 w 1244056"/>
                    <a:gd name="connsiteY6" fmla="*/ 860081 h 1165239"/>
                    <a:gd name="connsiteX7" fmla="*/ 577310 w 1244056"/>
                    <a:gd name="connsiteY7" fmla="*/ 1134401 h 1165239"/>
                    <a:gd name="connsiteX8" fmla="*/ 459200 w 1244056"/>
                    <a:gd name="connsiteY8" fmla="*/ 1052486 h 1165239"/>
                    <a:gd name="connsiteX9" fmla="*/ 581120 w 1244056"/>
                    <a:gd name="connsiteY9" fmla="*/ 797216 h 1165239"/>
                    <a:gd name="connsiteX10" fmla="*/ 449675 w 1244056"/>
                    <a:gd name="connsiteY10" fmla="*/ 620051 h 1165239"/>
                    <a:gd name="connsiteX11" fmla="*/ 131537 w 1244056"/>
                    <a:gd name="connsiteY11" fmla="*/ 1134403 h 1165239"/>
                    <a:gd name="connsiteX12" fmla="*/ 34383 w 1244056"/>
                    <a:gd name="connsiteY12" fmla="*/ 1031533 h 1165239"/>
                    <a:gd name="connsiteX13" fmla="*/ 257267 w 1244056"/>
                    <a:gd name="connsiteY13" fmla="*/ 711493 h 1165239"/>
                    <a:gd name="connsiteX14" fmla="*/ 369661 w 1244056"/>
                    <a:gd name="connsiteY14" fmla="*/ 393356 h 1165239"/>
                    <a:gd name="connsiteX15" fmla="*/ 642075 w 1244056"/>
                    <a:gd name="connsiteY15" fmla="*/ 29502 h 1165239"/>
                    <a:gd name="connsiteX16" fmla="*/ 882106 w 1244056"/>
                    <a:gd name="connsiteY16" fmla="*/ 69506 h 116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4056" h="1165239">
                      <a:moveTo>
                        <a:pt x="882106" y="69506"/>
                      </a:moveTo>
                      <a:cubicBezTo>
                        <a:pt x="1010376" y="155231"/>
                        <a:pt x="1073876" y="139991"/>
                        <a:pt x="1244056" y="88556"/>
                      </a:cubicBezTo>
                      <a:lnTo>
                        <a:pt x="1238341" y="225716"/>
                      </a:lnTo>
                      <a:cubicBezTo>
                        <a:pt x="1095466" y="261911"/>
                        <a:pt x="973546" y="328586"/>
                        <a:pt x="838291" y="202856"/>
                      </a:cubicBezTo>
                      <a:cubicBezTo>
                        <a:pt x="766537" y="294931"/>
                        <a:pt x="687164" y="379386"/>
                        <a:pt x="623030" y="479081"/>
                      </a:cubicBezTo>
                      <a:cubicBezTo>
                        <a:pt x="643033" y="524801"/>
                        <a:pt x="726853" y="681329"/>
                        <a:pt x="727805" y="707681"/>
                      </a:cubicBezTo>
                      <a:cubicBezTo>
                        <a:pt x="755427" y="754988"/>
                        <a:pt x="754792" y="800709"/>
                        <a:pt x="723995" y="860081"/>
                      </a:cubicBezTo>
                      <a:lnTo>
                        <a:pt x="577310" y="1134401"/>
                      </a:lnTo>
                      <a:cubicBezTo>
                        <a:pt x="526510" y="1183296"/>
                        <a:pt x="420465" y="1176946"/>
                        <a:pt x="459200" y="1052486"/>
                      </a:cubicBezTo>
                      <a:lnTo>
                        <a:pt x="581120" y="797216"/>
                      </a:lnTo>
                      <a:cubicBezTo>
                        <a:pt x="539845" y="719111"/>
                        <a:pt x="540480" y="618146"/>
                        <a:pt x="449675" y="620051"/>
                      </a:cubicBezTo>
                      <a:cubicBezTo>
                        <a:pt x="406494" y="829602"/>
                        <a:pt x="258538" y="941997"/>
                        <a:pt x="131537" y="1134403"/>
                      </a:cubicBezTo>
                      <a:cubicBezTo>
                        <a:pt x="-3083" y="1229336"/>
                        <a:pt x="-32292" y="1079158"/>
                        <a:pt x="34383" y="1031533"/>
                      </a:cubicBezTo>
                      <a:cubicBezTo>
                        <a:pt x="74388" y="972478"/>
                        <a:pt x="242345" y="782931"/>
                        <a:pt x="257267" y="711493"/>
                      </a:cubicBezTo>
                      <a:cubicBezTo>
                        <a:pt x="272189" y="640055"/>
                        <a:pt x="303621" y="508926"/>
                        <a:pt x="369661" y="393356"/>
                      </a:cubicBezTo>
                      <a:cubicBezTo>
                        <a:pt x="417603" y="286041"/>
                        <a:pt x="553175" y="66332"/>
                        <a:pt x="642075" y="29502"/>
                      </a:cubicBezTo>
                      <a:cubicBezTo>
                        <a:pt x="736690" y="-45428"/>
                        <a:pt x="785903" y="42836"/>
                        <a:pt x="882106" y="69506"/>
                      </a:cubicBez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grpSp>
          <p:nvGrpSpPr>
            <p:cNvPr id="8" name="Group 7"/>
            <p:cNvGrpSpPr/>
            <p:nvPr/>
          </p:nvGrpSpPr>
          <p:grpSpPr>
            <a:xfrm>
              <a:off x="5832302" y="4807183"/>
              <a:ext cx="1812441" cy="1433818"/>
              <a:chOff x="5832302" y="4807183"/>
              <a:chExt cx="1812441" cy="1433818"/>
            </a:xfrm>
          </p:grpSpPr>
          <p:grpSp>
            <p:nvGrpSpPr>
              <p:cNvPr id="68" name="Group 67"/>
              <p:cNvGrpSpPr/>
              <p:nvPr/>
            </p:nvGrpSpPr>
            <p:grpSpPr>
              <a:xfrm flipH="1">
                <a:off x="6861293" y="4984105"/>
                <a:ext cx="783450" cy="1256896"/>
                <a:chOff x="434067" y="3264588"/>
                <a:chExt cx="1634870" cy="2622840"/>
              </a:xfrm>
              <a:solidFill>
                <a:srgbClr val="404040"/>
              </a:solidFill>
            </p:grpSpPr>
            <p:sp>
              <p:nvSpPr>
                <p:cNvPr id="72" name="Oval 71"/>
                <p:cNvSpPr/>
                <p:nvPr/>
              </p:nvSpPr>
              <p:spPr>
                <a:xfrm>
                  <a:off x="930673" y="3264588"/>
                  <a:ext cx="585216" cy="582825"/>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3" name="Rectangle 3"/>
                <p:cNvSpPr/>
                <p:nvPr/>
              </p:nvSpPr>
              <p:spPr>
                <a:xfrm>
                  <a:off x="434067" y="3888107"/>
                  <a:ext cx="1634870" cy="1999321"/>
                </a:xfrm>
                <a:custGeom>
                  <a:avLst/>
                  <a:gdLst>
                    <a:gd name="connsiteX0" fmla="*/ 0 w 224790"/>
                    <a:gd name="connsiteY0" fmla="*/ 0 h 457200"/>
                    <a:gd name="connsiteX1" fmla="*/ 224790 w 224790"/>
                    <a:gd name="connsiteY1" fmla="*/ 0 h 457200"/>
                    <a:gd name="connsiteX2" fmla="*/ 224790 w 224790"/>
                    <a:gd name="connsiteY2" fmla="*/ 457200 h 457200"/>
                    <a:gd name="connsiteX3" fmla="*/ 0 w 224790"/>
                    <a:gd name="connsiteY3" fmla="*/ 457200 h 457200"/>
                    <a:gd name="connsiteX4" fmla="*/ 0 w 224790"/>
                    <a:gd name="connsiteY4" fmla="*/ 0 h 457200"/>
                    <a:gd name="connsiteX0" fmla="*/ 0 w 224790"/>
                    <a:gd name="connsiteY0" fmla="*/ 0 h 457200"/>
                    <a:gd name="connsiteX1" fmla="*/ 150495 w 224790"/>
                    <a:gd name="connsiteY1" fmla="*/ 26670 h 457200"/>
                    <a:gd name="connsiteX2" fmla="*/ 224790 w 224790"/>
                    <a:gd name="connsiteY2" fmla="*/ 457200 h 457200"/>
                    <a:gd name="connsiteX3" fmla="*/ 0 w 224790"/>
                    <a:gd name="connsiteY3" fmla="*/ 457200 h 457200"/>
                    <a:gd name="connsiteX4" fmla="*/ 0 w 224790"/>
                    <a:gd name="connsiteY4" fmla="*/ 0 h 457200"/>
                    <a:gd name="connsiteX0" fmla="*/ 0 w 224790"/>
                    <a:gd name="connsiteY0" fmla="*/ 0 h 457200"/>
                    <a:gd name="connsiteX1" fmla="*/ 150495 w 224790"/>
                    <a:gd name="connsiteY1" fmla="*/ 26670 h 457200"/>
                    <a:gd name="connsiteX2" fmla="*/ 150495 w 224790"/>
                    <a:gd name="connsiteY2" fmla="*/ 30480 h 457200"/>
                    <a:gd name="connsiteX3" fmla="*/ 224790 w 224790"/>
                    <a:gd name="connsiteY3" fmla="*/ 457200 h 457200"/>
                    <a:gd name="connsiteX4" fmla="*/ 0 w 224790"/>
                    <a:gd name="connsiteY4" fmla="*/ 457200 h 457200"/>
                    <a:gd name="connsiteX5" fmla="*/ 0 w 224790"/>
                    <a:gd name="connsiteY5" fmla="*/ 0 h 457200"/>
                    <a:gd name="connsiteX0" fmla="*/ 0 w 224790"/>
                    <a:gd name="connsiteY0" fmla="*/ 0 h 457200"/>
                    <a:gd name="connsiteX1" fmla="*/ 150495 w 224790"/>
                    <a:gd name="connsiteY1" fmla="*/ 26670 h 457200"/>
                    <a:gd name="connsiteX2" fmla="*/ 182880 w 224790"/>
                    <a:gd name="connsiteY2" fmla="*/ 89535 h 457200"/>
                    <a:gd name="connsiteX3" fmla="*/ 224790 w 224790"/>
                    <a:gd name="connsiteY3" fmla="*/ 457200 h 457200"/>
                    <a:gd name="connsiteX4" fmla="*/ 0 w 224790"/>
                    <a:gd name="connsiteY4" fmla="*/ 457200 h 457200"/>
                    <a:gd name="connsiteX5" fmla="*/ 0 w 224790"/>
                    <a:gd name="connsiteY5" fmla="*/ 0 h 457200"/>
                    <a:gd name="connsiteX0" fmla="*/ 0 w 224790"/>
                    <a:gd name="connsiteY0" fmla="*/ 0 h 457200"/>
                    <a:gd name="connsiteX1" fmla="*/ 150495 w 224790"/>
                    <a:gd name="connsiteY1" fmla="*/ 26670 h 457200"/>
                    <a:gd name="connsiteX2" fmla="*/ 182880 w 224790"/>
                    <a:gd name="connsiteY2" fmla="*/ 89535 h 457200"/>
                    <a:gd name="connsiteX3" fmla="*/ 224790 w 224790"/>
                    <a:gd name="connsiteY3" fmla="*/ 457200 h 457200"/>
                    <a:gd name="connsiteX4" fmla="*/ 0 w 224790"/>
                    <a:gd name="connsiteY4" fmla="*/ 457200 h 457200"/>
                    <a:gd name="connsiteX5" fmla="*/ 0 w 224790"/>
                    <a:gd name="connsiteY5" fmla="*/ 0 h 457200"/>
                    <a:gd name="connsiteX0" fmla="*/ 0 w 224790"/>
                    <a:gd name="connsiteY0" fmla="*/ 0 h 457200"/>
                    <a:gd name="connsiteX1" fmla="*/ 150495 w 224790"/>
                    <a:gd name="connsiteY1" fmla="*/ 26670 h 457200"/>
                    <a:gd name="connsiteX2" fmla="*/ 182880 w 224790"/>
                    <a:gd name="connsiteY2" fmla="*/ 89535 h 457200"/>
                    <a:gd name="connsiteX3" fmla="*/ 224790 w 224790"/>
                    <a:gd name="connsiteY3" fmla="*/ 457200 h 457200"/>
                    <a:gd name="connsiteX4" fmla="*/ 0 w 224790"/>
                    <a:gd name="connsiteY4" fmla="*/ 457200 h 457200"/>
                    <a:gd name="connsiteX5" fmla="*/ 0 w 224790"/>
                    <a:gd name="connsiteY5" fmla="*/ 0 h 457200"/>
                    <a:gd name="connsiteX0" fmla="*/ 0 w 224790"/>
                    <a:gd name="connsiteY0" fmla="*/ 0 h 457200"/>
                    <a:gd name="connsiteX1" fmla="*/ 150495 w 224790"/>
                    <a:gd name="connsiteY1" fmla="*/ 26670 h 457200"/>
                    <a:gd name="connsiteX2" fmla="*/ 179070 w 224790"/>
                    <a:gd name="connsiteY2" fmla="*/ 95250 h 457200"/>
                    <a:gd name="connsiteX3" fmla="*/ 224790 w 224790"/>
                    <a:gd name="connsiteY3" fmla="*/ 457200 h 457200"/>
                    <a:gd name="connsiteX4" fmla="*/ 0 w 224790"/>
                    <a:gd name="connsiteY4" fmla="*/ 457200 h 457200"/>
                    <a:gd name="connsiteX5" fmla="*/ 0 w 224790"/>
                    <a:gd name="connsiteY5" fmla="*/ 0 h 457200"/>
                    <a:gd name="connsiteX0" fmla="*/ 0 w 378841"/>
                    <a:gd name="connsiteY0" fmla="*/ 0 h 457200"/>
                    <a:gd name="connsiteX1" fmla="*/ 375285 w 378841"/>
                    <a:gd name="connsiteY1" fmla="*/ 83820 h 457200"/>
                    <a:gd name="connsiteX2" fmla="*/ 179070 w 378841"/>
                    <a:gd name="connsiteY2" fmla="*/ 95250 h 457200"/>
                    <a:gd name="connsiteX3" fmla="*/ 224790 w 378841"/>
                    <a:gd name="connsiteY3" fmla="*/ 457200 h 457200"/>
                    <a:gd name="connsiteX4" fmla="*/ 0 w 378841"/>
                    <a:gd name="connsiteY4" fmla="*/ 457200 h 457200"/>
                    <a:gd name="connsiteX5" fmla="*/ 0 w 378841"/>
                    <a:gd name="connsiteY5" fmla="*/ 0 h 457200"/>
                    <a:gd name="connsiteX0" fmla="*/ 0 w 423138"/>
                    <a:gd name="connsiteY0" fmla="*/ 0 h 457200"/>
                    <a:gd name="connsiteX1" fmla="*/ 375285 w 423138"/>
                    <a:gd name="connsiteY1" fmla="*/ 83820 h 457200"/>
                    <a:gd name="connsiteX2" fmla="*/ 419100 w 423138"/>
                    <a:gd name="connsiteY2" fmla="*/ 230505 h 457200"/>
                    <a:gd name="connsiteX3" fmla="*/ 224790 w 423138"/>
                    <a:gd name="connsiteY3" fmla="*/ 457200 h 457200"/>
                    <a:gd name="connsiteX4" fmla="*/ 0 w 423138"/>
                    <a:gd name="connsiteY4" fmla="*/ 457200 h 457200"/>
                    <a:gd name="connsiteX5" fmla="*/ 0 w 423138"/>
                    <a:gd name="connsiteY5" fmla="*/ 0 h 457200"/>
                    <a:gd name="connsiteX0" fmla="*/ 0 w 433336"/>
                    <a:gd name="connsiteY0" fmla="*/ 0 h 457200"/>
                    <a:gd name="connsiteX1" fmla="*/ 375285 w 433336"/>
                    <a:gd name="connsiteY1" fmla="*/ 83820 h 457200"/>
                    <a:gd name="connsiteX2" fmla="*/ 419100 w 433336"/>
                    <a:gd name="connsiteY2" fmla="*/ 230505 h 457200"/>
                    <a:gd name="connsiteX3" fmla="*/ 224790 w 433336"/>
                    <a:gd name="connsiteY3" fmla="*/ 457200 h 457200"/>
                    <a:gd name="connsiteX4" fmla="*/ 0 w 433336"/>
                    <a:gd name="connsiteY4" fmla="*/ 457200 h 457200"/>
                    <a:gd name="connsiteX5" fmla="*/ 0 w 433336"/>
                    <a:gd name="connsiteY5" fmla="*/ 0 h 457200"/>
                    <a:gd name="connsiteX0" fmla="*/ 0 w 433336"/>
                    <a:gd name="connsiteY0" fmla="*/ 0 h 457200"/>
                    <a:gd name="connsiteX1" fmla="*/ 5079 w 433336"/>
                    <a:gd name="connsiteY1" fmla="*/ 0 h 457200"/>
                    <a:gd name="connsiteX2" fmla="*/ 375285 w 433336"/>
                    <a:gd name="connsiteY2" fmla="*/ 83820 h 457200"/>
                    <a:gd name="connsiteX3" fmla="*/ 419100 w 433336"/>
                    <a:gd name="connsiteY3" fmla="*/ 230505 h 457200"/>
                    <a:gd name="connsiteX4" fmla="*/ 224790 w 433336"/>
                    <a:gd name="connsiteY4" fmla="*/ 457200 h 457200"/>
                    <a:gd name="connsiteX5" fmla="*/ 0 w 433336"/>
                    <a:gd name="connsiteY5" fmla="*/ 457200 h 457200"/>
                    <a:gd name="connsiteX6" fmla="*/ 0 w 433336"/>
                    <a:gd name="connsiteY6" fmla="*/ 0 h 457200"/>
                    <a:gd name="connsiteX0" fmla="*/ 0 w 526681"/>
                    <a:gd name="connsiteY0" fmla="*/ 97155 h 457200"/>
                    <a:gd name="connsiteX1" fmla="*/ 98424 w 526681"/>
                    <a:gd name="connsiteY1" fmla="*/ 0 h 457200"/>
                    <a:gd name="connsiteX2" fmla="*/ 468630 w 526681"/>
                    <a:gd name="connsiteY2" fmla="*/ 83820 h 457200"/>
                    <a:gd name="connsiteX3" fmla="*/ 512445 w 526681"/>
                    <a:gd name="connsiteY3" fmla="*/ 230505 h 457200"/>
                    <a:gd name="connsiteX4" fmla="*/ 318135 w 526681"/>
                    <a:gd name="connsiteY4" fmla="*/ 457200 h 457200"/>
                    <a:gd name="connsiteX5" fmla="*/ 93345 w 526681"/>
                    <a:gd name="connsiteY5" fmla="*/ 457200 h 457200"/>
                    <a:gd name="connsiteX6" fmla="*/ 0 w 526681"/>
                    <a:gd name="connsiteY6" fmla="*/ 97155 h 457200"/>
                    <a:gd name="connsiteX0" fmla="*/ 0 w 526681"/>
                    <a:gd name="connsiteY0" fmla="*/ 97155 h 457200"/>
                    <a:gd name="connsiteX1" fmla="*/ 98424 w 526681"/>
                    <a:gd name="connsiteY1" fmla="*/ 0 h 457200"/>
                    <a:gd name="connsiteX2" fmla="*/ 468630 w 526681"/>
                    <a:gd name="connsiteY2" fmla="*/ 83820 h 457200"/>
                    <a:gd name="connsiteX3" fmla="*/ 512445 w 526681"/>
                    <a:gd name="connsiteY3" fmla="*/ 230505 h 457200"/>
                    <a:gd name="connsiteX4" fmla="*/ 318135 w 526681"/>
                    <a:gd name="connsiteY4" fmla="*/ 457200 h 457200"/>
                    <a:gd name="connsiteX5" fmla="*/ 93345 w 526681"/>
                    <a:gd name="connsiteY5" fmla="*/ 457200 h 457200"/>
                    <a:gd name="connsiteX6" fmla="*/ 0 w 526681"/>
                    <a:gd name="connsiteY6" fmla="*/ 97155 h 457200"/>
                    <a:gd name="connsiteX0" fmla="*/ 0 w 526681"/>
                    <a:gd name="connsiteY0" fmla="*/ 97155 h 457200"/>
                    <a:gd name="connsiteX1" fmla="*/ 98424 w 526681"/>
                    <a:gd name="connsiteY1" fmla="*/ 0 h 457200"/>
                    <a:gd name="connsiteX2" fmla="*/ 468630 w 526681"/>
                    <a:gd name="connsiteY2" fmla="*/ 83820 h 457200"/>
                    <a:gd name="connsiteX3" fmla="*/ 512445 w 526681"/>
                    <a:gd name="connsiteY3" fmla="*/ 230505 h 457200"/>
                    <a:gd name="connsiteX4" fmla="*/ 318135 w 526681"/>
                    <a:gd name="connsiteY4" fmla="*/ 457200 h 457200"/>
                    <a:gd name="connsiteX5" fmla="*/ 93345 w 526681"/>
                    <a:gd name="connsiteY5" fmla="*/ 457200 h 457200"/>
                    <a:gd name="connsiteX6" fmla="*/ 0 w 526681"/>
                    <a:gd name="connsiteY6" fmla="*/ 97155 h 457200"/>
                    <a:gd name="connsiteX0" fmla="*/ 154305 w 680986"/>
                    <a:gd name="connsiteY0" fmla="*/ 97155 h 763905"/>
                    <a:gd name="connsiteX1" fmla="*/ 252729 w 680986"/>
                    <a:gd name="connsiteY1" fmla="*/ 0 h 763905"/>
                    <a:gd name="connsiteX2" fmla="*/ 622935 w 680986"/>
                    <a:gd name="connsiteY2" fmla="*/ 83820 h 763905"/>
                    <a:gd name="connsiteX3" fmla="*/ 666750 w 680986"/>
                    <a:gd name="connsiteY3" fmla="*/ 230505 h 763905"/>
                    <a:gd name="connsiteX4" fmla="*/ 472440 w 680986"/>
                    <a:gd name="connsiteY4" fmla="*/ 457200 h 763905"/>
                    <a:gd name="connsiteX5" fmla="*/ 0 w 680986"/>
                    <a:gd name="connsiteY5" fmla="*/ 763905 h 763905"/>
                    <a:gd name="connsiteX6" fmla="*/ 154305 w 680986"/>
                    <a:gd name="connsiteY6" fmla="*/ 97155 h 763905"/>
                    <a:gd name="connsiteX0" fmla="*/ 154305 w 680986"/>
                    <a:gd name="connsiteY0" fmla="*/ 97155 h 763905"/>
                    <a:gd name="connsiteX1" fmla="*/ 252729 w 680986"/>
                    <a:gd name="connsiteY1" fmla="*/ 0 h 763905"/>
                    <a:gd name="connsiteX2" fmla="*/ 622935 w 680986"/>
                    <a:gd name="connsiteY2" fmla="*/ 83820 h 763905"/>
                    <a:gd name="connsiteX3" fmla="*/ 666750 w 680986"/>
                    <a:gd name="connsiteY3" fmla="*/ 230505 h 763905"/>
                    <a:gd name="connsiteX4" fmla="*/ 662305 w 680986"/>
                    <a:gd name="connsiteY4" fmla="*/ 232410 h 763905"/>
                    <a:gd name="connsiteX5" fmla="*/ 472440 w 680986"/>
                    <a:gd name="connsiteY5" fmla="*/ 457200 h 763905"/>
                    <a:gd name="connsiteX6" fmla="*/ 0 w 680986"/>
                    <a:gd name="connsiteY6" fmla="*/ 763905 h 763905"/>
                    <a:gd name="connsiteX7" fmla="*/ 154305 w 680986"/>
                    <a:gd name="connsiteY7" fmla="*/ 97155 h 763905"/>
                    <a:gd name="connsiteX0" fmla="*/ 154305 w 923290"/>
                    <a:gd name="connsiteY0" fmla="*/ 97155 h 763905"/>
                    <a:gd name="connsiteX1" fmla="*/ 252729 w 923290"/>
                    <a:gd name="connsiteY1" fmla="*/ 0 h 763905"/>
                    <a:gd name="connsiteX2" fmla="*/ 622935 w 923290"/>
                    <a:gd name="connsiteY2" fmla="*/ 83820 h 763905"/>
                    <a:gd name="connsiteX3" fmla="*/ 666750 w 923290"/>
                    <a:gd name="connsiteY3" fmla="*/ 230505 h 763905"/>
                    <a:gd name="connsiteX4" fmla="*/ 923290 w 923290"/>
                    <a:gd name="connsiteY4" fmla="*/ 527685 h 763905"/>
                    <a:gd name="connsiteX5" fmla="*/ 472440 w 923290"/>
                    <a:gd name="connsiteY5" fmla="*/ 457200 h 763905"/>
                    <a:gd name="connsiteX6" fmla="*/ 0 w 923290"/>
                    <a:gd name="connsiteY6" fmla="*/ 763905 h 763905"/>
                    <a:gd name="connsiteX7" fmla="*/ 154305 w 923290"/>
                    <a:gd name="connsiteY7" fmla="*/ 97155 h 763905"/>
                    <a:gd name="connsiteX0" fmla="*/ 154305 w 923290"/>
                    <a:gd name="connsiteY0" fmla="*/ 97155 h 763905"/>
                    <a:gd name="connsiteX1" fmla="*/ 252729 w 923290"/>
                    <a:gd name="connsiteY1" fmla="*/ 0 h 763905"/>
                    <a:gd name="connsiteX2" fmla="*/ 622935 w 923290"/>
                    <a:gd name="connsiteY2" fmla="*/ 83820 h 763905"/>
                    <a:gd name="connsiteX3" fmla="*/ 666750 w 923290"/>
                    <a:gd name="connsiteY3" fmla="*/ 230505 h 763905"/>
                    <a:gd name="connsiteX4" fmla="*/ 923290 w 923290"/>
                    <a:gd name="connsiteY4" fmla="*/ 527685 h 763905"/>
                    <a:gd name="connsiteX5" fmla="*/ 923290 w 923290"/>
                    <a:gd name="connsiteY5" fmla="*/ 527685 h 763905"/>
                    <a:gd name="connsiteX6" fmla="*/ 472440 w 923290"/>
                    <a:gd name="connsiteY6" fmla="*/ 457200 h 763905"/>
                    <a:gd name="connsiteX7" fmla="*/ 0 w 923290"/>
                    <a:gd name="connsiteY7" fmla="*/ 763905 h 763905"/>
                    <a:gd name="connsiteX8" fmla="*/ 154305 w 923290"/>
                    <a:gd name="connsiteY8" fmla="*/ 97155 h 763905"/>
                    <a:gd name="connsiteX0" fmla="*/ 154305 w 1290955"/>
                    <a:gd name="connsiteY0" fmla="*/ 97155 h 763905"/>
                    <a:gd name="connsiteX1" fmla="*/ 252729 w 1290955"/>
                    <a:gd name="connsiteY1" fmla="*/ 0 h 763905"/>
                    <a:gd name="connsiteX2" fmla="*/ 622935 w 1290955"/>
                    <a:gd name="connsiteY2" fmla="*/ 83820 h 763905"/>
                    <a:gd name="connsiteX3" fmla="*/ 666750 w 1290955"/>
                    <a:gd name="connsiteY3" fmla="*/ 230505 h 763905"/>
                    <a:gd name="connsiteX4" fmla="*/ 923290 w 1290955"/>
                    <a:gd name="connsiteY4" fmla="*/ 527685 h 763905"/>
                    <a:gd name="connsiteX5" fmla="*/ 1290955 w 1290955"/>
                    <a:gd name="connsiteY5" fmla="*/ 634365 h 763905"/>
                    <a:gd name="connsiteX6" fmla="*/ 472440 w 1290955"/>
                    <a:gd name="connsiteY6" fmla="*/ 457200 h 763905"/>
                    <a:gd name="connsiteX7" fmla="*/ 0 w 1290955"/>
                    <a:gd name="connsiteY7" fmla="*/ 763905 h 763905"/>
                    <a:gd name="connsiteX8" fmla="*/ 154305 w 1290955"/>
                    <a:gd name="connsiteY8" fmla="*/ 97155 h 763905"/>
                    <a:gd name="connsiteX0" fmla="*/ 154305 w 1290955"/>
                    <a:gd name="connsiteY0" fmla="*/ 97155 h 763905"/>
                    <a:gd name="connsiteX1" fmla="*/ 252729 w 1290955"/>
                    <a:gd name="connsiteY1" fmla="*/ 0 h 763905"/>
                    <a:gd name="connsiteX2" fmla="*/ 622935 w 1290955"/>
                    <a:gd name="connsiteY2" fmla="*/ 83820 h 763905"/>
                    <a:gd name="connsiteX3" fmla="*/ 666750 w 1290955"/>
                    <a:gd name="connsiteY3" fmla="*/ 230505 h 763905"/>
                    <a:gd name="connsiteX4" fmla="*/ 923290 w 1290955"/>
                    <a:gd name="connsiteY4" fmla="*/ 527685 h 763905"/>
                    <a:gd name="connsiteX5" fmla="*/ 1290955 w 1290955"/>
                    <a:gd name="connsiteY5" fmla="*/ 634365 h 763905"/>
                    <a:gd name="connsiteX6" fmla="*/ 472440 w 1290955"/>
                    <a:gd name="connsiteY6" fmla="*/ 457200 h 763905"/>
                    <a:gd name="connsiteX7" fmla="*/ 0 w 1290955"/>
                    <a:gd name="connsiteY7" fmla="*/ 763905 h 763905"/>
                    <a:gd name="connsiteX8" fmla="*/ 154305 w 1290955"/>
                    <a:gd name="connsiteY8" fmla="*/ 97155 h 763905"/>
                    <a:gd name="connsiteX0" fmla="*/ 154305 w 1290955"/>
                    <a:gd name="connsiteY0" fmla="*/ 97155 h 763905"/>
                    <a:gd name="connsiteX1" fmla="*/ 252729 w 1290955"/>
                    <a:gd name="connsiteY1" fmla="*/ 0 h 763905"/>
                    <a:gd name="connsiteX2" fmla="*/ 622935 w 1290955"/>
                    <a:gd name="connsiteY2" fmla="*/ 83820 h 763905"/>
                    <a:gd name="connsiteX3" fmla="*/ 666750 w 1290955"/>
                    <a:gd name="connsiteY3" fmla="*/ 230505 h 763905"/>
                    <a:gd name="connsiteX4" fmla="*/ 923290 w 1290955"/>
                    <a:gd name="connsiteY4" fmla="*/ 527685 h 763905"/>
                    <a:gd name="connsiteX5" fmla="*/ 1290955 w 1290955"/>
                    <a:gd name="connsiteY5" fmla="*/ 634365 h 763905"/>
                    <a:gd name="connsiteX6" fmla="*/ 1290955 w 1290955"/>
                    <a:gd name="connsiteY6" fmla="*/ 626745 h 763905"/>
                    <a:gd name="connsiteX7" fmla="*/ 472440 w 1290955"/>
                    <a:gd name="connsiteY7" fmla="*/ 457200 h 763905"/>
                    <a:gd name="connsiteX8" fmla="*/ 0 w 1290955"/>
                    <a:gd name="connsiteY8" fmla="*/ 763905 h 763905"/>
                    <a:gd name="connsiteX9" fmla="*/ 154305 w 1290955"/>
                    <a:gd name="connsiteY9" fmla="*/ 97155 h 763905"/>
                    <a:gd name="connsiteX0" fmla="*/ 154305 w 1290955"/>
                    <a:gd name="connsiteY0" fmla="*/ 97155 h 843915"/>
                    <a:gd name="connsiteX1" fmla="*/ 252729 w 1290955"/>
                    <a:gd name="connsiteY1" fmla="*/ 0 h 843915"/>
                    <a:gd name="connsiteX2" fmla="*/ 622935 w 1290955"/>
                    <a:gd name="connsiteY2" fmla="*/ 83820 h 843915"/>
                    <a:gd name="connsiteX3" fmla="*/ 666750 w 1290955"/>
                    <a:gd name="connsiteY3" fmla="*/ 230505 h 843915"/>
                    <a:gd name="connsiteX4" fmla="*/ 923290 w 1290955"/>
                    <a:gd name="connsiteY4" fmla="*/ 527685 h 843915"/>
                    <a:gd name="connsiteX5" fmla="*/ 1290955 w 1290955"/>
                    <a:gd name="connsiteY5" fmla="*/ 634365 h 843915"/>
                    <a:gd name="connsiteX6" fmla="*/ 1138555 w 1290955"/>
                    <a:gd name="connsiteY6" fmla="*/ 843915 h 843915"/>
                    <a:gd name="connsiteX7" fmla="*/ 472440 w 1290955"/>
                    <a:gd name="connsiteY7" fmla="*/ 457200 h 843915"/>
                    <a:gd name="connsiteX8" fmla="*/ 0 w 1290955"/>
                    <a:gd name="connsiteY8" fmla="*/ 763905 h 843915"/>
                    <a:gd name="connsiteX9" fmla="*/ 154305 w 1290955"/>
                    <a:gd name="connsiteY9" fmla="*/ 97155 h 843915"/>
                    <a:gd name="connsiteX0" fmla="*/ 154305 w 1319735"/>
                    <a:gd name="connsiteY0" fmla="*/ 97155 h 843915"/>
                    <a:gd name="connsiteX1" fmla="*/ 252729 w 1319735"/>
                    <a:gd name="connsiteY1" fmla="*/ 0 h 843915"/>
                    <a:gd name="connsiteX2" fmla="*/ 622935 w 1319735"/>
                    <a:gd name="connsiteY2" fmla="*/ 83820 h 843915"/>
                    <a:gd name="connsiteX3" fmla="*/ 666750 w 1319735"/>
                    <a:gd name="connsiteY3" fmla="*/ 230505 h 843915"/>
                    <a:gd name="connsiteX4" fmla="*/ 923290 w 1319735"/>
                    <a:gd name="connsiteY4" fmla="*/ 527685 h 843915"/>
                    <a:gd name="connsiteX5" fmla="*/ 1290955 w 1319735"/>
                    <a:gd name="connsiteY5" fmla="*/ 634365 h 843915"/>
                    <a:gd name="connsiteX6" fmla="*/ 1138555 w 1319735"/>
                    <a:gd name="connsiteY6" fmla="*/ 843915 h 843915"/>
                    <a:gd name="connsiteX7" fmla="*/ 472440 w 1319735"/>
                    <a:gd name="connsiteY7" fmla="*/ 457200 h 843915"/>
                    <a:gd name="connsiteX8" fmla="*/ 0 w 1319735"/>
                    <a:gd name="connsiteY8" fmla="*/ 763905 h 843915"/>
                    <a:gd name="connsiteX9" fmla="*/ 154305 w 1319735"/>
                    <a:gd name="connsiteY9" fmla="*/ 97155 h 843915"/>
                    <a:gd name="connsiteX0" fmla="*/ 154305 w 1345660"/>
                    <a:gd name="connsiteY0" fmla="*/ 97155 h 858175"/>
                    <a:gd name="connsiteX1" fmla="*/ 252729 w 1345660"/>
                    <a:gd name="connsiteY1" fmla="*/ 0 h 858175"/>
                    <a:gd name="connsiteX2" fmla="*/ 622935 w 1345660"/>
                    <a:gd name="connsiteY2" fmla="*/ 83820 h 858175"/>
                    <a:gd name="connsiteX3" fmla="*/ 666750 w 1345660"/>
                    <a:gd name="connsiteY3" fmla="*/ 230505 h 858175"/>
                    <a:gd name="connsiteX4" fmla="*/ 923290 w 1345660"/>
                    <a:gd name="connsiteY4" fmla="*/ 527685 h 858175"/>
                    <a:gd name="connsiteX5" fmla="*/ 1290955 w 1345660"/>
                    <a:gd name="connsiteY5" fmla="*/ 634365 h 858175"/>
                    <a:gd name="connsiteX6" fmla="*/ 1138555 w 1345660"/>
                    <a:gd name="connsiteY6" fmla="*/ 843915 h 858175"/>
                    <a:gd name="connsiteX7" fmla="*/ 472440 w 1345660"/>
                    <a:gd name="connsiteY7" fmla="*/ 457200 h 858175"/>
                    <a:gd name="connsiteX8" fmla="*/ 0 w 1345660"/>
                    <a:gd name="connsiteY8" fmla="*/ 763905 h 858175"/>
                    <a:gd name="connsiteX9" fmla="*/ 154305 w 1345660"/>
                    <a:gd name="connsiteY9" fmla="*/ 97155 h 858175"/>
                    <a:gd name="connsiteX0" fmla="*/ 154305 w 1347351"/>
                    <a:gd name="connsiteY0" fmla="*/ 97155 h 857284"/>
                    <a:gd name="connsiteX1" fmla="*/ 252729 w 1347351"/>
                    <a:gd name="connsiteY1" fmla="*/ 0 h 857284"/>
                    <a:gd name="connsiteX2" fmla="*/ 622935 w 1347351"/>
                    <a:gd name="connsiteY2" fmla="*/ 83820 h 857284"/>
                    <a:gd name="connsiteX3" fmla="*/ 666750 w 1347351"/>
                    <a:gd name="connsiteY3" fmla="*/ 230505 h 857284"/>
                    <a:gd name="connsiteX4" fmla="*/ 923290 w 1347351"/>
                    <a:gd name="connsiteY4" fmla="*/ 527685 h 857284"/>
                    <a:gd name="connsiteX5" fmla="*/ 1290955 w 1347351"/>
                    <a:gd name="connsiteY5" fmla="*/ 634365 h 857284"/>
                    <a:gd name="connsiteX6" fmla="*/ 1138555 w 1347351"/>
                    <a:gd name="connsiteY6" fmla="*/ 843915 h 857284"/>
                    <a:gd name="connsiteX7" fmla="*/ 472440 w 1347351"/>
                    <a:gd name="connsiteY7" fmla="*/ 457200 h 857284"/>
                    <a:gd name="connsiteX8" fmla="*/ 0 w 1347351"/>
                    <a:gd name="connsiteY8" fmla="*/ 763905 h 857284"/>
                    <a:gd name="connsiteX9" fmla="*/ 154305 w 1347351"/>
                    <a:gd name="connsiteY9" fmla="*/ 97155 h 857284"/>
                    <a:gd name="connsiteX0" fmla="*/ 154305 w 1347351"/>
                    <a:gd name="connsiteY0" fmla="*/ 97155 h 857284"/>
                    <a:gd name="connsiteX1" fmla="*/ 252729 w 1347351"/>
                    <a:gd name="connsiteY1" fmla="*/ 0 h 857284"/>
                    <a:gd name="connsiteX2" fmla="*/ 622935 w 1347351"/>
                    <a:gd name="connsiteY2" fmla="*/ 83820 h 857284"/>
                    <a:gd name="connsiteX3" fmla="*/ 666750 w 1347351"/>
                    <a:gd name="connsiteY3" fmla="*/ 230505 h 857284"/>
                    <a:gd name="connsiteX4" fmla="*/ 923290 w 1347351"/>
                    <a:gd name="connsiteY4" fmla="*/ 527685 h 857284"/>
                    <a:gd name="connsiteX5" fmla="*/ 1290955 w 1347351"/>
                    <a:gd name="connsiteY5" fmla="*/ 634365 h 857284"/>
                    <a:gd name="connsiteX6" fmla="*/ 1138555 w 1347351"/>
                    <a:gd name="connsiteY6" fmla="*/ 843915 h 857284"/>
                    <a:gd name="connsiteX7" fmla="*/ 651510 w 1347351"/>
                    <a:gd name="connsiteY7" fmla="*/ 721995 h 857284"/>
                    <a:gd name="connsiteX8" fmla="*/ 0 w 1347351"/>
                    <a:gd name="connsiteY8" fmla="*/ 763905 h 857284"/>
                    <a:gd name="connsiteX9" fmla="*/ 154305 w 1347351"/>
                    <a:gd name="connsiteY9" fmla="*/ 97155 h 857284"/>
                    <a:gd name="connsiteX0" fmla="*/ 154305 w 1347351"/>
                    <a:gd name="connsiteY0" fmla="*/ 97155 h 802146"/>
                    <a:gd name="connsiteX1" fmla="*/ 252729 w 1347351"/>
                    <a:gd name="connsiteY1" fmla="*/ 0 h 802146"/>
                    <a:gd name="connsiteX2" fmla="*/ 622935 w 1347351"/>
                    <a:gd name="connsiteY2" fmla="*/ 83820 h 802146"/>
                    <a:gd name="connsiteX3" fmla="*/ 666750 w 1347351"/>
                    <a:gd name="connsiteY3" fmla="*/ 230505 h 802146"/>
                    <a:gd name="connsiteX4" fmla="*/ 923290 w 1347351"/>
                    <a:gd name="connsiteY4" fmla="*/ 527685 h 802146"/>
                    <a:gd name="connsiteX5" fmla="*/ 1290955 w 1347351"/>
                    <a:gd name="connsiteY5" fmla="*/ 634365 h 802146"/>
                    <a:gd name="connsiteX6" fmla="*/ 1138555 w 1347351"/>
                    <a:gd name="connsiteY6" fmla="*/ 784860 h 802146"/>
                    <a:gd name="connsiteX7" fmla="*/ 651510 w 1347351"/>
                    <a:gd name="connsiteY7" fmla="*/ 721995 h 802146"/>
                    <a:gd name="connsiteX8" fmla="*/ 0 w 1347351"/>
                    <a:gd name="connsiteY8" fmla="*/ 763905 h 802146"/>
                    <a:gd name="connsiteX9" fmla="*/ 154305 w 1347351"/>
                    <a:gd name="connsiteY9" fmla="*/ 97155 h 802146"/>
                    <a:gd name="connsiteX0" fmla="*/ 154305 w 1346306"/>
                    <a:gd name="connsiteY0" fmla="*/ 97155 h 853673"/>
                    <a:gd name="connsiteX1" fmla="*/ 252729 w 1346306"/>
                    <a:gd name="connsiteY1" fmla="*/ 0 h 853673"/>
                    <a:gd name="connsiteX2" fmla="*/ 622935 w 1346306"/>
                    <a:gd name="connsiteY2" fmla="*/ 83820 h 853673"/>
                    <a:gd name="connsiteX3" fmla="*/ 666750 w 1346306"/>
                    <a:gd name="connsiteY3" fmla="*/ 230505 h 853673"/>
                    <a:gd name="connsiteX4" fmla="*/ 923290 w 1346306"/>
                    <a:gd name="connsiteY4" fmla="*/ 527685 h 853673"/>
                    <a:gd name="connsiteX5" fmla="*/ 1290955 w 1346306"/>
                    <a:gd name="connsiteY5" fmla="*/ 634365 h 853673"/>
                    <a:gd name="connsiteX6" fmla="*/ 1134745 w 1346306"/>
                    <a:gd name="connsiteY6" fmla="*/ 840105 h 853673"/>
                    <a:gd name="connsiteX7" fmla="*/ 651510 w 1346306"/>
                    <a:gd name="connsiteY7" fmla="*/ 721995 h 853673"/>
                    <a:gd name="connsiteX8" fmla="*/ 0 w 1346306"/>
                    <a:gd name="connsiteY8" fmla="*/ 763905 h 853673"/>
                    <a:gd name="connsiteX9" fmla="*/ 154305 w 1346306"/>
                    <a:gd name="connsiteY9" fmla="*/ 97155 h 853673"/>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651510 w 1346306"/>
                    <a:gd name="connsiteY7" fmla="*/ 721995 h 855474"/>
                    <a:gd name="connsiteX8" fmla="*/ 0 w 1346306"/>
                    <a:gd name="connsiteY8" fmla="*/ 763905 h 855474"/>
                    <a:gd name="connsiteX9" fmla="*/ 154305 w 1346306"/>
                    <a:gd name="connsiteY9"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0 w 1346306"/>
                    <a:gd name="connsiteY8" fmla="*/ 763905 h 855474"/>
                    <a:gd name="connsiteX9" fmla="*/ 154305 w 1346306"/>
                    <a:gd name="connsiteY9"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1062354 w 1346306"/>
                    <a:gd name="connsiteY8" fmla="*/ 851534 h 855474"/>
                    <a:gd name="connsiteX9" fmla="*/ 0 w 1346306"/>
                    <a:gd name="connsiteY9" fmla="*/ 763905 h 855474"/>
                    <a:gd name="connsiteX10" fmla="*/ 154305 w 1346306"/>
                    <a:gd name="connsiteY10"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658494 w 1346306"/>
                    <a:gd name="connsiteY8" fmla="*/ 729614 h 855474"/>
                    <a:gd name="connsiteX9" fmla="*/ 0 w 1346306"/>
                    <a:gd name="connsiteY9" fmla="*/ 763905 h 855474"/>
                    <a:gd name="connsiteX10" fmla="*/ 154305 w 1346306"/>
                    <a:gd name="connsiteY10"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658494 w 1346306"/>
                    <a:gd name="connsiteY8" fmla="*/ 729614 h 855474"/>
                    <a:gd name="connsiteX9" fmla="*/ 654684 w 1346306"/>
                    <a:gd name="connsiteY9" fmla="*/ 727709 h 855474"/>
                    <a:gd name="connsiteX10" fmla="*/ 0 w 1346306"/>
                    <a:gd name="connsiteY10" fmla="*/ 763905 h 855474"/>
                    <a:gd name="connsiteX11" fmla="*/ 154305 w 1346306"/>
                    <a:gd name="connsiteY11"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658494 w 1346306"/>
                    <a:gd name="connsiteY8" fmla="*/ 729614 h 855474"/>
                    <a:gd name="connsiteX9" fmla="*/ 582294 w 1346306"/>
                    <a:gd name="connsiteY9" fmla="*/ 647699 h 855474"/>
                    <a:gd name="connsiteX10" fmla="*/ 0 w 1346306"/>
                    <a:gd name="connsiteY10" fmla="*/ 763905 h 855474"/>
                    <a:gd name="connsiteX11" fmla="*/ 154305 w 1346306"/>
                    <a:gd name="connsiteY11"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658494 w 1346306"/>
                    <a:gd name="connsiteY8" fmla="*/ 729614 h 855474"/>
                    <a:gd name="connsiteX9" fmla="*/ 582294 w 1346306"/>
                    <a:gd name="connsiteY9" fmla="*/ 647699 h 855474"/>
                    <a:gd name="connsiteX10" fmla="*/ 586104 w 1346306"/>
                    <a:gd name="connsiteY10" fmla="*/ 645794 h 855474"/>
                    <a:gd name="connsiteX11" fmla="*/ 0 w 1346306"/>
                    <a:gd name="connsiteY11" fmla="*/ 763905 h 855474"/>
                    <a:gd name="connsiteX12" fmla="*/ 154305 w 1346306"/>
                    <a:gd name="connsiteY12" fmla="*/ 97155 h 855474"/>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82294 w 1346306"/>
                    <a:gd name="connsiteY9" fmla="*/ 647699 h 941069"/>
                    <a:gd name="connsiteX10" fmla="*/ 506094 w 1346306"/>
                    <a:gd name="connsiteY10" fmla="*/ 941069 h 941069"/>
                    <a:gd name="connsiteX11" fmla="*/ 0 w 1346306"/>
                    <a:gd name="connsiteY11" fmla="*/ 763905 h 941069"/>
                    <a:gd name="connsiteX12" fmla="*/ 154305 w 1346306"/>
                    <a:gd name="connsiteY12" fmla="*/ 97155 h 941069"/>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72769 w 1346306"/>
                    <a:gd name="connsiteY9" fmla="*/ 645794 h 941069"/>
                    <a:gd name="connsiteX10" fmla="*/ 506094 w 1346306"/>
                    <a:gd name="connsiteY10" fmla="*/ 941069 h 941069"/>
                    <a:gd name="connsiteX11" fmla="*/ 0 w 1346306"/>
                    <a:gd name="connsiteY11" fmla="*/ 763905 h 941069"/>
                    <a:gd name="connsiteX12" fmla="*/ 154305 w 1346306"/>
                    <a:gd name="connsiteY12" fmla="*/ 97155 h 941069"/>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72769 w 1346306"/>
                    <a:gd name="connsiteY9" fmla="*/ 626744 h 941069"/>
                    <a:gd name="connsiteX10" fmla="*/ 506094 w 1346306"/>
                    <a:gd name="connsiteY10" fmla="*/ 941069 h 941069"/>
                    <a:gd name="connsiteX11" fmla="*/ 0 w 1346306"/>
                    <a:gd name="connsiteY11" fmla="*/ 763905 h 941069"/>
                    <a:gd name="connsiteX12" fmla="*/ 154305 w 1346306"/>
                    <a:gd name="connsiteY12" fmla="*/ 97155 h 941069"/>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74674 w 1346306"/>
                    <a:gd name="connsiteY9" fmla="*/ 641984 h 941069"/>
                    <a:gd name="connsiteX10" fmla="*/ 506094 w 1346306"/>
                    <a:gd name="connsiteY10" fmla="*/ 941069 h 941069"/>
                    <a:gd name="connsiteX11" fmla="*/ 0 w 1346306"/>
                    <a:gd name="connsiteY11" fmla="*/ 763905 h 941069"/>
                    <a:gd name="connsiteX12" fmla="*/ 154305 w 1346306"/>
                    <a:gd name="connsiteY12" fmla="*/ 97155 h 941069"/>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74674 w 1346306"/>
                    <a:gd name="connsiteY9" fmla="*/ 641984 h 941069"/>
                    <a:gd name="connsiteX10" fmla="*/ 506094 w 1346306"/>
                    <a:gd name="connsiteY10" fmla="*/ 941069 h 941069"/>
                    <a:gd name="connsiteX11" fmla="*/ 509904 w 1346306"/>
                    <a:gd name="connsiteY11" fmla="*/ 939164 h 941069"/>
                    <a:gd name="connsiteX12" fmla="*/ 0 w 1346306"/>
                    <a:gd name="connsiteY12" fmla="*/ 763905 h 941069"/>
                    <a:gd name="connsiteX13" fmla="*/ 154305 w 1346306"/>
                    <a:gd name="connsiteY13" fmla="*/ 97155 h 941069"/>
                    <a:gd name="connsiteX0" fmla="*/ 154305 w 1346306"/>
                    <a:gd name="connsiteY0" fmla="*/ 97155 h 1383029"/>
                    <a:gd name="connsiteX1" fmla="*/ 252729 w 1346306"/>
                    <a:gd name="connsiteY1" fmla="*/ 0 h 1383029"/>
                    <a:gd name="connsiteX2" fmla="*/ 622935 w 1346306"/>
                    <a:gd name="connsiteY2" fmla="*/ 83820 h 1383029"/>
                    <a:gd name="connsiteX3" fmla="*/ 666750 w 1346306"/>
                    <a:gd name="connsiteY3" fmla="*/ 230505 h 1383029"/>
                    <a:gd name="connsiteX4" fmla="*/ 923290 w 1346306"/>
                    <a:gd name="connsiteY4" fmla="*/ 527685 h 1383029"/>
                    <a:gd name="connsiteX5" fmla="*/ 1290955 w 1346306"/>
                    <a:gd name="connsiteY5" fmla="*/ 634365 h 1383029"/>
                    <a:gd name="connsiteX6" fmla="*/ 1134745 w 1346306"/>
                    <a:gd name="connsiteY6" fmla="*/ 840105 h 1383029"/>
                    <a:gd name="connsiteX7" fmla="*/ 1061085 w 1346306"/>
                    <a:gd name="connsiteY7" fmla="*/ 847725 h 1383029"/>
                    <a:gd name="connsiteX8" fmla="*/ 658494 w 1346306"/>
                    <a:gd name="connsiteY8" fmla="*/ 729614 h 1383029"/>
                    <a:gd name="connsiteX9" fmla="*/ 574674 w 1346306"/>
                    <a:gd name="connsiteY9" fmla="*/ 641984 h 1383029"/>
                    <a:gd name="connsiteX10" fmla="*/ 506094 w 1346306"/>
                    <a:gd name="connsiteY10" fmla="*/ 941069 h 1383029"/>
                    <a:gd name="connsiteX11" fmla="*/ 768984 w 1346306"/>
                    <a:gd name="connsiteY11" fmla="*/ 1383029 h 1383029"/>
                    <a:gd name="connsiteX12" fmla="*/ 0 w 1346306"/>
                    <a:gd name="connsiteY12" fmla="*/ 763905 h 1383029"/>
                    <a:gd name="connsiteX13" fmla="*/ 154305 w 1346306"/>
                    <a:gd name="connsiteY13" fmla="*/ 97155 h 1383029"/>
                    <a:gd name="connsiteX0" fmla="*/ 154305 w 1346306"/>
                    <a:gd name="connsiteY0" fmla="*/ 97155 h 1383029"/>
                    <a:gd name="connsiteX1" fmla="*/ 252729 w 1346306"/>
                    <a:gd name="connsiteY1" fmla="*/ 0 h 1383029"/>
                    <a:gd name="connsiteX2" fmla="*/ 622935 w 1346306"/>
                    <a:gd name="connsiteY2" fmla="*/ 83820 h 1383029"/>
                    <a:gd name="connsiteX3" fmla="*/ 666750 w 1346306"/>
                    <a:gd name="connsiteY3" fmla="*/ 230505 h 1383029"/>
                    <a:gd name="connsiteX4" fmla="*/ 923290 w 1346306"/>
                    <a:gd name="connsiteY4" fmla="*/ 527685 h 1383029"/>
                    <a:gd name="connsiteX5" fmla="*/ 1290955 w 1346306"/>
                    <a:gd name="connsiteY5" fmla="*/ 634365 h 1383029"/>
                    <a:gd name="connsiteX6" fmla="*/ 1134745 w 1346306"/>
                    <a:gd name="connsiteY6" fmla="*/ 840105 h 1383029"/>
                    <a:gd name="connsiteX7" fmla="*/ 1061085 w 1346306"/>
                    <a:gd name="connsiteY7" fmla="*/ 847725 h 1383029"/>
                    <a:gd name="connsiteX8" fmla="*/ 658494 w 1346306"/>
                    <a:gd name="connsiteY8" fmla="*/ 729614 h 1383029"/>
                    <a:gd name="connsiteX9" fmla="*/ 574674 w 1346306"/>
                    <a:gd name="connsiteY9" fmla="*/ 641984 h 1383029"/>
                    <a:gd name="connsiteX10" fmla="*/ 506094 w 1346306"/>
                    <a:gd name="connsiteY10" fmla="*/ 941069 h 1383029"/>
                    <a:gd name="connsiteX11" fmla="*/ 768984 w 1346306"/>
                    <a:gd name="connsiteY11" fmla="*/ 1383029 h 1383029"/>
                    <a:gd name="connsiteX12" fmla="*/ 765174 w 1346306"/>
                    <a:gd name="connsiteY12" fmla="*/ 1379219 h 1383029"/>
                    <a:gd name="connsiteX13" fmla="*/ 0 w 1346306"/>
                    <a:gd name="connsiteY13" fmla="*/ 763905 h 1383029"/>
                    <a:gd name="connsiteX14" fmla="*/ 154305 w 1346306"/>
                    <a:gd name="connsiteY14" fmla="*/ 97155 h 1383029"/>
                    <a:gd name="connsiteX0" fmla="*/ 154305 w 1346306"/>
                    <a:gd name="connsiteY0" fmla="*/ 97155 h 1522094"/>
                    <a:gd name="connsiteX1" fmla="*/ 252729 w 1346306"/>
                    <a:gd name="connsiteY1" fmla="*/ 0 h 1522094"/>
                    <a:gd name="connsiteX2" fmla="*/ 622935 w 1346306"/>
                    <a:gd name="connsiteY2" fmla="*/ 83820 h 1522094"/>
                    <a:gd name="connsiteX3" fmla="*/ 666750 w 1346306"/>
                    <a:gd name="connsiteY3" fmla="*/ 230505 h 1522094"/>
                    <a:gd name="connsiteX4" fmla="*/ 923290 w 1346306"/>
                    <a:gd name="connsiteY4" fmla="*/ 527685 h 1522094"/>
                    <a:gd name="connsiteX5" fmla="*/ 1290955 w 1346306"/>
                    <a:gd name="connsiteY5" fmla="*/ 634365 h 1522094"/>
                    <a:gd name="connsiteX6" fmla="*/ 1134745 w 1346306"/>
                    <a:gd name="connsiteY6" fmla="*/ 840105 h 1522094"/>
                    <a:gd name="connsiteX7" fmla="*/ 1061085 w 1346306"/>
                    <a:gd name="connsiteY7" fmla="*/ 847725 h 1522094"/>
                    <a:gd name="connsiteX8" fmla="*/ 658494 w 1346306"/>
                    <a:gd name="connsiteY8" fmla="*/ 729614 h 1522094"/>
                    <a:gd name="connsiteX9" fmla="*/ 574674 w 1346306"/>
                    <a:gd name="connsiteY9" fmla="*/ 641984 h 1522094"/>
                    <a:gd name="connsiteX10" fmla="*/ 506094 w 1346306"/>
                    <a:gd name="connsiteY10" fmla="*/ 941069 h 1522094"/>
                    <a:gd name="connsiteX11" fmla="*/ 768984 w 1346306"/>
                    <a:gd name="connsiteY11" fmla="*/ 1383029 h 1522094"/>
                    <a:gd name="connsiteX12" fmla="*/ 734694 w 1346306"/>
                    <a:gd name="connsiteY12" fmla="*/ 1522094 h 1522094"/>
                    <a:gd name="connsiteX13" fmla="*/ 0 w 1346306"/>
                    <a:gd name="connsiteY13" fmla="*/ 763905 h 1522094"/>
                    <a:gd name="connsiteX14" fmla="*/ 154305 w 1346306"/>
                    <a:gd name="connsiteY14" fmla="*/ 97155 h 1522094"/>
                    <a:gd name="connsiteX0" fmla="*/ 154305 w 1346306"/>
                    <a:gd name="connsiteY0" fmla="*/ 97155 h 1522094"/>
                    <a:gd name="connsiteX1" fmla="*/ 252729 w 1346306"/>
                    <a:gd name="connsiteY1" fmla="*/ 0 h 1522094"/>
                    <a:gd name="connsiteX2" fmla="*/ 622935 w 1346306"/>
                    <a:gd name="connsiteY2" fmla="*/ 83820 h 1522094"/>
                    <a:gd name="connsiteX3" fmla="*/ 666750 w 1346306"/>
                    <a:gd name="connsiteY3" fmla="*/ 230505 h 1522094"/>
                    <a:gd name="connsiteX4" fmla="*/ 923290 w 1346306"/>
                    <a:gd name="connsiteY4" fmla="*/ 527685 h 1522094"/>
                    <a:gd name="connsiteX5" fmla="*/ 1290955 w 1346306"/>
                    <a:gd name="connsiteY5" fmla="*/ 634365 h 1522094"/>
                    <a:gd name="connsiteX6" fmla="*/ 1134745 w 1346306"/>
                    <a:gd name="connsiteY6" fmla="*/ 840105 h 1522094"/>
                    <a:gd name="connsiteX7" fmla="*/ 1061085 w 1346306"/>
                    <a:gd name="connsiteY7" fmla="*/ 847725 h 1522094"/>
                    <a:gd name="connsiteX8" fmla="*/ 658494 w 1346306"/>
                    <a:gd name="connsiteY8" fmla="*/ 729614 h 1522094"/>
                    <a:gd name="connsiteX9" fmla="*/ 574674 w 1346306"/>
                    <a:gd name="connsiteY9" fmla="*/ 641984 h 1522094"/>
                    <a:gd name="connsiteX10" fmla="*/ 506094 w 1346306"/>
                    <a:gd name="connsiteY10" fmla="*/ 941069 h 1522094"/>
                    <a:gd name="connsiteX11" fmla="*/ 768984 w 1346306"/>
                    <a:gd name="connsiteY11" fmla="*/ 1383029 h 1522094"/>
                    <a:gd name="connsiteX12" fmla="*/ 734694 w 1346306"/>
                    <a:gd name="connsiteY12" fmla="*/ 1522094 h 1522094"/>
                    <a:gd name="connsiteX13" fmla="*/ 0 w 1346306"/>
                    <a:gd name="connsiteY13" fmla="*/ 763905 h 1522094"/>
                    <a:gd name="connsiteX14" fmla="*/ 154305 w 1346306"/>
                    <a:gd name="connsiteY14" fmla="*/ 97155 h 1522094"/>
                    <a:gd name="connsiteX0" fmla="*/ 154305 w 1346306"/>
                    <a:gd name="connsiteY0" fmla="*/ 97155 h 1522094"/>
                    <a:gd name="connsiteX1" fmla="*/ 252729 w 1346306"/>
                    <a:gd name="connsiteY1" fmla="*/ 0 h 1522094"/>
                    <a:gd name="connsiteX2" fmla="*/ 622935 w 1346306"/>
                    <a:gd name="connsiteY2" fmla="*/ 83820 h 1522094"/>
                    <a:gd name="connsiteX3" fmla="*/ 666750 w 1346306"/>
                    <a:gd name="connsiteY3" fmla="*/ 230505 h 1522094"/>
                    <a:gd name="connsiteX4" fmla="*/ 923290 w 1346306"/>
                    <a:gd name="connsiteY4" fmla="*/ 527685 h 1522094"/>
                    <a:gd name="connsiteX5" fmla="*/ 1290955 w 1346306"/>
                    <a:gd name="connsiteY5" fmla="*/ 634365 h 1522094"/>
                    <a:gd name="connsiteX6" fmla="*/ 1134745 w 1346306"/>
                    <a:gd name="connsiteY6" fmla="*/ 840105 h 1522094"/>
                    <a:gd name="connsiteX7" fmla="*/ 1061085 w 1346306"/>
                    <a:gd name="connsiteY7" fmla="*/ 847725 h 1522094"/>
                    <a:gd name="connsiteX8" fmla="*/ 658494 w 1346306"/>
                    <a:gd name="connsiteY8" fmla="*/ 729614 h 1522094"/>
                    <a:gd name="connsiteX9" fmla="*/ 574674 w 1346306"/>
                    <a:gd name="connsiteY9" fmla="*/ 641984 h 1522094"/>
                    <a:gd name="connsiteX10" fmla="*/ 506094 w 1346306"/>
                    <a:gd name="connsiteY10" fmla="*/ 941069 h 1522094"/>
                    <a:gd name="connsiteX11" fmla="*/ 768984 w 1346306"/>
                    <a:gd name="connsiteY11" fmla="*/ 1383029 h 1522094"/>
                    <a:gd name="connsiteX12" fmla="*/ 734694 w 1346306"/>
                    <a:gd name="connsiteY12" fmla="*/ 1522094 h 1522094"/>
                    <a:gd name="connsiteX13" fmla="*/ 0 w 1346306"/>
                    <a:gd name="connsiteY13" fmla="*/ 763905 h 1522094"/>
                    <a:gd name="connsiteX14" fmla="*/ 154305 w 1346306"/>
                    <a:gd name="connsiteY14" fmla="*/ 97155 h 1522094"/>
                    <a:gd name="connsiteX0" fmla="*/ 154305 w 1346306"/>
                    <a:gd name="connsiteY0" fmla="*/ 97155 h 1529713"/>
                    <a:gd name="connsiteX1" fmla="*/ 252729 w 1346306"/>
                    <a:gd name="connsiteY1" fmla="*/ 0 h 1529713"/>
                    <a:gd name="connsiteX2" fmla="*/ 622935 w 1346306"/>
                    <a:gd name="connsiteY2" fmla="*/ 83820 h 1529713"/>
                    <a:gd name="connsiteX3" fmla="*/ 666750 w 1346306"/>
                    <a:gd name="connsiteY3" fmla="*/ 230505 h 1529713"/>
                    <a:gd name="connsiteX4" fmla="*/ 923290 w 1346306"/>
                    <a:gd name="connsiteY4" fmla="*/ 527685 h 1529713"/>
                    <a:gd name="connsiteX5" fmla="*/ 1290955 w 1346306"/>
                    <a:gd name="connsiteY5" fmla="*/ 634365 h 1529713"/>
                    <a:gd name="connsiteX6" fmla="*/ 1134745 w 1346306"/>
                    <a:gd name="connsiteY6" fmla="*/ 840105 h 1529713"/>
                    <a:gd name="connsiteX7" fmla="*/ 1061085 w 1346306"/>
                    <a:gd name="connsiteY7" fmla="*/ 847725 h 1529713"/>
                    <a:gd name="connsiteX8" fmla="*/ 658494 w 1346306"/>
                    <a:gd name="connsiteY8" fmla="*/ 729614 h 1529713"/>
                    <a:gd name="connsiteX9" fmla="*/ 574674 w 1346306"/>
                    <a:gd name="connsiteY9" fmla="*/ 641984 h 1529713"/>
                    <a:gd name="connsiteX10" fmla="*/ 506094 w 1346306"/>
                    <a:gd name="connsiteY10" fmla="*/ 941069 h 1529713"/>
                    <a:gd name="connsiteX11" fmla="*/ 768984 w 1346306"/>
                    <a:gd name="connsiteY11" fmla="*/ 1383029 h 1529713"/>
                    <a:gd name="connsiteX12" fmla="*/ 734694 w 1346306"/>
                    <a:gd name="connsiteY12" fmla="*/ 1522094 h 1529713"/>
                    <a:gd name="connsiteX13" fmla="*/ 734694 w 1346306"/>
                    <a:gd name="connsiteY13" fmla="*/ 1529713 h 1529713"/>
                    <a:gd name="connsiteX14" fmla="*/ 0 w 1346306"/>
                    <a:gd name="connsiteY14" fmla="*/ 763905 h 1529713"/>
                    <a:gd name="connsiteX15" fmla="*/ 154305 w 1346306"/>
                    <a:gd name="connsiteY15" fmla="*/ 97155 h 1529713"/>
                    <a:gd name="connsiteX0" fmla="*/ 154305 w 1346306"/>
                    <a:gd name="connsiteY0" fmla="*/ 97155 h 1864993"/>
                    <a:gd name="connsiteX1" fmla="*/ 252729 w 1346306"/>
                    <a:gd name="connsiteY1" fmla="*/ 0 h 1864993"/>
                    <a:gd name="connsiteX2" fmla="*/ 622935 w 1346306"/>
                    <a:gd name="connsiteY2" fmla="*/ 83820 h 1864993"/>
                    <a:gd name="connsiteX3" fmla="*/ 666750 w 1346306"/>
                    <a:gd name="connsiteY3" fmla="*/ 230505 h 1864993"/>
                    <a:gd name="connsiteX4" fmla="*/ 923290 w 1346306"/>
                    <a:gd name="connsiteY4" fmla="*/ 527685 h 1864993"/>
                    <a:gd name="connsiteX5" fmla="*/ 1290955 w 1346306"/>
                    <a:gd name="connsiteY5" fmla="*/ 634365 h 1864993"/>
                    <a:gd name="connsiteX6" fmla="*/ 1134745 w 1346306"/>
                    <a:gd name="connsiteY6" fmla="*/ 840105 h 1864993"/>
                    <a:gd name="connsiteX7" fmla="*/ 1061085 w 1346306"/>
                    <a:gd name="connsiteY7" fmla="*/ 847725 h 1864993"/>
                    <a:gd name="connsiteX8" fmla="*/ 658494 w 1346306"/>
                    <a:gd name="connsiteY8" fmla="*/ 729614 h 1864993"/>
                    <a:gd name="connsiteX9" fmla="*/ 574674 w 1346306"/>
                    <a:gd name="connsiteY9" fmla="*/ 641984 h 1864993"/>
                    <a:gd name="connsiteX10" fmla="*/ 506094 w 1346306"/>
                    <a:gd name="connsiteY10" fmla="*/ 941069 h 1864993"/>
                    <a:gd name="connsiteX11" fmla="*/ 768984 w 1346306"/>
                    <a:gd name="connsiteY11" fmla="*/ 1383029 h 1864993"/>
                    <a:gd name="connsiteX12" fmla="*/ 734694 w 1346306"/>
                    <a:gd name="connsiteY12" fmla="*/ 1522094 h 1864993"/>
                    <a:gd name="connsiteX13" fmla="*/ 506094 w 1346306"/>
                    <a:gd name="connsiteY13" fmla="*/ 1864993 h 1864993"/>
                    <a:gd name="connsiteX14" fmla="*/ 0 w 1346306"/>
                    <a:gd name="connsiteY14" fmla="*/ 763905 h 1864993"/>
                    <a:gd name="connsiteX15" fmla="*/ 154305 w 1346306"/>
                    <a:gd name="connsiteY15" fmla="*/ 97155 h 1864993"/>
                    <a:gd name="connsiteX0" fmla="*/ 154305 w 1346306"/>
                    <a:gd name="connsiteY0" fmla="*/ 97155 h 1979293"/>
                    <a:gd name="connsiteX1" fmla="*/ 252729 w 1346306"/>
                    <a:gd name="connsiteY1" fmla="*/ 0 h 1979293"/>
                    <a:gd name="connsiteX2" fmla="*/ 622935 w 1346306"/>
                    <a:gd name="connsiteY2" fmla="*/ 83820 h 1979293"/>
                    <a:gd name="connsiteX3" fmla="*/ 666750 w 1346306"/>
                    <a:gd name="connsiteY3" fmla="*/ 230505 h 1979293"/>
                    <a:gd name="connsiteX4" fmla="*/ 923290 w 1346306"/>
                    <a:gd name="connsiteY4" fmla="*/ 527685 h 1979293"/>
                    <a:gd name="connsiteX5" fmla="*/ 1290955 w 1346306"/>
                    <a:gd name="connsiteY5" fmla="*/ 634365 h 1979293"/>
                    <a:gd name="connsiteX6" fmla="*/ 1134745 w 1346306"/>
                    <a:gd name="connsiteY6" fmla="*/ 840105 h 1979293"/>
                    <a:gd name="connsiteX7" fmla="*/ 1061085 w 1346306"/>
                    <a:gd name="connsiteY7" fmla="*/ 847725 h 1979293"/>
                    <a:gd name="connsiteX8" fmla="*/ 658494 w 1346306"/>
                    <a:gd name="connsiteY8" fmla="*/ 729614 h 1979293"/>
                    <a:gd name="connsiteX9" fmla="*/ 574674 w 1346306"/>
                    <a:gd name="connsiteY9" fmla="*/ 641984 h 1979293"/>
                    <a:gd name="connsiteX10" fmla="*/ 506094 w 1346306"/>
                    <a:gd name="connsiteY10" fmla="*/ 941069 h 1979293"/>
                    <a:gd name="connsiteX11" fmla="*/ 768984 w 1346306"/>
                    <a:gd name="connsiteY11" fmla="*/ 1383029 h 1979293"/>
                    <a:gd name="connsiteX12" fmla="*/ 734694 w 1346306"/>
                    <a:gd name="connsiteY12" fmla="*/ 1522094 h 1979293"/>
                    <a:gd name="connsiteX13" fmla="*/ 363219 w 1346306"/>
                    <a:gd name="connsiteY13" fmla="*/ 1979293 h 1979293"/>
                    <a:gd name="connsiteX14" fmla="*/ 0 w 1346306"/>
                    <a:gd name="connsiteY14" fmla="*/ 763905 h 1979293"/>
                    <a:gd name="connsiteX15" fmla="*/ 154305 w 1346306"/>
                    <a:gd name="connsiteY15" fmla="*/ 97155 h 1979293"/>
                    <a:gd name="connsiteX0" fmla="*/ 154305 w 1346306"/>
                    <a:gd name="connsiteY0" fmla="*/ 97155 h 1983103"/>
                    <a:gd name="connsiteX1" fmla="*/ 252729 w 1346306"/>
                    <a:gd name="connsiteY1" fmla="*/ 0 h 1983103"/>
                    <a:gd name="connsiteX2" fmla="*/ 622935 w 1346306"/>
                    <a:gd name="connsiteY2" fmla="*/ 83820 h 1983103"/>
                    <a:gd name="connsiteX3" fmla="*/ 666750 w 1346306"/>
                    <a:gd name="connsiteY3" fmla="*/ 230505 h 1983103"/>
                    <a:gd name="connsiteX4" fmla="*/ 923290 w 1346306"/>
                    <a:gd name="connsiteY4" fmla="*/ 527685 h 1983103"/>
                    <a:gd name="connsiteX5" fmla="*/ 1290955 w 1346306"/>
                    <a:gd name="connsiteY5" fmla="*/ 634365 h 1983103"/>
                    <a:gd name="connsiteX6" fmla="*/ 1134745 w 1346306"/>
                    <a:gd name="connsiteY6" fmla="*/ 840105 h 1983103"/>
                    <a:gd name="connsiteX7" fmla="*/ 1061085 w 1346306"/>
                    <a:gd name="connsiteY7" fmla="*/ 847725 h 1983103"/>
                    <a:gd name="connsiteX8" fmla="*/ 658494 w 1346306"/>
                    <a:gd name="connsiteY8" fmla="*/ 729614 h 1983103"/>
                    <a:gd name="connsiteX9" fmla="*/ 574674 w 1346306"/>
                    <a:gd name="connsiteY9" fmla="*/ 641984 h 1983103"/>
                    <a:gd name="connsiteX10" fmla="*/ 506094 w 1346306"/>
                    <a:gd name="connsiteY10" fmla="*/ 941069 h 1983103"/>
                    <a:gd name="connsiteX11" fmla="*/ 768984 w 1346306"/>
                    <a:gd name="connsiteY11" fmla="*/ 1383029 h 1983103"/>
                    <a:gd name="connsiteX12" fmla="*/ 734694 w 1346306"/>
                    <a:gd name="connsiteY12" fmla="*/ 1522094 h 1983103"/>
                    <a:gd name="connsiteX13" fmla="*/ 363219 w 1346306"/>
                    <a:gd name="connsiteY13" fmla="*/ 1979293 h 1983103"/>
                    <a:gd name="connsiteX14" fmla="*/ 367029 w 1346306"/>
                    <a:gd name="connsiteY14" fmla="*/ 1983103 h 1983103"/>
                    <a:gd name="connsiteX15" fmla="*/ 0 w 1346306"/>
                    <a:gd name="connsiteY15" fmla="*/ 763905 h 1983103"/>
                    <a:gd name="connsiteX16" fmla="*/ 154305 w 1346306"/>
                    <a:gd name="connsiteY16" fmla="*/ 97155 h 1983103"/>
                    <a:gd name="connsiteX0" fmla="*/ 154305 w 1346306"/>
                    <a:gd name="connsiteY0" fmla="*/ 97155 h 1979293"/>
                    <a:gd name="connsiteX1" fmla="*/ 252729 w 1346306"/>
                    <a:gd name="connsiteY1" fmla="*/ 0 h 1979293"/>
                    <a:gd name="connsiteX2" fmla="*/ 622935 w 1346306"/>
                    <a:gd name="connsiteY2" fmla="*/ 83820 h 1979293"/>
                    <a:gd name="connsiteX3" fmla="*/ 666750 w 1346306"/>
                    <a:gd name="connsiteY3" fmla="*/ 230505 h 1979293"/>
                    <a:gd name="connsiteX4" fmla="*/ 923290 w 1346306"/>
                    <a:gd name="connsiteY4" fmla="*/ 527685 h 1979293"/>
                    <a:gd name="connsiteX5" fmla="*/ 1290955 w 1346306"/>
                    <a:gd name="connsiteY5" fmla="*/ 634365 h 1979293"/>
                    <a:gd name="connsiteX6" fmla="*/ 1134745 w 1346306"/>
                    <a:gd name="connsiteY6" fmla="*/ 840105 h 1979293"/>
                    <a:gd name="connsiteX7" fmla="*/ 1061085 w 1346306"/>
                    <a:gd name="connsiteY7" fmla="*/ 847725 h 1979293"/>
                    <a:gd name="connsiteX8" fmla="*/ 658494 w 1346306"/>
                    <a:gd name="connsiteY8" fmla="*/ 729614 h 1979293"/>
                    <a:gd name="connsiteX9" fmla="*/ 574674 w 1346306"/>
                    <a:gd name="connsiteY9" fmla="*/ 641984 h 1979293"/>
                    <a:gd name="connsiteX10" fmla="*/ 506094 w 1346306"/>
                    <a:gd name="connsiteY10" fmla="*/ 941069 h 1979293"/>
                    <a:gd name="connsiteX11" fmla="*/ 768984 w 1346306"/>
                    <a:gd name="connsiteY11" fmla="*/ 1383029 h 1979293"/>
                    <a:gd name="connsiteX12" fmla="*/ 734694 w 1346306"/>
                    <a:gd name="connsiteY12" fmla="*/ 1522094 h 1979293"/>
                    <a:gd name="connsiteX13" fmla="*/ 363219 w 1346306"/>
                    <a:gd name="connsiteY13" fmla="*/ 1979293 h 1979293"/>
                    <a:gd name="connsiteX14" fmla="*/ 187959 w 1346306"/>
                    <a:gd name="connsiteY14" fmla="*/ 1813558 h 1979293"/>
                    <a:gd name="connsiteX15" fmla="*/ 0 w 1346306"/>
                    <a:gd name="connsiteY15" fmla="*/ 763905 h 1979293"/>
                    <a:gd name="connsiteX16" fmla="*/ 154305 w 1346306"/>
                    <a:gd name="connsiteY16" fmla="*/ 97155 h 1979293"/>
                    <a:gd name="connsiteX0" fmla="*/ 154305 w 1346306"/>
                    <a:gd name="connsiteY0" fmla="*/ 97155 h 1979293"/>
                    <a:gd name="connsiteX1" fmla="*/ 252729 w 1346306"/>
                    <a:gd name="connsiteY1" fmla="*/ 0 h 1979293"/>
                    <a:gd name="connsiteX2" fmla="*/ 622935 w 1346306"/>
                    <a:gd name="connsiteY2" fmla="*/ 83820 h 1979293"/>
                    <a:gd name="connsiteX3" fmla="*/ 666750 w 1346306"/>
                    <a:gd name="connsiteY3" fmla="*/ 230505 h 1979293"/>
                    <a:gd name="connsiteX4" fmla="*/ 923290 w 1346306"/>
                    <a:gd name="connsiteY4" fmla="*/ 527685 h 1979293"/>
                    <a:gd name="connsiteX5" fmla="*/ 1290955 w 1346306"/>
                    <a:gd name="connsiteY5" fmla="*/ 634365 h 1979293"/>
                    <a:gd name="connsiteX6" fmla="*/ 1134745 w 1346306"/>
                    <a:gd name="connsiteY6" fmla="*/ 840105 h 1979293"/>
                    <a:gd name="connsiteX7" fmla="*/ 1061085 w 1346306"/>
                    <a:gd name="connsiteY7" fmla="*/ 847725 h 1979293"/>
                    <a:gd name="connsiteX8" fmla="*/ 658494 w 1346306"/>
                    <a:gd name="connsiteY8" fmla="*/ 729614 h 1979293"/>
                    <a:gd name="connsiteX9" fmla="*/ 574674 w 1346306"/>
                    <a:gd name="connsiteY9" fmla="*/ 641984 h 1979293"/>
                    <a:gd name="connsiteX10" fmla="*/ 506094 w 1346306"/>
                    <a:gd name="connsiteY10" fmla="*/ 941069 h 1979293"/>
                    <a:gd name="connsiteX11" fmla="*/ 768984 w 1346306"/>
                    <a:gd name="connsiteY11" fmla="*/ 1383029 h 1979293"/>
                    <a:gd name="connsiteX12" fmla="*/ 734694 w 1346306"/>
                    <a:gd name="connsiteY12" fmla="*/ 1522094 h 1979293"/>
                    <a:gd name="connsiteX13" fmla="*/ 363219 w 1346306"/>
                    <a:gd name="connsiteY13" fmla="*/ 1979293 h 1979293"/>
                    <a:gd name="connsiteX14" fmla="*/ 187959 w 1346306"/>
                    <a:gd name="connsiteY14" fmla="*/ 1813558 h 1979293"/>
                    <a:gd name="connsiteX15" fmla="*/ 0 w 1346306"/>
                    <a:gd name="connsiteY15" fmla="*/ 763905 h 1979293"/>
                    <a:gd name="connsiteX16" fmla="*/ 154305 w 1346306"/>
                    <a:gd name="connsiteY16" fmla="*/ 97155 h 1979293"/>
                    <a:gd name="connsiteX0" fmla="*/ 154305 w 1346306"/>
                    <a:gd name="connsiteY0" fmla="*/ 97155 h 2001010"/>
                    <a:gd name="connsiteX1" fmla="*/ 252729 w 1346306"/>
                    <a:gd name="connsiteY1" fmla="*/ 0 h 2001010"/>
                    <a:gd name="connsiteX2" fmla="*/ 622935 w 1346306"/>
                    <a:gd name="connsiteY2" fmla="*/ 83820 h 2001010"/>
                    <a:gd name="connsiteX3" fmla="*/ 666750 w 1346306"/>
                    <a:gd name="connsiteY3" fmla="*/ 230505 h 2001010"/>
                    <a:gd name="connsiteX4" fmla="*/ 923290 w 1346306"/>
                    <a:gd name="connsiteY4" fmla="*/ 527685 h 2001010"/>
                    <a:gd name="connsiteX5" fmla="*/ 1290955 w 1346306"/>
                    <a:gd name="connsiteY5" fmla="*/ 634365 h 2001010"/>
                    <a:gd name="connsiteX6" fmla="*/ 1134745 w 1346306"/>
                    <a:gd name="connsiteY6" fmla="*/ 840105 h 2001010"/>
                    <a:gd name="connsiteX7" fmla="*/ 1061085 w 1346306"/>
                    <a:gd name="connsiteY7" fmla="*/ 847725 h 2001010"/>
                    <a:gd name="connsiteX8" fmla="*/ 658494 w 1346306"/>
                    <a:gd name="connsiteY8" fmla="*/ 729614 h 2001010"/>
                    <a:gd name="connsiteX9" fmla="*/ 574674 w 1346306"/>
                    <a:gd name="connsiteY9" fmla="*/ 641984 h 2001010"/>
                    <a:gd name="connsiteX10" fmla="*/ 506094 w 1346306"/>
                    <a:gd name="connsiteY10" fmla="*/ 941069 h 2001010"/>
                    <a:gd name="connsiteX11" fmla="*/ 768984 w 1346306"/>
                    <a:gd name="connsiteY11" fmla="*/ 1383029 h 2001010"/>
                    <a:gd name="connsiteX12" fmla="*/ 734694 w 1346306"/>
                    <a:gd name="connsiteY12" fmla="*/ 1522094 h 2001010"/>
                    <a:gd name="connsiteX13" fmla="*/ 363219 w 1346306"/>
                    <a:gd name="connsiteY13" fmla="*/ 1979293 h 2001010"/>
                    <a:gd name="connsiteX14" fmla="*/ 187959 w 1346306"/>
                    <a:gd name="connsiteY14" fmla="*/ 1813558 h 2001010"/>
                    <a:gd name="connsiteX15" fmla="*/ 0 w 1346306"/>
                    <a:gd name="connsiteY15" fmla="*/ 763905 h 2001010"/>
                    <a:gd name="connsiteX16" fmla="*/ 154305 w 1346306"/>
                    <a:gd name="connsiteY16" fmla="*/ 97155 h 2001010"/>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0 w 1346306"/>
                    <a:gd name="connsiteY15" fmla="*/ 763905 h 1999321"/>
                    <a:gd name="connsiteX16" fmla="*/ 154305 w 1346306"/>
                    <a:gd name="connsiteY16"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187959 w 1346306"/>
                    <a:gd name="connsiteY15" fmla="*/ 1805938 h 1999321"/>
                    <a:gd name="connsiteX16" fmla="*/ 0 w 1346306"/>
                    <a:gd name="connsiteY16" fmla="*/ 763905 h 1999321"/>
                    <a:gd name="connsiteX17" fmla="*/ 154305 w 1346306"/>
                    <a:gd name="connsiteY17"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0 w 1346306"/>
                    <a:gd name="connsiteY16" fmla="*/ 763905 h 1999321"/>
                    <a:gd name="connsiteX17" fmla="*/ 154305 w 1346306"/>
                    <a:gd name="connsiteY17"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498474 w 1346306"/>
                    <a:gd name="connsiteY16" fmla="*/ 1417318 h 1999321"/>
                    <a:gd name="connsiteX17" fmla="*/ 0 w 1346306"/>
                    <a:gd name="connsiteY17" fmla="*/ 763905 h 1999321"/>
                    <a:gd name="connsiteX18" fmla="*/ 154305 w 1346306"/>
                    <a:gd name="connsiteY18"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0 w 1346306"/>
                    <a:gd name="connsiteY17" fmla="*/ 763905 h 1999321"/>
                    <a:gd name="connsiteX18" fmla="*/ 154305 w 1346306"/>
                    <a:gd name="connsiteY18"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319404 w 1346306"/>
                    <a:gd name="connsiteY17" fmla="*/ 1114423 h 1999321"/>
                    <a:gd name="connsiteX18" fmla="*/ 0 w 1346306"/>
                    <a:gd name="connsiteY18" fmla="*/ 763905 h 1999321"/>
                    <a:gd name="connsiteX19" fmla="*/ 154305 w 1346306"/>
                    <a:gd name="connsiteY19"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3679 w 1346306"/>
                    <a:gd name="connsiteY17" fmla="*/ 1097278 h 1999321"/>
                    <a:gd name="connsiteX18" fmla="*/ 0 w 1346306"/>
                    <a:gd name="connsiteY18" fmla="*/ 763905 h 1999321"/>
                    <a:gd name="connsiteX19" fmla="*/ 154305 w 1346306"/>
                    <a:gd name="connsiteY19"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85848 h 1999321"/>
                    <a:gd name="connsiteX18" fmla="*/ 0 w 1346306"/>
                    <a:gd name="connsiteY18" fmla="*/ 763905 h 1999321"/>
                    <a:gd name="connsiteX19" fmla="*/ 154305 w 1346306"/>
                    <a:gd name="connsiteY19"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0 w 1346306"/>
                    <a:gd name="connsiteY18" fmla="*/ 763905 h 1999321"/>
                    <a:gd name="connsiteX19" fmla="*/ 154305 w 1346306"/>
                    <a:gd name="connsiteY19"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235584 w 1346306"/>
                    <a:gd name="connsiteY18" fmla="*/ 1095373 h 1999321"/>
                    <a:gd name="connsiteX19" fmla="*/ 0 w 1346306"/>
                    <a:gd name="connsiteY19" fmla="*/ 763905 h 1999321"/>
                    <a:gd name="connsiteX20" fmla="*/ 154305 w 1346306"/>
                    <a:gd name="connsiteY20"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0 w 1346306"/>
                    <a:gd name="connsiteY19" fmla="*/ 763905 h 1999321"/>
                    <a:gd name="connsiteX20" fmla="*/ 154305 w 1346306"/>
                    <a:gd name="connsiteY20"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2259 w 1346306"/>
                    <a:gd name="connsiteY19" fmla="*/ 1384933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2259 w 1346306"/>
                    <a:gd name="connsiteY19" fmla="*/ 146303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448944 w 1346306"/>
                    <a:gd name="connsiteY19" fmla="*/ 136016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307974 w 1346306"/>
                    <a:gd name="connsiteY20" fmla="*/ 1470658 h 1999321"/>
                    <a:gd name="connsiteX21" fmla="*/ 0 w 1346306"/>
                    <a:gd name="connsiteY21" fmla="*/ 763905 h 1999321"/>
                    <a:gd name="connsiteX22" fmla="*/ 154305 w 1346306"/>
                    <a:gd name="connsiteY22"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307974 w 1346306"/>
                    <a:gd name="connsiteY20" fmla="*/ 1470658 h 1999321"/>
                    <a:gd name="connsiteX21" fmla="*/ 313689 w 1346306"/>
                    <a:gd name="connsiteY21" fmla="*/ 1468753 h 1999321"/>
                    <a:gd name="connsiteX22" fmla="*/ 0 w 1346306"/>
                    <a:gd name="connsiteY22" fmla="*/ 763905 h 1999321"/>
                    <a:gd name="connsiteX23" fmla="*/ 154305 w 1346306"/>
                    <a:gd name="connsiteY23"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307974 w 1346306"/>
                    <a:gd name="connsiteY20" fmla="*/ 1470658 h 1999321"/>
                    <a:gd name="connsiteX21" fmla="*/ 3174 w 1346306"/>
                    <a:gd name="connsiteY21" fmla="*/ 1712593 h 1999321"/>
                    <a:gd name="connsiteX22" fmla="*/ 0 w 1346306"/>
                    <a:gd name="connsiteY22" fmla="*/ 763905 h 1999321"/>
                    <a:gd name="connsiteX23" fmla="*/ 154305 w 1346306"/>
                    <a:gd name="connsiteY23"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258444 w 1346306"/>
                    <a:gd name="connsiteY20" fmla="*/ 1630678 h 1999321"/>
                    <a:gd name="connsiteX21" fmla="*/ 3174 w 1346306"/>
                    <a:gd name="connsiteY21" fmla="*/ 1712593 h 1999321"/>
                    <a:gd name="connsiteX22" fmla="*/ 0 w 1346306"/>
                    <a:gd name="connsiteY22" fmla="*/ 763905 h 1999321"/>
                    <a:gd name="connsiteX23" fmla="*/ 154305 w 1346306"/>
                    <a:gd name="connsiteY23"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121284 w 1346306"/>
                    <a:gd name="connsiteY20" fmla="*/ 1760218 h 1999321"/>
                    <a:gd name="connsiteX21" fmla="*/ 3174 w 1346306"/>
                    <a:gd name="connsiteY21" fmla="*/ 1712593 h 1999321"/>
                    <a:gd name="connsiteX22" fmla="*/ 0 w 1346306"/>
                    <a:gd name="connsiteY22" fmla="*/ 763905 h 1999321"/>
                    <a:gd name="connsiteX23" fmla="*/ 154305 w 1346306"/>
                    <a:gd name="connsiteY23" fmla="*/ 97155 h 1999321"/>
                    <a:gd name="connsiteX0" fmla="*/ 242571 w 1434572"/>
                    <a:gd name="connsiteY0" fmla="*/ 97155 h 1999321"/>
                    <a:gd name="connsiteX1" fmla="*/ 340995 w 1434572"/>
                    <a:gd name="connsiteY1" fmla="*/ 0 h 1999321"/>
                    <a:gd name="connsiteX2" fmla="*/ 711201 w 1434572"/>
                    <a:gd name="connsiteY2" fmla="*/ 83820 h 1999321"/>
                    <a:gd name="connsiteX3" fmla="*/ 755016 w 1434572"/>
                    <a:gd name="connsiteY3" fmla="*/ 230505 h 1999321"/>
                    <a:gd name="connsiteX4" fmla="*/ 1011556 w 1434572"/>
                    <a:gd name="connsiteY4" fmla="*/ 527685 h 1999321"/>
                    <a:gd name="connsiteX5" fmla="*/ 1379221 w 1434572"/>
                    <a:gd name="connsiteY5" fmla="*/ 634365 h 1999321"/>
                    <a:gd name="connsiteX6" fmla="*/ 1223011 w 1434572"/>
                    <a:gd name="connsiteY6" fmla="*/ 840105 h 1999321"/>
                    <a:gd name="connsiteX7" fmla="*/ 1149351 w 1434572"/>
                    <a:gd name="connsiteY7" fmla="*/ 847725 h 1999321"/>
                    <a:gd name="connsiteX8" fmla="*/ 746760 w 1434572"/>
                    <a:gd name="connsiteY8" fmla="*/ 729614 h 1999321"/>
                    <a:gd name="connsiteX9" fmla="*/ 662940 w 1434572"/>
                    <a:gd name="connsiteY9" fmla="*/ 641984 h 1999321"/>
                    <a:gd name="connsiteX10" fmla="*/ 594360 w 1434572"/>
                    <a:gd name="connsiteY10" fmla="*/ 941069 h 1999321"/>
                    <a:gd name="connsiteX11" fmla="*/ 857250 w 1434572"/>
                    <a:gd name="connsiteY11" fmla="*/ 1383029 h 1999321"/>
                    <a:gd name="connsiteX12" fmla="*/ 822960 w 1434572"/>
                    <a:gd name="connsiteY12" fmla="*/ 1522094 h 1999321"/>
                    <a:gd name="connsiteX13" fmla="*/ 451485 w 1434572"/>
                    <a:gd name="connsiteY13" fmla="*/ 1979293 h 1999321"/>
                    <a:gd name="connsiteX14" fmla="*/ 276225 w 1434572"/>
                    <a:gd name="connsiteY14" fmla="*/ 1813558 h 1999321"/>
                    <a:gd name="connsiteX15" fmla="*/ 590550 w 1434572"/>
                    <a:gd name="connsiteY15" fmla="*/ 1423033 h 1999321"/>
                    <a:gd name="connsiteX16" fmla="*/ 411480 w 1434572"/>
                    <a:gd name="connsiteY16" fmla="*/ 1108708 h 1999321"/>
                    <a:gd name="connsiteX17" fmla="*/ 325755 w 1434572"/>
                    <a:gd name="connsiteY17" fmla="*/ 1095373 h 1999321"/>
                    <a:gd name="connsiteX18" fmla="*/ 398145 w 1434572"/>
                    <a:gd name="connsiteY18" fmla="*/ 1384933 h 1999321"/>
                    <a:gd name="connsiteX19" fmla="*/ 396240 w 1434572"/>
                    <a:gd name="connsiteY19" fmla="*/ 1470658 h 1999321"/>
                    <a:gd name="connsiteX20" fmla="*/ 0 w 1434572"/>
                    <a:gd name="connsiteY20" fmla="*/ 1967863 h 1999321"/>
                    <a:gd name="connsiteX21" fmla="*/ 91440 w 1434572"/>
                    <a:gd name="connsiteY21" fmla="*/ 1712593 h 1999321"/>
                    <a:gd name="connsiteX22" fmla="*/ 88266 w 1434572"/>
                    <a:gd name="connsiteY22" fmla="*/ 763905 h 1999321"/>
                    <a:gd name="connsiteX23" fmla="*/ 242571 w 1434572"/>
                    <a:gd name="connsiteY23" fmla="*/ 97155 h 1999321"/>
                    <a:gd name="connsiteX0" fmla="*/ 410211 w 1602212"/>
                    <a:gd name="connsiteY0" fmla="*/ 97155 h 1999321"/>
                    <a:gd name="connsiteX1" fmla="*/ 508635 w 1602212"/>
                    <a:gd name="connsiteY1" fmla="*/ 0 h 1999321"/>
                    <a:gd name="connsiteX2" fmla="*/ 878841 w 1602212"/>
                    <a:gd name="connsiteY2" fmla="*/ 83820 h 1999321"/>
                    <a:gd name="connsiteX3" fmla="*/ 922656 w 1602212"/>
                    <a:gd name="connsiteY3" fmla="*/ 230505 h 1999321"/>
                    <a:gd name="connsiteX4" fmla="*/ 1179196 w 1602212"/>
                    <a:gd name="connsiteY4" fmla="*/ 527685 h 1999321"/>
                    <a:gd name="connsiteX5" fmla="*/ 1546861 w 1602212"/>
                    <a:gd name="connsiteY5" fmla="*/ 634365 h 1999321"/>
                    <a:gd name="connsiteX6" fmla="*/ 1390651 w 1602212"/>
                    <a:gd name="connsiteY6" fmla="*/ 840105 h 1999321"/>
                    <a:gd name="connsiteX7" fmla="*/ 1316991 w 1602212"/>
                    <a:gd name="connsiteY7" fmla="*/ 847725 h 1999321"/>
                    <a:gd name="connsiteX8" fmla="*/ 914400 w 1602212"/>
                    <a:gd name="connsiteY8" fmla="*/ 729614 h 1999321"/>
                    <a:gd name="connsiteX9" fmla="*/ 830580 w 1602212"/>
                    <a:gd name="connsiteY9" fmla="*/ 641984 h 1999321"/>
                    <a:gd name="connsiteX10" fmla="*/ 762000 w 1602212"/>
                    <a:gd name="connsiteY10" fmla="*/ 941069 h 1999321"/>
                    <a:gd name="connsiteX11" fmla="*/ 1024890 w 1602212"/>
                    <a:gd name="connsiteY11" fmla="*/ 1383029 h 1999321"/>
                    <a:gd name="connsiteX12" fmla="*/ 990600 w 1602212"/>
                    <a:gd name="connsiteY12" fmla="*/ 1522094 h 1999321"/>
                    <a:gd name="connsiteX13" fmla="*/ 619125 w 1602212"/>
                    <a:gd name="connsiteY13" fmla="*/ 1979293 h 1999321"/>
                    <a:gd name="connsiteX14" fmla="*/ 443865 w 1602212"/>
                    <a:gd name="connsiteY14" fmla="*/ 1813558 h 1999321"/>
                    <a:gd name="connsiteX15" fmla="*/ 758190 w 1602212"/>
                    <a:gd name="connsiteY15" fmla="*/ 1423033 h 1999321"/>
                    <a:gd name="connsiteX16" fmla="*/ 579120 w 1602212"/>
                    <a:gd name="connsiteY16" fmla="*/ 1108708 h 1999321"/>
                    <a:gd name="connsiteX17" fmla="*/ 493395 w 1602212"/>
                    <a:gd name="connsiteY17" fmla="*/ 1095373 h 1999321"/>
                    <a:gd name="connsiteX18" fmla="*/ 565785 w 1602212"/>
                    <a:gd name="connsiteY18" fmla="*/ 1384933 h 1999321"/>
                    <a:gd name="connsiteX19" fmla="*/ 563880 w 1602212"/>
                    <a:gd name="connsiteY19" fmla="*/ 1470658 h 1999321"/>
                    <a:gd name="connsiteX20" fmla="*/ 167640 w 1602212"/>
                    <a:gd name="connsiteY20" fmla="*/ 1967863 h 1999321"/>
                    <a:gd name="connsiteX21" fmla="*/ 0 w 1602212"/>
                    <a:gd name="connsiteY21" fmla="*/ 1794508 h 1999321"/>
                    <a:gd name="connsiteX22" fmla="*/ 255906 w 1602212"/>
                    <a:gd name="connsiteY22" fmla="*/ 763905 h 1999321"/>
                    <a:gd name="connsiteX23" fmla="*/ 410211 w 1602212"/>
                    <a:gd name="connsiteY23" fmla="*/ 97155 h 1999321"/>
                    <a:gd name="connsiteX0" fmla="*/ 430572 w 1622573"/>
                    <a:gd name="connsiteY0" fmla="*/ 97155 h 1999321"/>
                    <a:gd name="connsiteX1" fmla="*/ 528996 w 1622573"/>
                    <a:gd name="connsiteY1" fmla="*/ 0 h 1999321"/>
                    <a:gd name="connsiteX2" fmla="*/ 899202 w 1622573"/>
                    <a:gd name="connsiteY2" fmla="*/ 83820 h 1999321"/>
                    <a:gd name="connsiteX3" fmla="*/ 943017 w 1622573"/>
                    <a:gd name="connsiteY3" fmla="*/ 230505 h 1999321"/>
                    <a:gd name="connsiteX4" fmla="*/ 1199557 w 1622573"/>
                    <a:gd name="connsiteY4" fmla="*/ 527685 h 1999321"/>
                    <a:gd name="connsiteX5" fmla="*/ 1567222 w 1622573"/>
                    <a:gd name="connsiteY5" fmla="*/ 634365 h 1999321"/>
                    <a:gd name="connsiteX6" fmla="*/ 1411012 w 1622573"/>
                    <a:gd name="connsiteY6" fmla="*/ 840105 h 1999321"/>
                    <a:gd name="connsiteX7" fmla="*/ 1337352 w 1622573"/>
                    <a:gd name="connsiteY7" fmla="*/ 847725 h 1999321"/>
                    <a:gd name="connsiteX8" fmla="*/ 934761 w 1622573"/>
                    <a:gd name="connsiteY8" fmla="*/ 729614 h 1999321"/>
                    <a:gd name="connsiteX9" fmla="*/ 850941 w 1622573"/>
                    <a:gd name="connsiteY9" fmla="*/ 641984 h 1999321"/>
                    <a:gd name="connsiteX10" fmla="*/ 782361 w 1622573"/>
                    <a:gd name="connsiteY10" fmla="*/ 941069 h 1999321"/>
                    <a:gd name="connsiteX11" fmla="*/ 1045251 w 1622573"/>
                    <a:gd name="connsiteY11" fmla="*/ 1383029 h 1999321"/>
                    <a:gd name="connsiteX12" fmla="*/ 1010961 w 1622573"/>
                    <a:gd name="connsiteY12" fmla="*/ 1522094 h 1999321"/>
                    <a:gd name="connsiteX13" fmla="*/ 639486 w 1622573"/>
                    <a:gd name="connsiteY13" fmla="*/ 1979293 h 1999321"/>
                    <a:gd name="connsiteX14" fmla="*/ 464226 w 1622573"/>
                    <a:gd name="connsiteY14" fmla="*/ 1813558 h 1999321"/>
                    <a:gd name="connsiteX15" fmla="*/ 778551 w 1622573"/>
                    <a:gd name="connsiteY15" fmla="*/ 1423033 h 1999321"/>
                    <a:gd name="connsiteX16" fmla="*/ 599481 w 1622573"/>
                    <a:gd name="connsiteY16" fmla="*/ 1108708 h 1999321"/>
                    <a:gd name="connsiteX17" fmla="*/ 513756 w 1622573"/>
                    <a:gd name="connsiteY17" fmla="*/ 1095373 h 1999321"/>
                    <a:gd name="connsiteX18" fmla="*/ 586146 w 1622573"/>
                    <a:gd name="connsiteY18" fmla="*/ 1384933 h 1999321"/>
                    <a:gd name="connsiteX19" fmla="*/ 584241 w 1622573"/>
                    <a:gd name="connsiteY19" fmla="*/ 1470658 h 1999321"/>
                    <a:gd name="connsiteX20" fmla="*/ 188001 w 1622573"/>
                    <a:gd name="connsiteY20" fmla="*/ 1967863 h 1999321"/>
                    <a:gd name="connsiteX21" fmla="*/ 20361 w 1622573"/>
                    <a:gd name="connsiteY21" fmla="*/ 1794508 h 1999321"/>
                    <a:gd name="connsiteX22" fmla="*/ 276267 w 1622573"/>
                    <a:gd name="connsiteY22" fmla="*/ 763905 h 1999321"/>
                    <a:gd name="connsiteX23" fmla="*/ 430572 w 1622573"/>
                    <a:gd name="connsiteY23" fmla="*/ 97155 h 1999321"/>
                    <a:gd name="connsiteX0" fmla="*/ 437624 w 1629625"/>
                    <a:gd name="connsiteY0" fmla="*/ 97155 h 1999321"/>
                    <a:gd name="connsiteX1" fmla="*/ 536048 w 1629625"/>
                    <a:gd name="connsiteY1" fmla="*/ 0 h 1999321"/>
                    <a:gd name="connsiteX2" fmla="*/ 906254 w 1629625"/>
                    <a:gd name="connsiteY2" fmla="*/ 83820 h 1999321"/>
                    <a:gd name="connsiteX3" fmla="*/ 950069 w 1629625"/>
                    <a:gd name="connsiteY3" fmla="*/ 230505 h 1999321"/>
                    <a:gd name="connsiteX4" fmla="*/ 1206609 w 1629625"/>
                    <a:gd name="connsiteY4" fmla="*/ 527685 h 1999321"/>
                    <a:gd name="connsiteX5" fmla="*/ 1574274 w 1629625"/>
                    <a:gd name="connsiteY5" fmla="*/ 634365 h 1999321"/>
                    <a:gd name="connsiteX6" fmla="*/ 1418064 w 1629625"/>
                    <a:gd name="connsiteY6" fmla="*/ 840105 h 1999321"/>
                    <a:gd name="connsiteX7" fmla="*/ 1344404 w 1629625"/>
                    <a:gd name="connsiteY7" fmla="*/ 847725 h 1999321"/>
                    <a:gd name="connsiteX8" fmla="*/ 941813 w 1629625"/>
                    <a:gd name="connsiteY8" fmla="*/ 729614 h 1999321"/>
                    <a:gd name="connsiteX9" fmla="*/ 857993 w 1629625"/>
                    <a:gd name="connsiteY9" fmla="*/ 641984 h 1999321"/>
                    <a:gd name="connsiteX10" fmla="*/ 789413 w 1629625"/>
                    <a:gd name="connsiteY10" fmla="*/ 941069 h 1999321"/>
                    <a:gd name="connsiteX11" fmla="*/ 1052303 w 1629625"/>
                    <a:gd name="connsiteY11" fmla="*/ 1383029 h 1999321"/>
                    <a:gd name="connsiteX12" fmla="*/ 1018013 w 1629625"/>
                    <a:gd name="connsiteY12" fmla="*/ 1522094 h 1999321"/>
                    <a:gd name="connsiteX13" fmla="*/ 646538 w 1629625"/>
                    <a:gd name="connsiteY13" fmla="*/ 1979293 h 1999321"/>
                    <a:gd name="connsiteX14" fmla="*/ 471278 w 1629625"/>
                    <a:gd name="connsiteY14" fmla="*/ 1813558 h 1999321"/>
                    <a:gd name="connsiteX15" fmla="*/ 785603 w 1629625"/>
                    <a:gd name="connsiteY15" fmla="*/ 1423033 h 1999321"/>
                    <a:gd name="connsiteX16" fmla="*/ 606533 w 1629625"/>
                    <a:gd name="connsiteY16" fmla="*/ 1108708 h 1999321"/>
                    <a:gd name="connsiteX17" fmla="*/ 520808 w 1629625"/>
                    <a:gd name="connsiteY17" fmla="*/ 1095373 h 1999321"/>
                    <a:gd name="connsiteX18" fmla="*/ 593198 w 1629625"/>
                    <a:gd name="connsiteY18" fmla="*/ 1384933 h 1999321"/>
                    <a:gd name="connsiteX19" fmla="*/ 591293 w 1629625"/>
                    <a:gd name="connsiteY19" fmla="*/ 1470658 h 1999321"/>
                    <a:gd name="connsiteX20" fmla="*/ 195053 w 1629625"/>
                    <a:gd name="connsiteY20" fmla="*/ 1967863 h 1999321"/>
                    <a:gd name="connsiteX21" fmla="*/ 27413 w 1629625"/>
                    <a:gd name="connsiteY21" fmla="*/ 1794508 h 1999321"/>
                    <a:gd name="connsiteX22" fmla="*/ 283319 w 1629625"/>
                    <a:gd name="connsiteY22" fmla="*/ 763905 h 1999321"/>
                    <a:gd name="connsiteX23" fmla="*/ 437624 w 1629625"/>
                    <a:gd name="connsiteY23" fmla="*/ 97155 h 1999321"/>
                    <a:gd name="connsiteX0" fmla="*/ 437395 w 1629396"/>
                    <a:gd name="connsiteY0" fmla="*/ 97155 h 1999321"/>
                    <a:gd name="connsiteX1" fmla="*/ 535819 w 1629396"/>
                    <a:gd name="connsiteY1" fmla="*/ 0 h 1999321"/>
                    <a:gd name="connsiteX2" fmla="*/ 906025 w 1629396"/>
                    <a:gd name="connsiteY2" fmla="*/ 83820 h 1999321"/>
                    <a:gd name="connsiteX3" fmla="*/ 949840 w 1629396"/>
                    <a:gd name="connsiteY3" fmla="*/ 230505 h 1999321"/>
                    <a:gd name="connsiteX4" fmla="*/ 1206380 w 1629396"/>
                    <a:gd name="connsiteY4" fmla="*/ 527685 h 1999321"/>
                    <a:gd name="connsiteX5" fmla="*/ 1574045 w 1629396"/>
                    <a:gd name="connsiteY5" fmla="*/ 634365 h 1999321"/>
                    <a:gd name="connsiteX6" fmla="*/ 1417835 w 1629396"/>
                    <a:gd name="connsiteY6" fmla="*/ 840105 h 1999321"/>
                    <a:gd name="connsiteX7" fmla="*/ 1344175 w 1629396"/>
                    <a:gd name="connsiteY7" fmla="*/ 847725 h 1999321"/>
                    <a:gd name="connsiteX8" fmla="*/ 941584 w 1629396"/>
                    <a:gd name="connsiteY8" fmla="*/ 729614 h 1999321"/>
                    <a:gd name="connsiteX9" fmla="*/ 857764 w 1629396"/>
                    <a:gd name="connsiteY9" fmla="*/ 641984 h 1999321"/>
                    <a:gd name="connsiteX10" fmla="*/ 789184 w 1629396"/>
                    <a:gd name="connsiteY10" fmla="*/ 941069 h 1999321"/>
                    <a:gd name="connsiteX11" fmla="*/ 1052074 w 1629396"/>
                    <a:gd name="connsiteY11" fmla="*/ 1383029 h 1999321"/>
                    <a:gd name="connsiteX12" fmla="*/ 1017784 w 1629396"/>
                    <a:gd name="connsiteY12" fmla="*/ 1522094 h 1999321"/>
                    <a:gd name="connsiteX13" fmla="*/ 646309 w 1629396"/>
                    <a:gd name="connsiteY13" fmla="*/ 1979293 h 1999321"/>
                    <a:gd name="connsiteX14" fmla="*/ 471049 w 1629396"/>
                    <a:gd name="connsiteY14" fmla="*/ 1813558 h 1999321"/>
                    <a:gd name="connsiteX15" fmla="*/ 785374 w 1629396"/>
                    <a:gd name="connsiteY15" fmla="*/ 1423033 h 1999321"/>
                    <a:gd name="connsiteX16" fmla="*/ 606304 w 1629396"/>
                    <a:gd name="connsiteY16" fmla="*/ 1108708 h 1999321"/>
                    <a:gd name="connsiteX17" fmla="*/ 520579 w 1629396"/>
                    <a:gd name="connsiteY17" fmla="*/ 1095373 h 1999321"/>
                    <a:gd name="connsiteX18" fmla="*/ 592969 w 1629396"/>
                    <a:gd name="connsiteY18" fmla="*/ 1384933 h 1999321"/>
                    <a:gd name="connsiteX19" fmla="*/ 591064 w 1629396"/>
                    <a:gd name="connsiteY19" fmla="*/ 1470658 h 1999321"/>
                    <a:gd name="connsiteX20" fmla="*/ 194824 w 1629396"/>
                    <a:gd name="connsiteY20" fmla="*/ 1967863 h 1999321"/>
                    <a:gd name="connsiteX21" fmla="*/ 27184 w 1629396"/>
                    <a:gd name="connsiteY21" fmla="*/ 1794508 h 1999321"/>
                    <a:gd name="connsiteX22" fmla="*/ 283090 w 1629396"/>
                    <a:gd name="connsiteY22" fmla="*/ 763905 h 1999321"/>
                    <a:gd name="connsiteX23" fmla="*/ 437395 w 1629396"/>
                    <a:gd name="connsiteY23"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288564 w 1634870"/>
                    <a:gd name="connsiteY22" fmla="*/ 763905 h 1999321"/>
                    <a:gd name="connsiteX23" fmla="*/ 442869 w 1634870"/>
                    <a:gd name="connsiteY23"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288564 w 1634870"/>
                    <a:gd name="connsiteY22" fmla="*/ 763905 h 1999321"/>
                    <a:gd name="connsiteX23" fmla="*/ 286023 w 1634870"/>
                    <a:gd name="connsiteY23" fmla="*/ 769618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288564 w 1634870"/>
                    <a:gd name="connsiteY22" fmla="*/ 763905 h 1999321"/>
                    <a:gd name="connsiteX23" fmla="*/ 295548 w 1634870"/>
                    <a:gd name="connsiteY23" fmla="*/ 739138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95548 w 1634870"/>
                    <a:gd name="connsiteY23" fmla="*/ 739138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4870" h="1999321">
                      <a:moveTo>
                        <a:pt x="442869" y="97155"/>
                      </a:moveTo>
                      <a:cubicBezTo>
                        <a:pt x="460437" y="15240"/>
                        <a:pt x="495150" y="3810"/>
                        <a:pt x="541293" y="0"/>
                      </a:cubicBezTo>
                      <a:lnTo>
                        <a:pt x="911499" y="83820"/>
                      </a:lnTo>
                      <a:cubicBezTo>
                        <a:pt x="992779" y="114300"/>
                        <a:pt x="969284" y="201930"/>
                        <a:pt x="955314" y="230505"/>
                      </a:cubicBezTo>
                      <a:lnTo>
                        <a:pt x="1211854" y="527685"/>
                      </a:lnTo>
                      <a:cubicBezTo>
                        <a:pt x="1338219" y="561340"/>
                        <a:pt x="1456964" y="598805"/>
                        <a:pt x="1579519" y="634365"/>
                      </a:cubicBezTo>
                      <a:cubicBezTo>
                        <a:pt x="1686834" y="706120"/>
                        <a:pt x="1639844" y="913130"/>
                        <a:pt x="1423309" y="840105"/>
                      </a:cubicBezTo>
                      <a:lnTo>
                        <a:pt x="1349649" y="847725"/>
                      </a:lnTo>
                      <a:lnTo>
                        <a:pt x="947058" y="729614"/>
                      </a:lnTo>
                      <a:lnTo>
                        <a:pt x="863238" y="641984"/>
                      </a:lnTo>
                      <a:lnTo>
                        <a:pt x="794658" y="941069"/>
                      </a:lnTo>
                      <a:lnTo>
                        <a:pt x="1057548" y="1383029"/>
                      </a:lnTo>
                      <a:cubicBezTo>
                        <a:pt x="1072788" y="1442719"/>
                        <a:pt x="1057548" y="1483359"/>
                        <a:pt x="1023258" y="1522094"/>
                      </a:cubicBezTo>
                      <a:lnTo>
                        <a:pt x="651783" y="1979293"/>
                      </a:lnTo>
                      <a:cubicBezTo>
                        <a:pt x="505733" y="2055493"/>
                        <a:pt x="416833" y="1895473"/>
                        <a:pt x="476523" y="1813558"/>
                      </a:cubicBezTo>
                      <a:lnTo>
                        <a:pt x="790848" y="1423033"/>
                      </a:lnTo>
                      <a:lnTo>
                        <a:pt x="611778" y="1108708"/>
                      </a:lnTo>
                      <a:lnTo>
                        <a:pt x="526053" y="1095373"/>
                      </a:lnTo>
                      <a:lnTo>
                        <a:pt x="598443" y="1384933"/>
                      </a:lnTo>
                      <a:cubicBezTo>
                        <a:pt x="613048" y="1413508"/>
                        <a:pt x="608603" y="1443988"/>
                        <a:pt x="596538" y="1470658"/>
                      </a:cubicBezTo>
                      <a:lnTo>
                        <a:pt x="200298" y="1967863"/>
                      </a:lnTo>
                      <a:cubicBezTo>
                        <a:pt x="72028" y="2056763"/>
                        <a:pt x="-63862" y="1905633"/>
                        <a:pt x="32658" y="1794508"/>
                      </a:cubicBezTo>
                      <a:lnTo>
                        <a:pt x="345714" y="1396365"/>
                      </a:lnTo>
                      <a:cubicBezTo>
                        <a:pt x="309942" y="1264284"/>
                        <a:pt x="257025" y="1109344"/>
                        <a:pt x="238398" y="1000123"/>
                      </a:cubicBezTo>
                      <a:cubicBezTo>
                        <a:pt x="270360" y="712469"/>
                        <a:pt x="376617" y="400049"/>
                        <a:pt x="442869" y="97155"/>
                      </a:cubicBez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69" name="Group 68"/>
              <p:cNvGrpSpPr/>
              <p:nvPr/>
            </p:nvGrpSpPr>
            <p:grpSpPr>
              <a:xfrm>
                <a:off x="5832302" y="4807183"/>
                <a:ext cx="1041616" cy="1043615"/>
                <a:chOff x="5832302" y="4807183"/>
                <a:chExt cx="1041616" cy="1043615"/>
              </a:xfrm>
            </p:grpSpPr>
            <p:sp>
              <p:nvSpPr>
                <p:cNvPr id="70" name="Freeform 69"/>
                <p:cNvSpPr/>
                <p:nvPr/>
              </p:nvSpPr>
              <p:spPr>
                <a:xfrm flipH="1">
                  <a:off x="5832302" y="4807183"/>
                  <a:ext cx="1041616" cy="1043615"/>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77999 w 1542756"/>
                    <a:gd name="connsiteY16" fmla="*/ 1527864 h 1543391"/>
                    <a:gd name="connsiteX17" fmla="*/ 687979 w 1542756"/>
                    <a:gd name="connsiteY17" fmla="*/ 1459189 h 1543391"/>
                    <a:gd name="connsiteX18" fmla="*/ 754417 w 1542756"/>
                    <a:gd name="connsiteY18" fmla="*/ 1347735 h 1543391"/>
                    <a:gd name="connsiteX19" fmla="*/ 603727 w 1542756"/>
                    <a:gd name="connsiteY19" fmla="*/ 1213325 h 1543391"/>
                    <a:gd name="connsiteX20" fmla="*/ 457825 w 1542756"/>
                    <a:gd name="connsiteY20" fmla="*/ 1347735 h 1543391"/>
                    <a:gd name="connsiteX21" fmla="*/ 522614 w 1542756"/>
                    <a:gd name="connsiteY21" fmla="*/ 1456051 h 1543391"/>
                    <a:gd name="connsiteX22" fmla="*/ 530889 w 1542756"/>
                    <a:gd name="connsiteY22" fmla="*/ 1529038 h 1543391"/>
                    <a:gd name="connsiteX23" fmla="*/ 510900 w 1542756"/>
                    <a:gd name="connsiteY23" fmla="*/ 1543391 h 1543391"/>
                    <a:gd name="connsiteX24" fmla="*/ 0 w 1542756"/>
                    <a:gd name="connsiteY24" fmla="*/ 1543391 h 1543391"/>
                    <a:gd name="connsiteX25" fmla="*/ 0 w 1542756"/>
                    <a:gd name="connsiteY25" fmla="*/ 1030456 h 1543391"/>
                    <a:gd name="connsiteX26" fmla="*/ 14829 w 1542756"/>
                    <a:gd name="connsiteY26" fmla="*/ 1009804 h 1543391"/>
                    <a:gd name="connsiteX27" fmla="*/ 84678 w 1542756"/>
                    <a:gd name="connsiteY27" fmla="*/ 1021218 h 1543391"/>
                    <a:gd name="connsiteX28" fmla="*/ 196131 w 1542756"/>
                    <a:gd name="connsiteY28" fmla="*/ 1087656 h 1543391"/>
                    <a:gd name="connsiteX29" fmla="*/ 330541 w 1542756"/>
                    <a:gd name="connsiteY29" fmla="*/ 936966 h 1543391"/>
                    <a:gd name="connsiteX30" fmla="*/ 196131 w 1542756"/>
                    <a:gd name="connsiteY30" fmla="*/ 786276 h 1543391"/>
                    <a:gd name="connsiteX31" fmla="*/ 84678 w 1542756"/>
                    <a:gd name="connsiteY31" fmla="*/ 852714 h 1543391"/>
                    <a:gd name="connsiteX32" fmla="*/ 16002 w 1542756"/>
                    <a:gd name="connsiteY32" fmla="*/ 862694 h 1543391"/>
                    <a:gd name="connsiteX33" fmla="*/ 0 w 1542756"/>
                    <a:gd name="connsiteY33" fmla="*/ 841219 h 1543391"/>
                    <a:gd name="connsiteX34" fmla="*/ 0 w 1542756"/>
                    <a:gd name="connsiteY34" fmla="*/ 330541 h 1543391"/>
                    <a:gd name="connsiteX35" fmla="*/ 510238 w 1542756"/>
                    <a:gd name="connsiteY35" fmla="*/ 330541 h 1543391"/>
                    <a:gd name="connsiteX36" fmla="*/ 530889 w 1542756"/>
                    <a:gd name="connsiteY36" fmla="*/ 315713 h 1543391"/>
                    <a:gd name="connsiteX37" fmla="*/ 519475 w 1542756"/>
                    <a:gd name="connsiteY37" fmla="*/ 245864 h 1543391"/>
                    <a:gd name="connsiteX38" fmla="*/ 453037 w 1542756"/>
                    <a:gd name="connsiteY38" fmla="*/ 134410 h 1543391"/>
                    <a:gd name="connsiteX39" fmla="*/ 603727 w 1542756"/>
                    <a:gd name="connsiteY39"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87979 w 1542756"/>
                    <a:gd name="connsiteY16" fmla="*/ 1459189 h 1543391"/>
                    <a:gd name="connsiteX17" fmla="*/ 754417 w 1542756"/>
                    <a:gd name="connsiteY17" fmla="*/ 1347735 h 1543391"/>
                    <a:gd name="connsiteX18" fmla="*/ 603727 w 1542756"/>
                    <a:gd name="connsiteY18" fmla="*/ 1213325 h 1543391"/>
                    <a:gd name="connsiteX19" fmla="*/ 457825 w 1542756"/>
                    <a:gd name="connsiteY19" fmla="*/ 1347735 h 1543391"/>
                    <a:gd name="connsiteX20" fmla="*/ 522614 w 1542756"/>
                    <a:gd name="connsiteY20" fmla="*/ 1456051 h 1543391"/>
                    <a:gd name="connsiteX21" fmla="*/ 530889 w 1542756"/>
                    <a:gd name="connsiteY21" fmla="*/ 1529038 h 1543391"/>
                    <a:gd name="connsiteX22" fmla="*/ 510900 w 1542756"/>
                    <a:gd name="connsiteY22" fmla="*/ 1543391 h 1543391"/>
                    <a:gd name="connsiteX23" fmla="*/ 0 w 1542756"/>
                    <a:gd name="connsiteY23" fmla="*/ 1543391 h 1543391"/>
                    <a:gd name="connsiteX24" fmla="*/ 0 w 1542756"/>
                    <a:gd name="connsiteY24" fmla="*/ 1030456 h 1543391"/>
                    <a:gd name="connsiteX25" fmla="*/ 14829 w 1542756"/>
                    <a:gd name="connsiteY25" fmla="*/ 1009804 h 1543391"/>
                    <a:gd name="connsiteX26" fmla="*/ 84678 w 1542756"/>
                    <a:gd name="connsiteY26" fmla="*/ 1021218 h 1543391"/>
                    <a:gd name="connsiteX27" fmla="*/ 196131 w 1542756"/>
                    <a:gd name="connsiteY27" fmla="*/ 1087656 h 1543391"/>
                    <a:gd name="connsiteX28" fmla="*/ 330541 w 1542756"/>
                    <a:gd name="connsiteY28" fmla="*/ 936966 h 1543391"/>
                    <a:gd name="connsiteX29" fmla="*/ 196131 w 1542756"/>
                    <a:gd name="connsiteY29" fmla="*/ 786276 h 1543391"/>
                    <a:gd name="connsiteX30" fmla="*/ 84678 w 1542756"/>
                    <a:gd name="connsiteY30" fmla="*/ 852714 h 1543391"/>
                    <a:gd name="connsiteX31" fmla="*/ 16002 w 1542756"/>
                    <a:gd name="connsiteY31" fmla="*/ 862694 h 1543391"/>
                    <a:gd name="connsiteX32" fmla="*/ 0 w 1542756"/>
                    <a:gd name="connsiteY32" fmla="*/ 841219 h 1543391"/>
                    <a:gd name="connsiteX33" fmla="*/ 0 w 1542756"/>
                    <a:gd name="connsiteY33" fmla="*/ 330541 h 1543391"/>
                    <a:gd name="connsiteX34" fmla="*/ 510238 w 1542756"/>
                    <a:gd name="connsiteY34" fmla="*/ 330541 h 1543391"/>
                    <a:gd name="connsiteX35" fmla="*/ 530889 w 1542756"/>
                    <a:gd name="connsiteY35" fmla="*/ 315713 h 1543391"/>
                    <a:gd name="connsiteX36" fmla="*/ 519475 w 1542756"/>
                    <a:gd name="connsiteY36" fmla="*/ 245864 h 1543391"/>
                    <a:gd name="connsiteX37" fmla="*/ 453037 w 1542756"/>
                    <a:gd name="connsiteY37" fmla="*/ 134410 h 1543391"/>
                    <a:gd name="connsiteX38" fmla="*/ 603727 w 1542756"/>
                    <a:gd name="connsiteY38"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754417 w 1542756"/>
                    <a:gd name="connsiteY16" fmla="*/ 1347735 h 1543391"/>
                    <a:gd name="connsiteX17" fmla="*/ 603727 w 1542756"/>
                    <a:gd name="connsiteY17" fmla="*/ 1213325 h 1543391"/>
                    <a:gd name="connsiteX18" fmla="*/ 457825 w 1542756"/>
                    <a:gd name="connsiteY18" fmla="*/ 1347735 h 1543391"/>
                    <a:gd name="connsiteX19" fmla="*/ 522614 w 1542756"/>
                    <a:gd name="connsiteY19" fmla="*/ 1456051 h 1543391"/>
                    <a:gd name="connsiteX20" fmla="*/ 530889 w 1542756"/>
                    <a:gd name="connsiteY20" fmla="*/ 1529038 h 1543391"/>
                    <a:gd name="connsiteX21" fmla="*/ 510900 w 1542756"/>
                    <a:gd name="connsiteY21" fmla="*/ 1543391 h 1543391"/>
                    <a:gd name="connsiteX22" fmla="*/ 0 w 1542756"/>
                    <a:gd name="connsiteY22" fmla="*/ 1543391 h 1543391"/>
                    <a:gd name="connsiteX23" fmla="*/ 0 w 1542756"/>
                    <a:gd name="connsiteY23" fmla="*/ 1030456 h 1543391"/>
                    <a:gd name="connsiteX24" fmla="*/ 14829 w 1542756"/>
                    <a:gd name="connsiteY24" fmla="*/ 1009804 h 1543391"/>
                    <a:gd name="connsiteX25" fmla="*/ 84678 w 1542756"/>
                    <a:gd name="connsiteY25" fmla="*/ 1021218 h 1543391"/>
                    <a:gd name="connsiteX26" fmla="*/ 196131 w 1542756"/>
                    <a:gd name="connsiteY26" fmla="*/ 1087656 h 1543391"/>
                    <a:gd name="connsiteX27" fmla="*/ 330541 w 1542756"/>
                    <a:gd name="connsiteY27" fmla="*/ 936966 h 1543391"/>
                    <a:gd name="connsiteX28" fmla="*/ 196131 w 1542756"/>
                    <a:gd name="connsiteY28" fmla="*/ 786276 h 1543391"/>
                    <a:gd name="connsiteX29" fmla="*/ 84678 w 1542756"/>
                    <a:gd name="connsiteY29" fmla="*/ 852714 h 1543391"/>
                    <a:gd name="connsiteX30" fmla="*/ 16002 w 1542756"/>
                    <a:gd name="connsiteY30" fmla="*/ 862694 h 1543391"/>
                    <a:gd name="connsiteX31" fmla="*/ 0 w 1542756"/>
                    <a:gd name="connsiteY31" fmla="*/ 841219 h 1543391"/>
                    <a:gd name="connsiteX32" fmla="*/ 0 w 1542756"/>
                    <a:gd name="connsiteY32" fmla="*/ 330541 h 1543391"/>
                    <a:gd name="connsiteX33" fmla="*/ 510238 w 1542756"/>
                    <a:gd name="connsiteY33" fmla="*/ 330541 h 1543391"/>
                    <a:gd name="connsiteX34" fmla="*/ 530889 w 1542756"/>
                    <a:gd name="connsiteY34" fmla="*/ 315713 h 1543391"/>
                    <a:gd name="connsiteX35" fmla="*/ 519475 w 1542756"/>
                    <a:gd name="connsiteY35" fmla="*/ 245864 h 1543391"/>
                    <a:gd name="connsiteX36" fmla="*/ 453037 w 1542756"/>
                    <a:gd name="connsiteY36" fmla="*/ 134410 h 1543391"/>
                    <a:gd name="connsiteX37" fmla="*/ 603727 w 1542756"/>
                    <a:gd name="connsiteY37"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03727 w 1542756"/>
                    <a:gd name="connsiteY16" fmla="*/ 1213325 h 1543391"/>
                    <a:gd name="connsiteX17" fmla="*/ 457825 w 1542756"/>
                    <a:gd name="connsiteY17" fmla="*/ 1347735 h 1543391"/>
                    <a:gd name="connsiteX18" fmla="*/ 522614 w 1542756"/>
                    <a:gd name="connsiteY18" fmla="*/ 1456051 h 1543391"/>
                    <a:gd name="connsiteX19" fmla="*/ 530889 w 1542756"/>
                    <a:gd name="connsiteY19" fmla="*/ 1529038 h 1543391"/>
                    <a:gd name="connsiteX20" fmla="*/ 510900 w 1542756"/>
                    <a:gd name="connsiteY20" fmla="*/ 1543391 h 1543391"/>
                    <a:gd name="connsiteX21" fmla="*/ 0 w 1542756"/>
                    <a:gd name="connsiteY21" fmla="*/ 1543391 h 1543391"/>
                    <a:gd name="connsiteX22" fmla="*/ 0 w 1542756"/>
                    <a:gd name="connsiteY22" fmla="*/ 1030456 h 1543391"/>
                    <a:gd name="connsiteX23" fmla="*/ 14829 w 1542756"/>
                    <a:gd name="connsiteY23" fmla="*/ 1009804 h 1543391"/>
                    <a:gd name="connsiteX24" fmla="*/ 84678 w 1542756"/>
                    <a:gd name="connsiteY24" fmla="*/ 1021218 h 1543391"/>
                    <a:gd name="connsiteX25" fmla="*/ 196131 w 1542756"/>
                    <a:gd name="connsiteY25" fmla="*/ 1087656 h 1543391"/>
                    <a:gd name="connsiteX26" fmla="*/ 330541 w 1542756"/>
                    <a:gd name="connsiteY26" fmla="*/ 936966 h 1543391"/>
                    <a:gd name="connsiteX27" fmla="*/ 196131 w 1542756"/>
                    <a:gd name="connsiteY27" fmla="*/ 786276 h 1543391"/>
                    <a:gd name="connsiteX28" fmla="*/ 84678 w 1542756"/>
                    <a:gd name="connsiteY28" fmla="*/ 852714 h 1543391"/>
                    <a:gd name="connsiteX29" fmla="*/ 16002 w 1542756"/>
                    <a:gd name="connsiteY29" fmla="*/ 862694 h 1543391"/>
                    <a:gd name="connsiteX30" fmla="*/ 0 w 1542756"/>
                    <a:gd name="connsiteY30" fmla="*/ 841219 h 1543391"/>
                    <a:gd name="connsiteX31" fmla="*/ 0 w 1542756"/>
                    <a:gd name="connsiteY31" fmla="*/ 330541 h 1543391"/>
                    <a:gd name="connsiteX32" fmla="*/ 510238 w 1542756"/>
                    <a:gd name="connsiteY32" fmla="*/ 330541 h 1543391"/>
                    <a:gd name="connsiteX33" fmla="*/ 530889 w 1542756"/>
                    <a:gd name="connsiteY33" fmla="*/ 315713 h 1543391"/>
                    <a:gd name="connsiteX34" fmla="*/ 519475 w 1542756"/>
                    <a:gd name="connsiteY34" fmla="*/ 245864 h 1543391"/>
                    <a:gd name="connsiteX35" fmla="*/ 453037 w 1542756"/>
                    <a:gd name="connsiteY35" fmla="*/ 134410 h 1543391"/>
                    <a:gd name="connsiteX36" fmla="*/ 603727 w 1542756"/>
                    <a:gd name="connsiteY36"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457825 w 1542756"/>
                    <a:gd name="connsiteY16" fmla="*/ 1347735 h 1543391"/>
                    <a:gd name="connsiteX17" fmla="*/ 522614 w 1542756"/>
                    <a:gd name="connsiteY17" fmla="*/ 1456051 h 1543391"/>
                    <a:gd name="connsiteX18" fmla="*/ 530889 w 1542756"/>
                    <a:gd name="connsiteY18" fmla="*/ 1529038 h 1543391"/>
                    <a:gd name="connsiteX19" fmla="*/ 510900 w 1542756"/>
                    <a:gd name="connsiteY19" fmla="*/ 1543391 h 1543391"/>
                    <a:gd name="connsiteX20" fmla="*/ 0 w 1542756"/>
                    <a:gd name="connsiteY20" fmla="*/ 1543391 h 1543391"/>
                    <a:gd name="connsiteX21" fmla="*/ 0 w 1542756"/>
                    <a:gd name="connsiteY21" fmla="*/ 1030456 h 1543391"/>
                    <a:gd name="connsiteX22" fmla="*/ 14829 w 1542756"/>
                    <a:gd name="connsiteY22" fmla="*/ 1009804 h 1543391"/>
                    <a:gd name="connsiteX23" fmla="*/ 84678 w 1542756"/>
                    <a:gd name="connsiteY23" fmla="*/ 1021218 h 1543391"/>
                    <a:gd name="connsiteX24" fmla="*/ 196131 w 1542756"/>
                    <a:gd name="connsiteY24" fmla="*/ 1087656 h 1543391"/>
                    <a:gd name="connsiteX25" fmla="*/ 330541 w 1542756"/>
                    <a:gd name="connsiteY25" fmla="*/ 936966 h 1543391"/>
                    <a:gd name="connsiteX26" fmla="*/ 196131 w 1542756"/>
                    <a:gd name="connsiteY26" fmla="*/ 786276 h 1543391"/>
                    <a:gd name="connsiteX27" fmla="*/ 84678 w 1542756"/>
                    <a:gd name="connsiteY27" fmla="*/ 852714 h 1543391"/>
                    <a:gd name="connsiteX28" fmla="*/ 16002 w 1542756"/>
                    <a:gd name="connsiteY28" fmla="*/ 862694 h 1543391"/>
                    <a:gd name="connsiteX29" fmla="*/ 0 w 1542756"/>
                    <a:gd name="connsiteY29" fmla="*/ 841219 h 1543391"/>
                    <a:gd name="connsiteX30" fmla="*/ 0 w 1542756"/>
                    <a:gd name="connsiteY30" fmla="*/ 330541 h 1543391"/>
                    <a:gd name="connsiteX31" fmla="*/ 510238 w 1542756"/>
                    <a:gd name="connsiteY31" fmla="*/ 330541 h 1543391"/>
                    <a:gd name="connsiteX32" fmla="*/ 530889 w 1542756"/>
                    <a:gd name="connsiteY32" fmla="*/ 315713 h 1543391"/>
                    <a:gd name="connsiteX33" fmla="*/ 519475 w 1542756"/>
                    <a:gd name="connsiteY33" fmla="*/ 245864 h 1543391"/>
                    <a:gd name="connsiteX34" fmla="*/ 453037 w 1542756"/>
                    <a:gd name="connsiteY34" fmla="*/ 134410 h 1543391"/>
                    <a:gd name="connsiteX35" fmla="*/ 603727 w 1542756"/>
                    <a:gd name="connsiteY35"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522614 w 1542756"/>
                    <a:gd name="connsiteY16" fmla="*/ 1456051 h 1543391"/>
                    <a:gd name="connsiteX17" fmla="*/ 530889 w 1542756"/>
                    <a:gd name="connsiteY17" fmla="*/ 1529038 h 1543391"/>
                    <a:gd name="connsiteX18" fmla="*/ 510900 w 1542756"/>
                    <a:gd name="connsiteY18" fmla="*/ 1543391 h 1543391"/>
                    <a:gd name="connsiteX19" fmla="*/ 0 w 1542756"/>
                    <a:gd name="connsiteY19" fmla="*/ 1543391 h 1543391"/>
                    <a:gd name="connsiteX20" fmla="*/ 0 w 1542756"/>
                    <a:gd name="connsiteY20" fmla="*/ 1030456 h 1543391"/>
                    <a:gd name="connsiteX21" fmla="*/ 14829 w 1542756"/>
                    <a:gd name="connsiteY21" fmla="*/ 1009804 h 1543391"/>
                    <a:gd name="connsiteX22" fmla="*/ 84678 w 1542756"/>
                    <a:gd name="connsiteY22" fmla="*/ 1021218 h 1543391"/>
                    <a:gd name="connsiteX23" fmla="*/ 196131 w 1542756"/>
                    <a:gd name="connsiteY23" fmla="*/ 1087656 h 1543391"/>
                    <a:gd name="connsiteX24" fmla="*/ 330541 w 1542756"/>
                    <a:gd name="connsiteY24" fmla="*/ 936966 h 1543391"/>
                    <a:gd name="connsiteX25" fmla="*/ 196131 w 1542756"/>
                    <a:gd name="connsiteY25" fmla="*/ 786276 h 1543391"/>
                    <a:gd name="connsiteX26" fmla="*/ 84678 w 1542756"/>
                    <a:gd name="connsiteY26" fmla="*/ 852714 h 1543391"/>
                    <a:gd name="connsiteX27" fmla="*/ 16002 w 1542756"/>
                    <a:gd name="connsiteY27" fmla="*/ 862694 h 1543391"/>
                    <a:gd name="connsiteX28" fmla="*/ 0 w 1542756"/>
                    <a:gd name="connsiteY28" fmla="*/ 841219 h 1543391"/>
                    <a:gd name="connsiteX29" fmla="*/ 0 w 1542756"/>
                    <a:gd name="connsiteY29" fmla="*/ 330541 h 1543391"/>
                    <a:gd name="connsiteX30" fmla="*/ 510238 w 1542756"/>
                    <a:gd name="connsiteY30" fmla="*/ 330541 h 1543391"/>
                    <a:gd name="connsiteX31" fmla="*/ 530889 w 1542756"/>
                    <a:gd name="connsiteY31" fmla="*/ 315713 h 1543391"/>
                    <a:gd name="connsiteX32" fmla="*/ 519475 w 1542756"/>
                    <a:gd name="connsiteY32" fmla="*/ 245864 h 1543391"/>
                    <a:gd name="connsiteX33" fmla="*/ 453037 w 1542756"/>
                    <a:gd name="connsiteY33" fmla="*/ 134410 h 1543391"/>
                    <a:gd name="connsiteX34" fmla="*/ 603727 w 1542756"/>
                    <a:gd name="connsiteY34"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530889 w 1542756"/>
                    <a:gd name="connsiteY16" fmla="*/ 1529038 h 1543391"/>
                    <a:gd name="connsiteX17" fmla="*/ 510900 w 1542756"/>
                    <a:gd name="connsiteY17" fmla="*/ 1543391 h 1543391"/>
                    <a:gd name="connsiteX18" fmla="*/ 0 w 1542756"/>
                    <a:gd name="connsiteY18" fmla="*/ 1543391 h 1543391"/>
                    <a:gd name="connsiteX19" fmla="*/ 0 w 1542756"/>
                    <a:gd name="connsiteY19" fmla="*/ 1030456 h 1543391"/>
                    <a:gd name="connsiteX20" fmla="*/ 14829 w 1542756"/>
                    <a:gd name="connsiteY20" fmla="*/ 1009804 h 1543391"/>
                    <a:gd name="connsiteX21" fmla="*/ 84678 w 1542756"/>
                    <a:gd name="connsiteY21" fmla="*/ 1021218 h 1543391"/>
                    <a:gd name="connsiteX22" fmla="*/ 196131 w 1542756"/>
                    <a:gd name="connsiteY22" fmla="*/ 1087656 h 1543391"/>
                    <a:gd name="connsiteX23" fmla="*/ 330541 w 1542756"/>
                    <a:gd name="connsiteY23" fmla="*/ 936966 h 1543391"/>
                    <a:gd name="connsiteX24" fmla="*/ 196131 w 1542756"/>
                    <a:gd name="connsiteY24" fmla="*/ 786276 h 1543391"/>
                    <a:gd name="connsiteX25" fmla="*/ 84678 w 1542756"/>
                    <a:gd name="connsiteY25" fmla="*/ 852714 h 1543391"/>
                    <a:gd name="connsiteX26" fmla="*/ 16002 w 1542756"/>
                    <a:gd name="connsiteY26" fmla="*/ 862694 h 1543391"/>
                    <a:gd name="connsiteX27" fmla="*/ 0 w 1542756"/>
                    <a:gd name="connsiteY27" fmla="*/ 841219 h 1543391"/>
                    <a:gd name="connsiteX28" fmla="*/ 0 w 1542756"/>
                    <a:gd name="connsiteY28" fmla="*/ 330541 h 1543391"/>
                    <a:gd name="connsiteX29" fmla="*/ 510238 w 1542756"/>
                    <a:gd name="connsiteY29" fmla="*/ 330541 h 1543391"/>
                    <a:gd name="connsiteX30" fmla="*/ 530889 w 1542756"/>
                    <a:gd name="connsiteY30" fmla="*/ 315713 h 1543391"/>
                    <a:gd name="connsiteX31" fmla="*/ 519475 w 1542756"/>
                    <a:gd name="connsiteY31" fmla="*/ 245864 h 1543391"/>
                    <a:gd name="connsiteX32" fmla="*/ 453037 w 1542756"/>
                    <a:gd name="connsiteY32" fmla="*/ 134410 h 1543391"/>
                    <a:gd name="connsiteX33" fmla="*/ 603727 w 1542756"/>
                    <a:gd name="connsiteY33"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559435 w 1542756"/>
                    <a:gd name="connsiteY16" fmla="*/ 1537979 h 1543391"/>
                    <a:gd name="connsiteX17" fmla="*/ 530889 w 1542756"/>
                    <a:gd name="connsiteY17" fmla="*/ 1529038 h 1543391"/>
                    <a:gd name="connsiteX18" fmla="*/ 510900 w 1542756"/>
                    <a:gd name="connsiteY18" fmla="*/ 1543391 h 1543391"/>
                    <a:gd name="connsiteX19" fmla="*/ 0 w 1542756"/>
                    <a:gd name="connsiteY19" fmla="*/ 1543391 h 1543391"/>
                    <a:gd name="connsiteX20" fmla="*/ 0 w 1542756"/>
                    <a:gd name="connsiteY20" fmla="*/ 1030456 h 1543391"/>
                    <a:gd name="connsiteX21" fmla="*/ 14829 w 1542756"/>
                    <a:gd name="connsiteY21" fmla="*/ 1009804 h 1543391"/>
                    <a:gd name="connsiteX22" fmla="*/ 84678 w 1542756"/>
                    <a:gd name="connsiteY22" fmla="*/ 1021218 h 1543391"/>
                    <a:gd name="connsiteX23" fmla="*/ 196131 w 1542756"/>
                    <a:gd name="connsiteY23" fmla="*/ 1087656 h 1543391"/>
                    <a:gd name="connsiteX24" fmla="*/ 330541 w 1542756"/>
                    <a:gd name="connsiteY24" fmla="*/ 936966 h 1543391"/>
                    <a:gd name="connsiteX25" fmla="*/ 196131 w 1542756"/>
                    <a:gd name="connsiteY25" fmla="*/ 786276 h 1543391"/>
                    <a:gd name="connsiteX26" fmla="*/ 84678 w 1542756"/>
                    <a:gd name="connsiteY26" fmla="*/ 852714 h 1543391"/>
                    <a:gd name="connsiteX27" fmla="*/ 16002 w 1542756"/>
                    <a:gd name="connsiteY27" fmla="*/ 862694 h 1543391"/>
                    <a:gd name="connsiteX28" fmla="*/ 0 w 1542756"/>
                    <a:gd name="connsiteY28" fmla="*/ 841219 h 1543391"/>
                    <a:gd name="connsiteX29" fmla="*/ 0 w 1542756"/>
                    <a:gd name="connsiteY29" fmla="*/ 330541 h 1543391"/>
                    <a:gd name="connsiteX30" fmla="*/ 510238 w 1542756"/>
                    <a:gd name="connsiteY30" fmla="*/ 330541 h 1543391"/>
                    <a:gd name="connsiteX31" fmla="*/ 530889 w 1542756"/>
                    <a:gd name="connsiteY31" fmla="*/ 315713 h 1543391"/>
                    <a:gd name="connsiteX32" fmla="*/ 519475 w 1542756"/>
                    <a:gd name="connsiteY32" fmla="*/ 245864 h 1543391"/>
                    <a:gd name="connsiteX33" fmla="*/ 453037 w 1542756"/>
                    <a:gd name="connsiteY33" fmla="*/ 134410 h 1543391"/>
                    <a:gd name="connsiteX34" fmla="*/ 603727 w 1542756"/>
                    <a:gd name="connsiteY34"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530889 w 1542756"/>
                    <a:gd name="connsiteY16" fmla="*/ 1529038 h 1543391"/>
                    <a:gd name="connsiteX17" fmla="*/ 510900 w 1542756"/>
                    <a:gd name="connsiteY17" fmla="*/ 1543391 h 1543391"/>
                    <a:gd name="connsiteX18" fmla="*/ 0 w 1542756"/>
                    <a:gd name="connsiteY18" fmla="*/ 1543391 h 1543391"/>
                    <a:gd name="connsiteX19" fmla="*/ 0 w 1542756"/>
                    <a:gd name="connsiteY19" fmla="*/ 1030456 h 1543391"/>
                    <a:gd name="connsiteX20" fmla="*/ 14829 w 1542756"/>
                    <a:gd name="connsiteY20" fmla="*/ 1009804 h 1543391"/>
                    <a:gd name="connsiteX21" fmla="*/ 84678 w 1542756"/>
                    <a:gd name="connsiteY21" fmla="*/ 1021218 h 1543391"/>
                    <a:gd name="connsiteX22" fmla="*/ 196131 w 1542756"/>
                    <a:gd name="connsiteY22" fmla="*/ 1087656 h 1543391"/>
                    <a:gd name="connsiteX23" fmla="*/ 330541 w 1542756"/>
                    <a:gd name="connsiteY23" fmla="*/ 936966 h 1543391"/>
                    <a:gd name="connsiteX24" fmla="*/ 196131 w 1542756"/>
                    <a:gd name="connsiteY24" fmla="*/ 786276 h 1543391"/>
                    <a:gd name="connsiteX25" fmla="*/ 84678 w 1542756"/>
                    <a:gd name="connsiteY25" fmla="*/ 852714 h 1543391"/>
                    <a:gd name="connsiteX26" fmla="*/ 16002 w 1542756"/>
                    <a:gd name="connsiteY26" fmla="*/ 862694 h 1543391"/>
                    <a:gd name="connsiteX27" fmla="*/ 0 w 1542756"/>
                    <a:gd name="connsiteY27" fmla="*/ 841219 h 1543391"/>
                    <a:gd name="connsiteX28" fmla="*/ 0 w 1542756"/>
                    <a:gd name="connsiteY28" fmla="*/ 330541 h 1543391"/>
                    <a:gd name="connsiteX29" fmla="*/ 510238 w 1542756"/>
                    <a:gd name="connsiteY29" fmla="*/ 330541 h 1543391"/>
                    <a:gd name="connsiteX30" fmla="*/ 530889 w 1542756"/>
                    <a:gd name="connsiteY30" fmla="*/ 315713 h 1543391"/>
                    <a:gd name="connsiteX31" fmla="*/ 519475 w 1542756"/>
                    <a:gd name="connsiteY31" fmla="*/ 245864 h 1543391"/>
                    <a:gd name="connsiteX32" fmla="*/ 453037 w 1542756"/>
                    <a:gd name="connsiteY32" fmla="*/ 134410 h 1543391"/>
                    <a:gd name="connsiteX33" fmla="*/ 603727 w 1542756"/>
                    <a:gd name="connsiteY33"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530889 w 1542756"/>
                    <a:gd name="connsiteY16" fmla="*/ 1529038 h 1543391"/>
                    <a:gd name="connsiteX17" fmla="*/ 0 w 1542756"/>
                    <a:gd name="connsiteY17" fmla="*/ 1543391 h 1543391"/>
                    <a:gd name="connsiteX18" fmla="*/ 0 w 1542756"/>
                    <a:gd name="connsiteY18" fmla="*/ 1030456 h 1543391"/>
                    <a:gd name="connsiteX19" fmla="*/ 14829 w 1542756"/>
                    <a:gd name="connsiteY19" fmla="*/ 1009804 h 1543391"/>
                    <a:gd name="connsiteX20" fmla="*/ 84678 w 1542756"/>
                    <a:gd name="connsiteY20" fmla="*/ 1021218 h 1543391"/>
                    <a:gd name="connsiteX21" fmla="*/ 196131 w 1542756"/>
                    <a:gd name="connsiteY21" fmla="*/ 1087656 h 1543391"/>
                    <a:gd name="connsiteX22" fmla="*/ 330541 w 1542756"/>
                    <a:gd name="connsiteY22" fmla="*/ 936966 h 1543391"/>
                    <a:gd name="connsiteX23" fmla="*/ 196131 w 1542756"/>
                    <a:gd name="connsiteY23" fmla="*/ 786276 h 1543391"/>
                    <a:gd name="connsiteX24" fmla="*/ 84678 w 1542756"/>
                    <a:gd name="connsiteY24" fmla="*/ 852714 h 1543391"/>
                    <a:gd name="connsiteX25" fmla="*/ 16002 w 1542756"/>
                    <a:gd name="connsiteY25" fmla="*/ 862694 h 1543391"/>
                    <a:gd name="connsiteX26" fmla="*/ 0 w 1542756"/>
                    <a:gd name="connsiteY26" fmla="*/ 841219 h 1543391"/>
                    <a:gd name="connsiteX27" fmla="*/ 0 w 1542756"/>
                    <a:gd name="connsiteY27" fmla="*/ 330541 h 1543391"/>
                    <a:gd name="connsiteX28" fmla="*/ 510238 w 1542756"/>
                    <a:gd name="connsiteY28" fmla="*/ 330541 h 1543391"/>
                    <a:gd name="connsiteX29" fmla="*/ 530889 w 1542756"/>
                    <a:gd name="connsiteY29" fmla="*/ 315713 h 1543391"/>
                    <a:gd name="connsiteX30" fmla="*/ 519475 w 1542756"/>
                    <a:gd name="connsiteY30" fmla="*/ 245864 h 1543391"/>
                    <a:gd name="connsiteX31" fmla="*/ 453037 w 1542756"/>
                    <a:gd name="connsiteY31" fmla="*/ 134410 h 1543391"/>
                    <a:gd name="connsiteX32" fmla="*/ 603727 w 1542756"/>
                    <a:gd name="connsiteY32"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4678 w 1542756"/>
                    <a:gd name="connsiteY19" fmla="*/ 1021218 h 1543391"/>
                    <a:gd name="connsiteX20" fmla="*/ 196131 w 1542756"/>
                    <a:gd name="connsiteY20" fmla="*/ 1087656 h 1543391"/>
                    <a:gd name="connsiteX21" fmla="*/ 330541 w 1542756"/>
                    <a:gd name="connsiteY21" fmla="*/ 936966 h 1543391"/>
                    <a:gd name="connsiteX22" fmla="*/ 196131 w 1542756"/>
                    <a:gd name="connsiteY22" fmla="*/ 786276 h 1543391"/>
                    <a:gd name="connsiteX23" fmla="*/ 84678 w 1542756"/>
                    <a:gd name="connsiteY23" fmla="*/ 852714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61952" y="786276"/>
                        <a:pt x="1408346" y="786276"/>
                      </a:cubicBezTo>
                      <a:cubicBezTo>
                        <a:pt x="1482579" y="786276"/>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0" y="1543391"/>
                      </a:lnTo>
                      <a:lnTo>
                        <a:pt x="0" y="1030456"/>
                      </a:lnTo>
                      <a:lnTo>
                        <a:pt x="14829" y="1009804"/>
                      </a:lnTo>
                      <a:cubicBezTo>
                        <a:pt x="35799" y="993403"/>
                        <a:pt x="62624" y="1003513"/>
                        <a:pt x="84678" y="1021218"/>
                      </a:cubicBezTo>
                      <a:cubicBezTo>
                        <a:pt x="108831" y="1061302"/>
                        <a:pt x="149737" y="1087656"/>
                        <a:pt x="196131" y="1087656"/>
                      </a:cubicBezTo>
                      <a:cubicBezTo>
                        <a:pt x="270364" y="1087656"/>
                        <a:pt x="330541" y="1020190"/>
                        <a:pt x="330541" y="936966"/>
                      </a:cubicBezTo>
                      <a:cubicBezTo>
                        <a:pt x="330541" y="853743"/>
                        <a:pt x="270364" y="786276"/>
                        <a:pt x="196131" y="786276"/>
                      </a:cubicBezTo>
                      <a:cubicBezTo>
                        <a:pt x="149737" y="786276"/>
                        <a:pt x="108831" y="812631"/>
                        <a:pt x="84678" y="852714"/>
                      </a:cubicBezTo>
                      <a:cubicBezTo>
                        <a:pt x="63967" y="867764"/>
                        <a:pt x="36912" y="878058"/>
                        <a:pt x="16002" y="862694"/>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82AB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1" name="Freeform 70"/>
                <p:cNvSpPr/>
                <p:nvPr/>
              </p:nvSpPr>
              <p:spPr>
                <a:xfrm>
                  <a:off x="6221335" y="5384524"/>
                  <a:ext cx="280819" cy="119207"/>
                </a:xfrm>
                <a:custGeom>
                  <a:avLst/>
                  <a:gdLst>
                    <a:gd name="connsiteX0" fmla="*/ 1510691 w 5171268"/>
                    <a:gd name="connsiteY0" fmla="*/ 752815 h 2173487"/>
                    <a:gd name="connsiteX1" fmla="*/ 3660578 w 5171268"/>
                    <a:gd name="connsiteY1" fmla="*/ 752815 h 2173487"/>
                    <a:gd name="connsiteX2" fmla="*/ 3660578 w 5171268"/>
                    <a:gd name="connsiteY2" fmla="*/ 1308992 h 2173487"/>
                    <a:gd name="connsiteX3" fmla="*/ 1510691 w 5171268"/>
                    <a:gd name="connsiteY3" fmla="*/ 1308992 h 2173487"/>
                    <a:gd name="connsiteX4" fmla="*/ 3513466 w 5171268"/>
                    <a:gd name="connsiteY4" fmla="*/ 0 h 2173487"/>
                    <a:gd name="connsiteX5" fmla="*/ 4489174 w 5171268"/>
                    <a:gd name="connsiteY5" fmla="*/ 1599 h 2173487"/>
                    <a:gd name="connsiteX6" fmla="*/ 5171268 w 5171268"/>
                    <a:gd name="connsiteY6" fmla="*/ 720864 h 2173487"/>
                    <a:gd name="connsiteX7" fmla="*/ 5148965 w 5171268"/>
                    <a:gd name="connsiteY7" fmla="*/ 1417433 h 2173487"/>
                    <a:gd name="connsiteX8" fmla="*/ 4456796 w 5171268"/>
                    <a:gd name="connsiteY8" fmla="*/ 2156947 h 2173487"/>
                    <a:gd name="connsiteX9" fmla="*/ 3412178 w 5171268"/>
                    <a:gd name="connsiteY9" fmla="*/ 2164079 h 2173487"/>
                    <a:gd name="connsiteX10" fmla="*/ 2759507 w 5171268"/>
                    <a:gd name="connsiteY10" fmla="*/ 1470336 h 2173487"/>
                    <a:gd name="connsiteX11" fmla="*/ 2751777 w 5171268"/>
                    <a:gd name="connsiteY11" fmla="*/ 1410882 h 2173487"/>
                    <a:gd name="connsiteX12" fmla="*/ 2916325 w 5171268"/>
                    <a:gd name="connsiteY12" fmla="*/ 1410882 h 2173487"/>
                    <a:gd name="connsiteX13" fmla="*/ 3199960 w 5171268"/>
                    <a:gd name="connsiteY13" fmla="*/ 1410882 h 2173487"/>
                    <a:gd name="connsiteX14" fmla="*/ 3271194 w 5171268"/>
                    <a:gd name="connsiteY14" fmla="*/ 1472322 h 2173487"/>
                    <a:gd name="connsiteX15" fmla="*/ 3520525 w 5171268"/>
                    <a:gd name="connsiteY15" fmla="*/ 1668136 h 2173487"/>
                    <a:gd name="connsiteX16" fmla="*/ 4465246 w 5171268"/>
                    <a:gd name="connsiteY16" fmla="*/ 1668752 h 2173487"/>
                    <a:gd name="connsiteX17" fmla="*/ 4445871 w 5171268"/>
                    <a:gd name="connsiteY17" fmla="*/ 507063 h 2173487"/>
                    <a:gd name="connsiteX18" fmla="*/ 3462468 w 5171268"/>
                    <a:gd name="connsiteY18" fmla="*/ 506447 h 2173487"/>
                    <a:gd name="connsiteX19" fmla="*/ 3251407 w 5171268"/>
                    <a:gd name="connsiteY19" fmla="*/ 613984 h 2173487"/>
                    <a:gd name="connsiteX20" fmla="*/ 3190942 w 5171268"/>
                    <a:gd name="connsiteY20" fmla="*/ 646299 h 2173487"/>
                    <a:gd name="connsiteX21" fmla="*/ 2916325 w 5171268"/>
                    <a:gd name="connsiteY21" fmla="*/ 646299 h 2173487"/>
                    <a:gd name="connsiteX22" fmla="*/ 2779457 w 5171268"/>
                    <a:gd name="connsiteY22" fmla="*/ 646299 h 2173487"/>
                    <a:gd name="connsiteX23" fmla="*/ 2788042 w 5171268"/>
                    <a:gd name="connsiteY23" fmla="*/ 610106 h 2173487"/>
                    <a:gd name="connsiteX24" fmla="*/ 3513466 w 5171268"/>
                    <a:gd name="connsiteY24" fmla="*/ 0 h 2173487"/>
                    <a:gd name="connsiteX25" fmla="*/ 779543 w 5171268"/>
                    <a:gd name="connsiteY25" fmla="*/ 0 h 2173487"/>
                    <a:gd name="connsiteX26" fmla="*/ 1755251 w 5171268"/>
                    <a:gd name="connsiteY26" fmla="*/ 1599 h 2173487"/>
                    <a:gd name="connsiteX27" fmla="*/ 2424812 w 5171268"/>
                    <a:gd name="connsiteY27" fmla="*/ 568235 h 2173487"/>
                    <a:gd name="connsiteX28" fmla="*/ 2431222 w 5171268"/>
                    <a:gd name="connsiteY28" fmla="*/ 646299 h 2173487"/>
                    <a:gd name="connsiteX29" fmla="*/ 2299265 w 5171268"/>
                    <a:gd name="connsiteY29" fmla="*/ 646299 h 2173487"/>
                    <a:gd name="connsiteX30" fmla="*/ 2024648 w 5171268"/>
                    <a:gd name="connsiteY30" fmla="*/ 646299 h 2173487"/>
                    <a:gd name="connsiteX31" fmla="*/ 1964183 w 5171268"/>
                    <a:gd name="connsiteY31" fmla="*/ 613984 h 2173487"/>
                    <a:gd name="connsiteX32" fmla="*/ 1753122 w 5171268"/>
                    <a:gd name="connsiteY32" fmla="*/ 506447 h 2173487"/>
                    <a:gd name="connsiteX33" fmla="*/ 769719 w 5171268"/>
                    <a:gd name="connsiteY33" fmla="*/ 507063 h 2173487"/>
                    <a:gd name="connsiteX34" fmla="*/ 750344 w 5171268"/>
                    <a:gd name="connsiteY34" fmla="*/ 1668752 h 2173487"/>
                    <a:gd name="connsiteX35" fmla="*/ 1695065 w 5171268"/>
                    <a:gd name="connsiteY35" fmla="*/ 1668136 h 2173487"/>
                    <a:gd name="connsiteX36" fmla="*/ 1944396 w 5171268"/>
                    <a:gd name="connsiteY36" fmla="*/ 1472322 h 2173487"/>
                    <a:gd name="connsiteX37" fmla="*/ 2015630 w 5171268"/>
                    <a:gd name="connsiteY37" fmla="*/ 1410882 h 2173487"/>
                    <a:gd name="connsiteX38" fmla="*/ 2299265 w 5171268"/>
                    <a:gd name="connsiteY38" fmla="*/ 1410882 h 2173487"/>
                    <a:gd name="connsiteX39" fmla="*/ 2415252 w 5171268"/>
                    <a:gd name="connsiteY39" fmla="*/ 1410882 h 2173487"/>
                    <a:gd name="connsiteX40" fmla="*/ 2415042 w 5171268"/>
                    <a:gd name="connsiteY40" fmla="*/ 1417433 h 2173487"/>
                    <a:gd name="connsiteX41" fmla="*/ 1722873 w 5171268"/>
                    <a:gd name="connsiteY41" fmla="*/ 2156947 h 2173487"/>
                    <a:gd name="connsiteX42" fmla="*/ 678255 w 5171268"/>
                    <a:gd name="connsiteY42" fmla="*/ 2164079 h 2173487"/>
                    <a:gd name="connsiteX43" fmla="*/ 4621 w 5171268"/>
                    <a:gd name="connsiteY43" fmla="*/ 1112947 h 2173487"/>
                    <a:gd name="connsiteX44" fmla="*/ 779543 w 5171268"/>
                    <a:gd name="connsiteY44" fmla="*/ 0 h 2173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171268" h="2173487">
                      <a:moveTo>
                        <a:pt x="1510691" y="752815"/>
                      </a:moveTo>
                      <a:lnTo>
                        <a:pt x="3660578" y="752815"/>
                      </a:lnTo>
                      <a:lnTo>
                        <a:pt x="3660578" y="1308992"/>
                      </a:lnTo>
                      <a:lnTo>
                        <a:pt x="1510691" y="1308992"/>
                      </a:lnTo>
                      <a:close/>
                      <a:moveTo>
                        <a:pt x="3513466" y="0"/>
                      </a:moveTo>
                      <a:lnTo>
                        <a:pt x="4489174" y="1599"/>
                      </a:lnTo>
                      <a:cubicBezTo>
                        <a:pt x="4950222" y="-6816"/>
                        <a:pt x="5163834" y="298104"/>
                        <a:pt x="5171268" y="720864"/>
                      </a:cubicBezTo>
                      <a:lnTo>
                        <a:pt x="5148965" y="1417433"/>
                      </a:lnTo>
                      <a:cubicBezTo>
                        <a:pt x="5093209" y="1843911"/>
                        <a:pt x="4834951" y="2127210"/>
                        <a:pt x="4456796" y="2156947"/>
                      </a:cubicBezTo>
                      <a:cubicBezTo>
                        <a:pt x="4129946" y="2178921"/>
                        <a:pt x="3792533" y="2176538"/>
                        <a:pt x="3412178" y="2164079"/>
                      </a:cubicBezTo>
                      <a:cubicBezTo>
                        <a:pt x="3056246" y="2156292"/>
                        <a:pt x="2831886" y="1828403"/>
                        <a:pt x="2759507" y="1470336"/>
                      </a:cubicBezTo>
                      <a:lnTo>
                        <a:pt x="2751777" y="1410882"/>
                      </a:lnTo>
                      <a:lnTo>
                        <a:pt x="2916325" y="1410882"/>
                      </a:lnTo>
                      <a:lnTo>
                        <a:pt x="3199960" y="1410882"/>
                      </a:lnTo>
                      <a:lnTo>
                        <a:pt x="3271194" y="1472322"/>
                      </a:lnTo>
                      <a:cubicBezTo>
                        <a:pt x="3364030" y="1551340"/>
                        <a:pt x="3470261" y="1638200"/>
                        <a:pt x="3520525" y="1668136"/>
                      </a:cubicBezTo>
                      <a:lnTo>
                        <a:pt x="4465246" y="1668752"/>
                      </a:lnTo>
                      <a:cubicBezTo>
                        <a:pt x="4883169" y="1412151"/>
                        <a:pt x="4731179" y="522399"/>
                        <a:pt x="4445871" y="507063"/>
                      </a:cubicBezTo>
                      <a:lnTo>
                        <a:pt x="3462468" y="506447"/>
                      </a:lnTo>
                      <a:cubicBezTo>
                        <a:pt x="3412204" y="539103"/>
                        <a:pt x="3324343" y="577659"/>
                        <a:pt x="3251407" y="613984"/>
                      </a:cubicBezTo>
                      <a:lnTo>
                        <a:pt x="3190942" y="646299"/>
                      </a:lnTo>
                      <a:lnTo>
                        <a:pt x="2916325" y="646299"/>
                      </a:lnTo>
                      <a:lnTo>
                        <a:pt x="2779457" y="646299"/>
                      </a:lnTo>
                      <a:lnTo>
                        <a:pt x="2788042" y="610106"/>
                      </a:lnTo>
                      <a:cubicBezTo>
                        <a:pt x="2908120" y="193095"/>
                        <a:pt x="3217435" y="22614"/>
                        <a:pt x="3513466" y="0"/>
                      </a:cubicBezTo>
                      <a:close/>
                      <a:moveTo>
                        <a:pt x="779543" y="0"/>
                      </a:moveTo>
                      <a:lnTo>
                        <a:pt x="1755251" y="1599"/>
                      </a:lnTo>
                      <a:cubicBezTo>
                        <a:pt x="2158668" y="-5764"/>
                        <a:pt x="2372642" y="226770"/>
                        <a:pt x="2424812" y="568235"/>
                      </a:cubicBezTo>
                      <a:lnTo>
                        <a:pt x="2431222" y="646299"/>
                      </a:lnTo>
                      <a:lnTo>
                        <a:pt x="2299265" y="646299"/>
                      </a:lnTo>
                      <a:lnTo>
                        <a:pt x="2024648" y="646299"/>
                      </a:lnTo>
                      <a:lnTo>
                        <a:pt x="1964183" y="613984"/>
                      </a:lnTo>
                      <a:cubicBezTo>
                        <a:pt x="1891247" y="577659"/>
                        <a:pt x="1803386" y="539103"/>
                        <a:pt x="1753122" y="506447"/>
                      </a:cubicBezTo>
                      <a:lnTo>
                        <a:pt x="769719" y="507063"/>
                      </a:lnTo>
                      <a:cubicBezTo>
                        <a:pt x="484411" y="522399"/>
                        <a:pt x="332421" y="1412151"/>
                        <a:pt x="750344" y="1668752"/>
                      </a:cubicBezTo>
                      <a:lnTo>
                        <a:pt x="1695065" y="1668136"/>
                      </a:lnTo>
                      <a:cubicBezTo>
                        <a:pt x="1745329" y="1638200"/>
                        <a:pt x="1851560" y="1551340"/>
                        <a:pt x="1944396" y="1472322"/>
                      </a:cubicBezTo>
                      <a:lnTo>
                        <a:pt x="2015630" y="1410882"/>
                      </a:lnTo>
                      <a:lnTo>
                        <a:pt x="2299265" y="1410882"/>
                      </a:lnTo>
                      <a:lnTo>
                        <a:pt x="2415252" y="1410882"/>
                      </a:lnTo>
                      <a:lnTo>
                        <a:pt x="2415042" y="1417433"/>
                      </a:lnTo>
                      <a:cubicBezTo>
                        <a:pt x="2359286" y="1843911"/>
                        <a:pt x="2101028" y="2127210"/>
                        <a:pt x="1722873" y="2156947"/>
                      </a:cubicBezTo>
                      <a:cubicBezTo>
                        <a:pt x="1396023" y="2178921"/>
                        <a:pt x="1058610" y="2176538"/>
                        <a:pt x="678255" y="2164079"/>
                      </a:cubicBezTo>
                      <a:cubicBezTo>
                        <a:pt x="203679" y="2153696"/>
                        <a:pt x="-36992" y="1574243"/>
                        <a:pt x="4621" y="1112947"/>
                      </a:cubicBezTo>
                      <a:cubicBezTo>
                        <a:pt x="-33489" y="323179"/>
                        <a:pt x="384835" y="30152"/>
                        <a:pt x="779543" y="0"/>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grpSp>
          <p:nvGrpSpPr>
            <p:cNvPr id="9" name="Group 8"/>
            <p:cNvGrpSpPr/>
            <p:nvPr/>
          </p:nvGrpSpPr>
          <p:grpSpPr>
            <a:xfrm>
              <a:off x="1395856" y="1983581"/>
              <a:ext cx="1134068" cy="2352084"/>
              <a:chOff x="1395856" y="1983581"/>
              <a:chExt cx="1134068" cy="2352084"/>
            </a:xfrm>
          </p:grpSpPr>
          <p:grpSp>
            <p:nvGrpSpPr>
              <p:cNvPr id="58" name="Group 57"/>
              <p:cNvGrpSpPr/>
              <p:nvPr/>
            </p:nvGrpSpPr>
            <p:grpSpPr>
              <a:xfrm>
                <a:off x="1432051" y="2882425"/>
                <a:ext cx="1097873" cy="1453240"/>
                <a:chOff x="5729762" y="4117604"/>
                <a:chExt cx="1303835" cy="1725874"/>
              </a:xfrm>
              <a:solidFill>
                <a:srgbClr val="404040"/>
              </a:solidFill>
            </p:grpSpPr>
            <p:sp>
              <p:nvSpPr>
                <p:cNvPr id="66" name="Freeform 65"/>
                <p:cNvSpPr/>
                <p:nvPr/>
              </p:nvSpPr>
              <p:spPr>
                <a:xfrm rot="1612993" flipH="1">
                  <a:off x="5729762" y="4117604"/>
                  <a:ext cx="1303835" cy="1725874"/>
                </a:xfrm>
                <a:custGeom>
                  <a:avLst/>
                  <a:gdLst>
                    <a:gd name="connsiteX0" fmla="*/ 1263089 w 1293117"/>
                    <a:gd name="connsiteY0" fmla="*/ 347587 h 1683095"/>
                    <a:gd name="connsiteX1" fmla="*/ 1198588 w 1293117"/>
                    <a:gd name="connsiteY1" fmla="*/ 343047 h 1683095"/>
                    <a:gd name="connsiteX2" fmla="*/ 911711 w 1293117"/>
                    <a:gd name="connsiteY2" fmla="*/ 532050 h 1683095"/>
                    <a:gd name="connsiteX3" fmla="*/ 836272 w 1293117"/>
                    <a:gd name="connsiteY3" fmla="*/ 582436 h 1683095"/>
                    <a:gd name="connsiteX4" fmla="*/ 612672 w 1293117"/>
                    <a:gd name="connsiteY4" fmla="*/ 469080 h 1683095"/>
                    <a:gd name="connsiteX5" fmla="*/ 612672 w 1293117"/>
                    <a:gd name="connsiteY5" fmla="*/ 49656 h 1683095"/>
                    <a:gd name="connsiteX6" fmla="*/ 576644 w 1293117"/>
                    <a:gd name="connsiteY6" fmla="*/ 3902 h 1683095"/>
                    <a:gd name="connsiteX7" fmla="*/ 553684 w 1293117"/>
                    <a:gd name="connsiteY7" fmla="*/ 0 h 1683095"/>
                    <a:gd name="connsiteX8" fmla="*/ 494696 w 1293117"/>
                    <a:gd name="connsiteY8" fmla="*/ 49656 h 1683095"/>
                    <a:gd name="connsiteX9" fmla="*/ 491346 w 1293117"/>
                    <a:gd name="connsiteY9" fmla="*/ 294358 h 1683095"/>
                    <a:gd name="connsiteX10" fmla="*/ 488021 w 1293117"/>
                    <a:gd name="connsiteY10" fmla="*/ 537230 h 1683095"/>
                    <a:gd name="connsiteX11" fmla="*/ 1360 w 1293117"/>
                    <a:gd name="connsiteY11" fmla="*/ 1486707 h 1683095"/>
                    <a:gd name="connsiteX12" fmla="*/ 158890 w 1293117"/>
                    <a:gd name="connsiteY12" fmla="*/ 1572443 h 1683095"/>
                    <a:gd name="connsiteX13" fmla="*/ 413156 w 1293117"/>
                    <a:gd name="connsiteY13" fmla="*/ 1070896 h 1683095"/>
                    <a:gd name="connsiteX14" fmla="*/ 459678 w 1293117"/>
                    <a:gd name="connsiteY14" fmla="*/ 1094517 h 1683095"/>
                    <a:gd name="connsiteX15" fmla="*/ 204806 w 1293117"/>
                    <a:gd name="connsiteY15" fmla="*/ 1593079 h 1683095"/>
                    <a:gd name="connsiteX16" fmla="*/ 360994 w 1293117"/>
                    <a:gd name="connsiteY16" fmla="*/ 1673113 h 1683095"/>
                    <a:gd name="connsiteX17" fmla="*/ 713908 w 1293117"/>
                    <a:gd name="connsiteY17" fmla="*/ 963516 h 1683095"/>
                    <a:gd name="connsiteX18" fmla="*/ 829481 w 1293117"/>
                    <a:gd name="connsiteY18" fmla="*/ 732678 h 1683095"/>
                    <a:gd name="connsiteX19" fmla="*/ 830389 w 1293117"/>
                    <a:gd name="connsiteY19" fmla="*/ 737503 h 1683095"/>
                    <a:gd name="connsiteX20" fmla="*/ 1270597 w 1293117"/>
                    <a:gd name="connsiteY20" fmla="*/ 450876 h 1683095"/>
                    <a:gd name="connsiteX21" fmla="*/ 1280729 w 1293117"/>
                    <a:gd name="connsiteY21" fmla="*/ 366151 h 1683095"/>
                    <a:gd name="connsiteX22" fmla="*/ 1263089 w 1293117"/>
                    <a:gd name="connsiteY22" fmla="*/ 347587 h 1683095"/>
                    <a:gd name="connsiteX0" fmla="*/ 1263427 w 1293455"/>
                    <a:gd name="connsiteY0" fmla="*/ 347587 h 1683095"/>
                    <a:gd name="connsiteX1" fmla="*/ 1198926 w 1293455"/>
                    <a:gd name="connsiteY1" fmla="*/ 343047 h 1683095"/>
                    <a:gd name="connsiteX2" fmla="*/ 912049 w 1293455"/>
                    <a:gd name="connsiteY2" fmla="*/ 532050 h 1683095"/>
                    <a:gd name="connsiteX3" fmla="*/ 836610 w 1293455"/>
                    <a:gd name="connsiteY3" fmla="*/ 582436 h 1683095"/>
                    <a:gd name="connsiteX4" fmla="*/ 613010 w 1293455"/>
                    <a:gd name="connsiteY4" fmla="*/ 469080 h 1683095"/>
                    <a:gd name="connsiteX5" fmla="*/ 613010 w 1293455"/>
                    <a:gd name="connsiteY5" fmla="*/ 49656 h 1683095"/>
                    <a:gd name="connsiteX6" fmla="*/ 576982 w 1293455"/>
                    <a:gd name="connsiteY6" fmla="*/ 3902 h 1683095"/>
                    <a:gd name="connsiteX7" fmla="*/ 554022 w 1293455"/>
                    <a:gd name="connsiteY7" fmla="*/ 0 h 1683095"/>
                    <a:gd name="connsiteX8" fmla="*/ 495034 w 1293455"/>
                    <a:gd name="connsiteY8" fmla="*/ 49656 h 1683095"/>
                    <a:gd name="connsiteX9" fmla="*/ 491684 w 1293455"/>
                    <a:gd name="connsiteY9" fmla="*/ 294358 h 1683095"/>
                    <a:gd name="connsiteX10" fmla="*/ 488359 w 1293455"/>
                    <a:gd name="connsiteY10" fmla="*/ 537230 h 1683095"/>
                    <a:gd name="connsiteX11" fmla="*/ 1698 w 1293455"/>
                    <a:gd name="connsiteY11" fmla="*/ 1486707 h 1683095"/>
                    <a:gd name="connsiteX12" fmla="*/ 159228 w 1293455"/>
                    <a:gd name="connsiteY12" fmla="*/ 1572443 h 1683095"/>
                    <a:gd name="connsiteX13" fmla="*/ 413494 w 1293455"/>
                    <a:gd name="connsiteY13" fmla="*/ 1070896 h 1683095"/>
                    <a:gd name="connsiteX14" fmla="*/ 460016 w 1293455"/>
                    <a:gd name="connsiteY14" fmla="*/ 1094517 h 1683095"/>
                    <a:gd name="connsiteX15" fmla="*/ 205144 w 1293455"/>
                    <a:gd name="connsiteY15" fmla="*/ 1593079 h 1683095"/>
                    <a:gd name="connsiteX16" fmla="*/ 361332 w 1293455"/>
                    <a:gd name="connsiteY16" fmla="*/ 1673113 h 1683095"/>
                    <a:gd name="connsiteX17" fmla="*/ 714246 w 1293455"/>
                    <a:gd name="connsiteY17" fmla="*/ 963516 h 1683095"/>
                    <a:gd name="connsiteX18" fmla="*/ 829819 w 1293455"/>
                    <a:gd name="connsiteY18" fmla="*/ 732678 h 1683095"/>
                    <a:gd name="connsiteX19" fmla="*/ 830727 w 1293455"/>
                    <a:gd name="connsiteY19" fmla="*/ 737503 h 1683095"/>
                    <a:gd name="connsiteX20" fmla="*/ 1270935 w 1293455"/>
                    <a:gd name="connsiteY20" fmla="*/ 450876 h 1683095"/>
                    <a:gd name="connsiteX21" fmla="*/ 1281067 w 1293455"/>
                    <a:gd name="connsiteY21" fmla="*/ 366151 h 1683095"/>
                    <a:gd name="connsiteX22" fmla="*/ 1263427 w 1293455"/>
                    <a:gd name="connsiteY22" fmla="*/ 347587 h 1683095"/>
                    <a:gd name="connsiteX0" fmla="*/ 1272694 w 1302722"/>
                    <a:gd name="connsiteY0" fmla="*/ 347587 h 1683095"/>
                    <a:gd name="connsiteX1" fmla="*/ 1208193 w 1302722"/>
                    <a:gd name="connsiteY1" fmla="*/ 343047 h 1683095"/>
                    <a:gd name="connsiteX2" fmla="*/ 921316 w 1302722"/>
                    <a:gd name="connsiteY2" fmla="*/ 532050 h 1683095"/>
                    <a:gd name="connsiteX3" fmla="*/ 845877 w 1302722"/>
                    <a:gd name="connsiteY3" fmla="*/ 582436 h 1683095"/>
                    <a:gd name="connsiteX4" fmla="*/ 622277 w 1302722"/>
                    <a:gd name="connsiteY4" fmla="*/ 469080 h 1683095"/>
                    <a:gd name="connsiteX5" fmla="*/ 622277 w 1302722"/>
                    <a:gd name="connsiteY5" fmla="*/ 49656 h 1683095"/>
                    <a:gd name="connsiteX6" fmla="*/ 586249 w 1302722"/>
                    <a:gd name="connsiteY6" fmla="*/ 3902 h 1683095"/>
                    <a:gd name="connsiteX7" fmla="*/ 563289 w 1302722"/>
                    <a:gd name="connsiteY7" fmla="*/ 0 h 1683095"/>
                    <a:gd name="connsiteX8" fmla="*/ 504301 w 1302722"/>
                    <a:gd name="connsiteY8" fmla="*/ 49656 h 1683095"/>
                    <a:gd name="connsiteX9" fmla="*/ 500951 w 1302722"/>
                    <a:gd name="connsiteY9" fmla="*/ 294358 h 1683095"/>
                    <a:gd name="connsiteX10" fmla="*/ 497626 w 1302722"/>
                    <a:gd name="connsiteY10" fmla="*/ 537230 h 1683095"/>
                    <a:gd name="connsiteX11" fmla="*/ 10965 w 1302722"/>
                    <a:gd name="connsiteY11" fmla="*/ 1486707 h 1683095"/>
                    <a:gd name="connsiteX12" fmla="*/ 168495 w 1302722"/>
                    <a:gd name="connsiteY12" fmla="*/ 1572443 h 1683095"/>
                    <a:gd name="connsiteX13" fmla="*/ 422761 w 1302722"/>
                    <a:gd name="connsiteY13" fmla="*/ 1070896 h 1683095"/>
                    <a:gd name="connsiteX14" fmla="*/ 469283 w 1302722"/>
                    <a:gd name="connsiteY14" fmla="*/ 1094517 h 1683095"/>
                    <a:gd name="connsiteX15" fmla="*/ 214411 w 1302722"/>
                    <a:gd name="connsiteY15" fmla="*/ 1593079 h 1683095"/>
                    <a:gd name="connsiteX16" fmla="*/ 370599 w 1302722"/>
                    <a:gd name="connsiteY16" fmla="*/ 1673113 h 1683095"/>
                    <a:gd name="connsiteX17" fmla="*/ 723513 w 1302722"/>
                    <a:gd name="connsiteY17" fmla="*/ 963516 h 1683095"/>
                    <a:gd name="connsiteX18" fmla="*/ 839086 w 1302722"/>
                    <a:gd name="connsiteY18" fmla="*/ 732678 h 1683095"/>
                    <a:gd name="connsiteX19" fmla="*/ 839994 w 1302722"/>
                    <a:gd name="connsiteY19" fmla="*/ 737503 h 1683095"/>
                    <a:gd name="connsiteX20" fmla="*/ 1280202 w 1302722"/>
                    <a:gd name="connsiteY20" fmla="*/ 450876 h 1683095"/>
                    <a:gd name="connsiteX21" fmla="*/ 1290334 w 1302722"/>
                    <a:gd name="connsiteY21" fmla="*/ 366151 h 1683095"/>
                    <a:gd name="connsiteX22" fmla="*/ 1272694 w 1302722"/>
                    <a:gd name="connsiteY22" fmla="*/ 347587 h 1683095"/>
                    <a:gd name="connsiteX0" fmla="*/ 1271439 w 1301467"/>
                    <a:gd name="connsiteY0" fmla="*/ 347587 h 1683095"/>
                    <a:gd name="connsiteX1" fmla="*/ 1206938 w 1301467"/>
                    <a:gd name="connsiteY1" fmla="*/ 343047 h 1683095"/>
                    <a:gd name="connsiteX2" fmla="*/ 920061 w 1301467"/>
                    <a:gd name="connsiteY2" fmla="*/ 532050 h 1683095"/>
                    <a:gd name="connsiteX3" fmla="*/ 844622 w 1301467"/>
                    <a:gd name="connsiteY3" fmla="*/ 582436 h 1683095"/>
                    <a:gd name="connsiteX4" fmla="*/ 621022 w 1301467"/>
                    <a:gd name="connsiteY4" fmla="*/ 469080 h 1683095"/>
                    <a:gd name="connsiteX5" fmla="*/ 621022 w 1301467"/>
                    <a:gd name="connsiteY5" fmla="*/ 49656 h 1683095"/>
                    <a:gd name="connsiteX6" fmla="*/ 584994 w 1301467"/>
                    <a:gd name="connsiteY6" fmla="*/ 3902 h 1683095"/>
                    <a:gd name="connsiteX7" fmla="*/ 562034 w 1301467"/>
                    <a:gd name="connsiteY7" fmla="*/ 0 h 1683095"/>
                    <a:gd name="connsiteX8" fmla="*/ 503046 w 1301467"/>
                    <a:gd name="connsiteY8" fmla="*/ 49656 h 1683095"/>
                    <a:gd name="connsiteX9" fmla="*/ 499696 w 1301467"/>
                    <a:gd name="connsiteY9" fmla="*/ 294358 h 1683095"/>
                    <a:gd name="connsiteX10" fmla="*/ 496371 w 1301467"/>
                    <a:gd name="connsiteY10" fmla="*/ 537230 h 1683095"/>
                    <a:gd name="connsiteX11" fmla="*/ 9710 w 1301467"/>
                    <a:gd name="connsiteY11" fmla="*/ 1486707 h 1683095"/>
                    <a:gd name="connsiteX12" fmla="*/ 167240 w 1301467"/>
                    <a:gd name="connsiteY12" fmla="*/ 1572443 h 1683095"/>
                    <a:gd name="connsiteX13" fmla="*/ 421506 w 1301467"/>
                    <a:gd name="connsiteY13" fmla="*/ 1070896 h 1683095"/>
                    <a:gd name="connsiteX14" fmla="*/ 468028 w 1301467"/>
                    <a:gd name="connsiteY14" fmla="*/ 1094517 h 1683095"/>
                    <a:gd name="connsiteX15" fmla="*/ 213156 w 1301467"/>
                    <a:gd name="connsiteY15" fmla="*/ 1593079 h 1683095"/>
                    <a:gd name="connsiteX16" fmla="*/ 369344 w 1301467"/>
                    <a:gd name="connsiteY16" fmla="*/ 1673113 h 1683095"/>
                    <a:gd name="connsiteX17" fmla="*/ 722258 w 1301467"/>
                    <a:gd name="connsiteY17" fmla="*/ 963516 h 1683095"/>
                    <a:gd name="connsiteX18" fmla="*/ 837831 w 1301467"/>
                    <a:gd name="connsiteY18" fmla="*/ 732678 h 1683095"/>
                    <a:gd name="connsiteX19" fmla="*/ 838739 w 1301467"/>
                    <a:gd name="connsiteY19" fmla="*/ 737503 h 1683095"/>
                    <a:gd name="connsiteX20" fmla="*/ 1278947 w 1301467"/>
                    <a:gd name="connsiteY20" fmla="*/ 450876 h 1683095"/>
                    <a:gd name="connsiteX21" fmla="*/ 1289079 w 1301467"/>
                    <a:gd name="connsiteY21" fmla="*/ 366151 h 1683095"/>
                    <a:gd name="connsiteX22" fmla="*/ 1271439 w 1301467"/>
                    <a:gd name="connsiteY22" fmla="*/ 347587 h 1683095"/>
                    <a:gd name="connsiteX0" fmla="*/ 1273362 w 1303390"/>
                    <a:gd name="connsiteY0" fmla="*/ 347587 h 1683095"/>
                    <a:gd name="connsiteX1" fmla="*/ 1208861 w 1303390"/>
                    <a:gd name="connsiteY1" fmla="*/ 343047 h 1683095"/>
                    <a:gd name="connsiteX2" fmla="*/ 921984 w 1303390"/>
                    <a:gd name="connsiteY2" fmla="*/ 532050 h 1683095"/>
                    <a:gd name="connsiteX3" fmla="*/ 846545 w 1303390"/>
                    <a:gd name="connsiteY3" fmla="*/ 582436 h 1683095"/>
                    <a:gd name="connsiteX4" fmla="*/ 622945 w 1303390"/>
                    <a:gd name="connsiteY4" fmla="*/ 469080 h 1683095"/>
                    <a:gd name="connsiteX5" fmla="*/ 622945 w 1303390"/>
                    <a:gd name="connsiteY5" fmla="*/ 49656 h 1683095"/>
                    <a:gd name="connsiteX6" fmla="*/ 586917 w 1303390"/>
                    <a:gd name="connsiteY6" fmla="*/ 3902 h 1683095"/>
                    <a:gd name="connsiteX7" fmla="*/ 563957 w 1303390"/>
                    <a:gd name="connsiteY7" fmla="*/ 0 h 1683095"/>
                    <a:gd name="connsiteX8" fmla="*/ 504969 w 1303390"/>
                    <a:gd name="connsiteY8" fmla="*/ 49656 h 1683095"/>
                    <a:gd name="connsiteX9" fmla="*/ 501619 w 1303390"/>
                    <a:gd name="connsiteY9" fmla="*/ 294358 h 1683095"/>
                    <a:gd name="connsiteX10" fmla="*/ 498294 w 1303390"/>
                    <a:gd name="connsiteY10" fmla="*/ 537230 h 1683095"/>
                    <a:gd name="connsiteX11" fmla="*/ 11633 w 1303390"/>
                    <a:gd name="connsiteY11" fmla="*/ 1486707 h 1683095"/>
                    <a:gd name="connsiteX12" fmla="*/ 169163 w 1303390"/>
                    <a:gd name="connsiteY12" fmla="*/ 1572443 h 1683095"/>
                    <a:gd name="connsiteX13" fmla="*/ 423429 w 1303390"/>
                    <a:gd name="connsiteY13" fmla="*/ 1070896 h 1683095"/>
                    <a:gd name="connsiteX14" fmla="*/ 469951 w 1303390"/>
                    <a:gd name="connsiteY14" fmla="*/ 1094517 h 1683095"/>
                    <a:gd name="connsiteX15" fmla="*/ 215079 w 1303390"/>
                    <a:gd name="connsiteY15" fmla="*/ 1593079 h 1683095"/>
                    <a:gd name="connsiteX16" fmla="*/ 371267 w 1303390"/>
                    <a:gd name="connsiteY16" fmla="*/ 1673113 h 1683095"/>
                    <a:gd name="connsiteX17" fmla="*/ 724181 w 1303390"/>
                    <a:gd name="connsiteY17" fmla="*/ 963516 h 1683095"/>
                    <a:gd name="connsiteX18" fmla="*/ 839754 w 1303390"/>
                    <a:gd name="connsiteY18" fmla="*/ 732678 h 1683095"/>
                    <a:gd name="connsiteX19" fmla="*/ 840662 w 1303390"/>
                    <a:gd name="connsiteY19" fmla="*/ 737503 h 1683095"/>
                    <a:gd name="connsiteX20" fmla="*/ 1280870 w 1303390"/>
                    <a:gd name="connsiteY20" fmla="*/ 450876 h 1683095"/>
                    <a:gd name="connsiteX21" fmla="*/ 1291002 w 1303390"/>
                    <a:gd name="connsiteY21" fmla="*/ 366151 h 1683095"/>
                    <a:gd name="connsiteX22" fmla="*/ 1273362 w 1303390"/>
                    <a:gd name="connsiteY22" fmla="*/ 347587 h 1683095"/>
                    <a:gd name="connsiteX0" fmla="*/ 1273807 w 1303835"/>
                    <a:gd name="connsiteY0" fmla="*/ 347587 h 1683095"/>
                    <a:gd name="connsiteX1" fmla="*/ 1209306 w 1303835"/>
                    <a:gd name="connsiteY1" fmla="*/ 343047 h 1683095"/>
                    <a:gd name="connsiteX2" fmla="*/ 922429 w 1303835"/>
                    <a:gd name="connsiteY2" fmla="*/ 532050 h 1683095"/>
                    <a:gd name="connsiteX3" fmla="*/ 846990 w 1303835"/>
                    <a:gd name="connsiteY3" fmla="*/ 582436 h 1683095"/>
                    <a:gd name="connsiteX4" fmla="*/ 623390 w 1303835"/>
                    <a:gd name="connsiteY4" fmla="*/ 469080 h 1683095"/>
                    <a:gd name="connsiteX5" fmla="*/ 623390 w 1303835"/>
                    <a:gd name="connsiteY5" fmla="*/ 49656 h 1683095"/>
                    <a:gd name="connsiteX6" fmla="*/ 587362 w 1303835"/>
                    <a:gd name="connsiteY6" fmla="*/ 3902 h 1683095"/>
                    <a:gd name="connsiteX7" fmla="*/ 564402 w 1303835"/>
                    <a:gd name="connsiteY7" fmla="*/ 0 h 1683095"/>
                    <a:gd name="connsiteX8" fmla="*/ 505414 w 1303835"/>
                    <a:gd name="connsiteY8" fmla="*/ 49656 h 1683095"/>
                    <a:gd name="connsiteX9" fmla="*/ 502064 w 1303835"/>
                    <a:gd name="connsiteY9" fmla="*/ 294358 h 1683095"/>
                    <a:gd name="connsiteX10" fmla="*/ 498739 w 1303835"/>
                    <a:gd name="connsiteY10" fmla="*/ 537230 h 1683095"/>
                    <a:gd name="connsiteX11" fmla="*/ 12078 w 1303835"/>
                    <a:gd name="connsiteY11" fmla="*/ 1486707 h 1683095"/>
                    <a:gd name="connsiteX12" fmla="*/ 169608 w 1303835"/>
                    <a:gd name="connsiteY12" fmla="*/ 1572443 h 1683095"/>
                    <a:gd name="connsiteX13" fmla="*/ 423874 w 1303835"/>
                    <a:gd name="connsiteY13" fmla="*/ 1070896 h 1683095"/>
                    <a:gd name="connsiteX14" fmla="*/ 470396 w 1303835"/>
                    <a:gd name="connsiteY14" fmla="*/ 1094517 h 1683095"/>
                    <a:gd name="connsiteX15" fmla="*/ 215524 w 1303835"/>
                    <a:gd name="connsiteY15" fmla="*/ 1593079 h 1683095"/>
                    <a:gd name="connsiteX16" fmla="*/ 371712 w 1303835"/>
                    <a:gd name="connsiteY16" fmla="*/ 1673113 h 1683095"/>
                    <a:gd name="connsiteX17" fmla="*/ 724626 w 1303835"/>
                    <a:gd name="connsiteY17" fmla="*/ 963516 h 1683095"/>
                    <a:gd name="connsiteX18" fmla="*/ 840199 w 1303835"/>
                    <a:gd name="connsiteY18" fmla="*/ 732678 h 1683095"/>
                    <a:gd name="connsiteX19" fmla="*/ 841107 w 1303835"/>
                    <a:gd name="connsiteY19" fmla="*/ 737503 h 1683095"/>
                    <a:gd name="connsiteX20" fmla="*/ 1281315 w 1303835"/>
                    <a:gd name="connsiteY20" fmla="*/ 450876 h 1683095"/>
                    <a:gd name="connsiteX21" fmla="*/ 1291447 w 1303835"/>
                    <a:gd name="connsiteY21" fmla="*/ 366151 h 1683095"/>
                    <a:gd name="connsiteX22" fmla="*/ 1273807 w 1303835"/>
                    <a:gd name="connsiteY22" fmla="*/ 347587 h 1683095"/>
                    <a:gd name="connsiteX0" fmla="*/ 1273807 w 1303835"/>
                    <a:gd name="connsiteY0" fmla="*/ 347587 h 1696412"/>
                    <a:gd name="connsiteX1" fmla="*/ 1209306 w 1303835"/>
                    <a:gd name="connsiteY1" fmla="*/ 343047 h 1696412"/>
                    <a:gd name="connsiteX2" fmla="*/ 922429 w 1303835"/>
                    <a:gd name="connsiteY2" fmla="*/ 532050 h 1696412"/>
                    <a:gd name="connsiteX3" fmla="*/ 846990 w 1303835"/>
                    <a:gd name="connsiteY3" fmla="*/ 582436 h 1696412"/>
                    <a:gd name="connsiteX4" fmla="*/ 623390 w 1303835"/>
                    <a:gd name="connsiteY4" fmla="*/ 469080 h 1696412"/>
                    <a:gd name="connsiteX5" fmla="*/ 623390 w 1303835"/>
                    <a:gd name="connsiteY5" fmla="*/ 49656 h 1696412"/>
                    <a:gd name="connsiteX6" fmla="*/ 587362 w 1303835"/>
                    <a:gd name="connsiteY6" fmla="*/ 3902 h 1696412"/>
                    <a:gd name="connsiteX7" fmla="*/ 564402 w 1303835"/>
                    <a:gd name="connsiteY7" fmla="*/ 0 h 1696412"/>
                    <a:gd name="connsiteX8" fmla="*/ 505414 w 1303835"/>
                    <a:gd name="connsiteY8" fmla="*/ 49656 h 1696412"/>
                    <a:gd name="connsiteX9" fmla="*/ 502064 w 1303835"/>
                    <a:gd name="connsiteY9" fmla="*/ 294358 h 1696412"/>
                    <a:gd name="connsiteX10" fmla="*/ 498739 w 1303835"/>
                    <a:gd name="connsiteY10" fmla="*/ 537230 h 1696412"/>
                    <a:gd name="connsiteX11" fmla="*/ 12078 w 1303835"/>
                    <a:gd name="connsiteY11" fmla="*/ 1486707 h 1696412"/>
                    <a:gd name="connsiteX12" fmla="*/ 169608 w 1303835"/>
                    <a:gd name="connsiteY12" fmla="*/ 1572443 h 1696412"/>
                    <a:gd name="connsiteX13" fmla="*/ 423874 w 1303835"/>
                    <a:gd name="connsiteY13" fmla="*/ 1070896 h 1696412"/>
                    <a:gd name="connsiteX14" fmla="*/ 470396 w 1303835"/>
                    <a:gd name="connsiteY14" fmla="*/ 1094517 h 1696412"/>
                    <a:gd name="connsiteX15" fmla="*/ 215524 w 1303835"/>
                    <a:gd name="connsiteY15" fmla="*/ 1593079 h 1696412"/>
                    <a:gd name="connsiteX16" fmla="*/ 371712 w 1303835"/>
                    <a:gd name="connsiteY16" fmla="*/ 1673113 h 1696412"/>
                    <a:gd name="connsiteX17" fmla="*/ 724626 w 1303835"/>
                    <a:gd name="connsiteY17" fmla="*/ 963516 h 1696412"/>
                    <a:gd name="connsiteX18" fmla="*/ 840199 w 1303835"/>
                    <a:gd name="connsiteY18" fmla="*/ 732678 h 1696412"/>
                    <a:gd name="connsiteX19" fmla="*/ 841107 w 1303835"/>
                    <a:gd name="connsiteY19" fmla="*/ 737503 h 1696412"/>
                    <a:gd name="connsiteX20" fmla="*/ 1281315 w 1303835"/>
                    <a:gd name="connsiteY20" fmla="*/ 450876 h 1696412"/>
                    <a:gd name="connsiteX21" fmla="*/ 1291447 w 1303835"/>
                    <a:gd name="connsiteY21" fmla="*/ 366151 h 1696412"/>
                    <a:gd name="connsiteX22" fmla="*/ 1273807 w 1303835"/>
                    <a:gd name="connsiteY22" fmla="*/ 347587 h 1696412"/>
                    <a:gd name="connsiteX0" fmla="*/ 1273807 w 1303835"/>
                    <a:gd name="connsiteY0" fmla="*/ 347587 h 1716329"/>
                    <a:gd name="connsiteX1" fmla="*/ 1209306 w 1303835"/>
                    <a:gd name="connsiteY1" fmla="*/ 343047 h 1716329"/>
                    <a:gd name="connsiteX2" fmla="*/ 922429 w 1303835"/>
                    <a:gd name="connsiteY2" fmla="*/ 532050 h 1716329"/>
                    <a:gd name="connsiteX3" fmla="*/ 846990 w 1303835"/>
                    <a:gd name="connsiteY3" fmla="*/ 582436 h 1716329"/>
                    <a:gd name="connsiteX4" fmla="*/ 623390 w 1303835"/>
                    <a:gd name="connsiteY4" fmla="*/ 469080 h 1716329"/>
                    <a:gd name="connsiteX5" fmla="*/ 623390 w 1303835"/>
                    <a:gd name="connsiteY5" fmla="*/ 49656 h 1716329"/>
                    <a:gd name="connsiteX6" fmla="*/ 587362 w 1303835"/>
                    <a:gd name="connsiteY6" fmla="*/ 3902 h 1716329"/>
                    <a:gd name="connsiteX7" fmla="*/ 564402 w 1303835"/>
                    <a:gd name="connsiteY7" fmla="*/ 0 h 1716329"/>
                    <a:gd name="connsiteX8" fmla="*/ 505414 w 1303835"/>
                    <a:gd name="connsiteY8" fmla="*/ 49656 h 1716329"/>
                    <a:gd name="connsiteX9" fmla="*/ 502064 w 1303835"/>
                    <a:gd name="connsiteY9" fmla="*/ 294358 h 1716329"/>
                    <a:gd name="connsiteX10" fmla="*/ 498739 w 1303835"/>
                    <a:gd name="connsiteY10" fmla="*/ 537230 h 1716329"/>
                    <a:gd name="connsiteX11" fmla="*/ 12078 w 1303835"/>
                    <a:gd name="connsiteY11" fmla="*/ 1486707 h 1716329"/>
                    <a:gd name="connsiteX12" fmla="*/ 169608 w 1303835"/>
                    <a:gd name="connsiteY12" fmla="*/ 1572443 h 1716329"/>
                    <a:gd name="connsiteX13" fmla="*/ 423874 w 1303835"/>
                    <a:gd name="connsiteY13" fmla="*/ 1070896 h 1716329"/>
                    <a:gd name="connsiteX14" fmla="*/ 470396 w 1303835"/>
                    <a:gd name="connsiteY14" fmla="*/ 1094517 h 1716329"/>
                    <a:gd name="connsiteX15" fmla="*/ 215524 w 1303835"/>
                    <a:gd name="connsiteY15" fmla="*/ 1593079 h 1716329"/>
                    <a:gd name="connsiteX16" fmla="*/ 371712 w 1303835"/>
                    <a:gd name="connsiteY16" fmla="*/ 1673113 h 1716329"/>
                    <a:gd name="connsiteX17" fmla="*/ 724626 w 1303835"/>
                    <a:gd name="connsiteY17" fmla="*/ 963516 h 1716329"/>
                    <a:gd name="connsiteX18" fmla="*/ 840199 w 1303835"/>
                    <a:gd name="connsiteY18" fmla="*/ 732678 h 1716329"/>
                    <a:gd name="connsiteX19" fmla="*/ 841107 w 1303835"/>
                    <a:gd name="connsiteY19" fmla="*/ 737503 h 1716329"/>
                    <a:gd name="connsiteX20" fmla="*/ 1281315 w 1303835"/>
                    <a:gd name="connsiteY20" fmla="*/ 450876 h 1716329"/>
                    <a:gd name="connsiteX21" fmla="*/ 1291447 w 1303835"/>
                    <a:gd name="connsiteY21" fmla="*/ 366151 h 1716329"/>
                    <a:gd name="connsiteX22" fmla="*/ 1273807 w 1303835"/>
                    <a:gd name="connsiteY22" fmla="*/ 347587 h 1716329"/>
                    <a:gd name="connsiteX0" fmla="*/ 1273807 w 1303835"/>
                    <a:gd name="connsiteY0" fmla="*/ 347587 h 1720209"/>
                    <a:gd name="connsiteX1" fmla="*/ 1209306 w 1303835"/>
                    <a:gd name="connsiteY1" fmla="*/ 343047 h 1720209"/>
                    <a:gd name="connsiteX2" fmla="*/ 922429 w 1303835"/>
                    <a:gd name="connsiteY2" fmla="*/ 532050 h 1720209"/>
                    <a:gd name="connsiteX3" fmla="*/ 846990 w 1303835"/>
                    <a:gd name="connsiteY3" fmla="*/ 582436 h 1720209"/>
                    <a:gd name="connsiteX4" fmla="*/ 623390 w 1303835"/>
                    <a:gd name="connsiteY4" fmla="*/ 469080 h 1720209"/>
                    <a:gd name="connsiteX5" fmla="*/ 623390 w 1303835"/>
                    <a:gd name="connsiteY5" fmla="*/ 49656 h 1720209"/>
                    <a:gd name="connsiteX6" fmla="*/ 587362 w 1303835"/>
                    <a:gd name="connsiteY6" fmla="*/ 3902 h 1720209"/>
                    <a:gd name="connsiteX7" fmla="*/ 564402 w 1303835"/>
                    <a:gd name="connsiteY7" fmla="*/ 0 h 1720209"/>
                    <a:gd name="connsiteX8" fmla="*/ 505414 w 1303835"/>
                    <a:gd name="connsiteY8" fmla="*/ 49656 h 1720209"/>
                    <a:gd name="connsiteX9" fmla="*/ 502064 w 1303835"/>
                    <a:gd name="connsiteY9" fmla="*/ 294358 h 1720209"/>
                    <a:gd name="connsiteX10" fmla="*/ 498739 w 1303835"/>
                    <a:gd name="connsiteY10" fmla="*/ 537230 h 1720209"/>
                    <a:gd name="connsiteX11" fmla="*/ 12078 w 1303835"/>
                    <a:gd name="connsiteY11" fmla="*/ 1486707 h 1720209"/>
                    <a:gd name="connsiteX12" fmla="*/ 169608 w 1303835"/>
                    <a:gd name="connsiteY12" fmla="*/ 1572443 h 1720209"/>
                    <a:gd name="connsiteX13" fmla="*/ 423874 w 1303835"/>
                    <a:gd name="connsiteY13" fmla="*/ 1070896 h 1720209"/>
                    <a:gd name="connsiteX14" fmla="*/ 470396 w 1303835"/>
                    <a:gd name="connsiteY14" fmla="*/ 1094517 h 1720209"/>
                    <a:gd name="connsiteX15" fmla="*/ 215524 w 1303835"/>
                    <a:gd name="connsiteY15" fmla="*/ 1593079 h 1720209"/>
                    <a:gd name="connsiteX16" fmla="*/ 371712 w 1303835"/>
                    <a:gd name="connsiteY16" fmla="*/ 1673113 h 1720209"/>
                    <a:gd name="connsiteX17" fmla="*/ 724626 w 1303835"/>
                    <a:gd name="connsiteY17" fmla="*/ 963516 h 1720209"/>
                    <a:gd name="connsiteX18" fmla="*/ 840199 w 1303835"/>
                    <a:gd name="connsiteY18" fmla="*/ 732678 h 1720209"/>
                    <a:gd name="connsiteX19" fmla="*/ 841107 w 1303835"/>
                    <a:gd name="connsiteY19" fmla="*/ 737503 h 1720209"/>
                    <a:gd name="connsiteX20" fmla="*/ 1281315 w 1303835"/>
                    <a:gd name="connsiteY20" fmla="*/ 450876 h 1720209"/>
                    <a:gd name="connsiteX21" fmla="*/ 1291447 w 1303835"/>
                    <a:gd name="connsiteY21" fmla="*/ 366151 h 1720209"/>
                    <a:gd name="connsiteX22" fmla="*/ 1273807 w 1303835"/>
                    <a:gd name="connsiteY22" fmla="*/ 347587 h 1720209"/>
                    <a:gd name="connsiteX0" fmla="*/ 1273807 w 1303835"/>
                    <a:gd name="connsiteY0" fmla="*/ 347587 h 1721401"/>
                    <a:gd name="connsiteX1" fmla="*/ 1209306 w 1303835"/>
                    <a:gd name="connsiteY1" fmla="*/ 343047 h 1721401"/>
                    <a:gd name="connsiteX2" fmla="*/ 922429 w 1303835"/>
                    <a:gd name="connsiteY2" fmla="*/ 532050 h 1721401"/>
                    <a:gd name="connsiteX3" fmla="*/ 846990 w 1303835"/>
                    <a:gd name="connsiteY3" fmla="*/ 582436 h 1721401"/>
                    <a:gd name="connsiteX4" fmla="*/ 623390 w 1303835"/>
                    <a:gd name="connsiteY4" fmla="*/ 469080 h 1721401"/>
                    <a:gd name="connsiteX5" fmla="*/ 623390 w 1303835"/>
                    <a:gd name="connsiteY5" fmla="*/ 49656 h 1721401"/>
                    <a:gd name="connsiteX6" fmla="*/ 587362 w 1303835"/>
                    <a:gd name="connsiteY6" fmla="*/ 3902 h 1721401"/>
                    <a:gd name="connsiteX7" fmla="*/ 564402 w 1303835"/>
                    <a:gd name="connsiteY7" fmla="*/ 0 h 1721401"/>
                    <a:gd name="connsiteX8" fmla="*/ 505414 w 1303835"/>
                    <a:gd name="connsiteY8" fmla="*/ 49656 h 1721401"/>
                    <a:gd name="connsiteX9" fmla="*/ 502064 w 1303835"/>
                    <a:gd name="connsiteY9" fmla="*/ 294358 h 1721401"/>
                    <a:gd name="connsiteX10" fmla="*/ 498739 w 1303835"/>
                    <a:gd name="connsiteY10" fmla="*/ 537230 h 1721401"/>
                    <a:gd name="connsiteX11" fmla="*/ 12078 w 1303835"/>
                    <a:gd name="connsiteY11" fmla="*/ 1486707 h 1721401"/>
                    <a:gd name="connsiteX12" fmla="*/ 169608 w 1303835"/>
                    <a:gd name="connsiteY12" fmla="*/ 1572443 h 1721401"/>
                    <a:gd name="connsiteX13" fmla="*/ 423874 w 1303835"/>
                    <a:gd name="connsiteY13" fmla="*/ 1070896 h 1721401"/>
                    <a:gd name="connsiteX14" fmla="*/ 470396 w 1303835"/>
                    <a:gd name="connsiteY14" fmla="*/ 1094517 h 1721401"/>
                    <a:gd name="connsiteX15" fmla="*/ 215524 w 1303835"/>
                    <a:gd name="connsiteY15" fmla="*/ 1593079 h 1721401"/>
                    <a:gd name="connsiteX16" fmla="*/ 371712 w 1303835"/>
                    <a:gd name="connsiteY16" fmla="*/ 1673113 h 1721401"/>
                    <a:gd name="connsiteX17" fmla="*/ 724626 w 1303835"/>
                    <a:gd name="connsiteY17" fmla="*/ 963516 h 1721401"/>
                    <a:gd name="connsiteX18" fmla="*/ 840199 w 1303835"/>
                    <a:gd name="connsiteY18" fmla="*/ 732678 h 1721401"/>
                    <a:gd name="connsiteX19" fmla="*/ 841107 w 1303835"/>
                    <a:gd name="connsiteY19" fmla="*/ 737503 h 1721401"/>
                    <a:gd name="connsiteX20" fmla="*/ 1281315 w 1303835"/>
                    <a:gd name="connsiteY20" fmla="*/ 450876 h 1721401"/>
                    <a:gd name="connsiteX21" fmla="*/ 1291447 w 1303835"/>
                    <a:gd name="connsiteY21" fmla="*/ 366151 h 1721401"/>
                    <a:gd name="connsiteX22" fmla="*/ 1273807 w 1303835"/>
                    <a:gd name="connsiteY22" fmla="*/ 347587 h 1721401"/>
                    <a:gd name="connsiteX0" fmla="*/ 1273807 w 1303835"/>
                    <a:gd name="connsiteY0" fmla="*/ 347587 h 1726495"/>
                    <a:gd name="connsiteX1" fmla="*/ 1209306 w 1303835"/>
                    <a:gd name="connsiteY1" fmla="*/ 343047 h 1726495"/>
                    <a:gd name="connsiteX2" fmla="*/ 922429 w 1303835"/>
                    <a:gd name="connsiteY2" fmla="*/ 532050 h 1726495"/>
                    <a:gd name="connsiteX3" fmla="*/ 846990 w 1303835"/>
                    <a:gd name="connsiteY3" fmla="*/ 582436 h 1726495"/>
                    <a:gd name="connsiteX4" fmla="*/ 623390 w 1303835"/>
                    <a:gd name="connsiteY4" fmla="*/ 469080 h 1726495"/>
                    <a:gd name="connsiteX5" fmla="*/ 623390 w 1303835"/>
                    <a:gd name="connsiteY5" fmla="*/ 49656 h 1726495"/>
                    <a:gd name="connsiteX6" fmla="*/ 587362 w 1303835"/>
                    <a:gd name="connsiteY6" fmla="*/ 3902 h 1726495"/>
                    <a:gd name="connsiteX7" fmla="*/ 564402 w 1303835"/>
                    <a:gd name="connsiteY7" fmla="*/ 0 h 1726495"/>
                    <a:gd name="connsiteX8" fmla="*/ 505414 w 1303835"/>
                    <a:gd name="connsiteY8" fmla="*/ 49656 h 1726495"/>
                    <a:gd name="connsiteX9" fmla="*/ 502064 w 1303835"/>
                    <a:gd name="connsiteY9" fmla="*/ 294358 h 1726495"/>
                    <a:gd name="connsiteX10" fmla="*/ 498739 w 1303835"/>
                    <a:gd name="connsiteY10" fmla="*/ 537230 h 1726495"/>
                    <a:gd name="connsiteX11" fmla="*/ 12078 w 1303835"/>
                    <a:gd name="connsiteY11" fmla="*/ 1486707 h 1726495"/>
                    <a:gd name="connsiteX12" fmla="*/ 169608 w 1303835"/>
                    <a:gd name="connsiteY12" fmla="*/ 1572443 h 1726495"/>
                    <a:gd name="connsiteX13" fmla="*/ 423874 w 1303835"/>
                    <a:gd name="connsiteY13" fmla="*/ 1070896 h 1726495"/>
                    <a:gd name="connsiteX14" fmla="*/ 470396 w 1303835"/>
                    <a:gd name="connsiteY14" fmla="*/ 1094517 h 1726495"/>
                    <a:gd name="connsiteX15" fmla="*/ 215524 w 1303835"/>
                    <a:gd name="connsiteY15" fmla="*/ 1593079 h 1726495"/>
                    <a:gd name="connsiteX16" fmla="*/ 371712 w 1303835"/>
                    <a:gd name="connsiteY16" fmla="*/ 1673113 h 1726495"/>
                    <a:gd name="connsiteX17" fmla="*/ 724626 w 1303835"/>
                    <a:gd name="connsiteY17" fmla="*/ 963516 h 1726495"/>
                    <a:gd name="connsiteX18" fmla="*/ 840199 w 1303835"/>
                    <a:gd name="connsiteY18" fmla="*/ 732678 h 1726495"/>
                    <a:gd name="connsiteX19" fmla="*/ 841107 w 1303835"/>
                    <a:gd name="connsiteY19" fmla="*/ 737503 h 1726495"/>
                    <a:gd name="connsiteX20" fmla="*/ 1281315 w 1303835"/>
                    <a:gd name="connsiteY20" fmla="*/ 450876 h 1726495"/>
                    <a:gd name="connsiteX21" fmla="*/ 1291447 w 1303835"/>
                    <a:gd name="connsiteY21" fmla="*/ 366151 h 1726495"/>
                    <a:gd name="connsiteX22" fmla="*/ 1273807 w 1303835"/>
                    <a:gd name="connsiteY22" fmla="*/ 347587 h 1726495"/>
                    <a:gd name="connsiteX0" fmla="*/ 1273807 w 1303835"/>
                    <a:gd name="connsiteY0" fmla="*/ 347587 h 1726694"/>
                    <a:gd name="connsiteX1" fmla="*/ 1209306 w 1303835"/>
                    <a:gd name="connsiteY1" fmla="*/ 343047 h 1726694"/>
                    <a:gd name="connsiteX2" fmla="*/ 922429 w 1303835"/>
                    <a:gd name="connsiteY2" fmla="*/ 532050 h 1726694"/>
                    <a:gd name="connsiteX3" fmla="*/ 846990 w 1303835"/>
                    <a:gd name="connsiteY3" fmla="*/ 582436 h 1726694"/>
                    <a:gd name="connsiteX4" fmla="*/ 623390 w 1303835"/>
                    <a:gd name="connsiteY4" fmla="*/ 469080 h 1726694"/>
                    <a:gd name="connsiteX5" fmla="*/ 623390 w 1303835"/>
                    <a:gd name="connsiteY5" fmla="*/ 49656 h 1726694"/>
                    <a:gd name="connsiteX6" fmla="*/ 587362 w 1303835"/>
                    <a:gd name="connsiteY6" fmla="*/ 3902 h 1726694"/>
                    <a:gd name="connsiteX7" fmla="*/ 564402 w 1303835"/>
                    <a:gd name="connsiteY7" fmla="*/ 0 h 1726694"/>
                    <a:gd name="connsiteX8" fmla="*/ 505414 w 1303835"/>
                    <a:gd name="connsiteY8" fmla="*/ 49656 h 1726694"/>
                    <a:gd name="connsiteX9" fmla="*/ 502064 w 1303835"/>
                    <a:gd name="connsiteY9" fmla="*/ 294358 h 1726694"/>
                    <a:gd name="connsiteX10" fmla="*/ 498739 w 1303835"/>
                    <a:gd name="connsiteY10" fmla="*/ 537230 h 1726694"/>
                    <a:gd name="connsiteX11" fmla="*/ 12078 w 1303835"/>
                    <a:gd name="connsiteY11" fmla="*/ 1486707 h 1726694"/>
                    <a:gd name="connsiteX12" fmla="*/ 169608 w 1303835"/>
                    <a:gd name="connsiteY12" fmla="*/ 1572443 h 1726694"/>
                    <a:gd name="connsiteX13" fmla="*/ 423874 w 1303835"/>
                    <a:gd name="connsiteY13" fmla="*/ 1070896 h 1726694"/>
                    <a:gd name="connsiteX14" fmla="*/ 470396 w 1303835"/>
                    <a:gd name="connsiteY14" fmla="*/ 1094517 h 1726694"/>
                    <a:gd name="connsiteX15" fmla="*/ 216872 w 1303835"/>
                    <a:gd name="connsiteY15" fmla="*/ 1593763 h 1726694"/>
                    <a:gd name="connsiteX16" fmla="*/ 371712 w 1303835"/>
                    <a:gd name="connsiteY16" fmla="*/ 1673113 h 1726694"/>
                    <a:gd name="connsiteX17" fmla="*/ 724626 w 1303835"/>
                    <a:gd name="connsiteY17" fmla="*/ 963516 h 1726694"/>
                    <a:gd name="connsiteX18" fmla="*/ 840199 w 1303835"/>
                    <a:gd name="connsiteY18" fmla="*/ 732678 h 1726694"/>
                    <a:gd name="connsiteX19" fmla="*/ 841107 w 1303835"/>
                    <a:gd name="connsiteY19" fmla="*/ 737503 h 1726694"/>
                    <a:gd name="connsiteX20" fmla="*/ 1281315 w 1303835"/>
                    <a:gd name="connsiteY20" fmla="*/ 450876 h 1726694"/>
                    <a:gd name="connsiteX21" fmla="*/ 1291447 w 1303835"/>
                    <a:gd name="connsiteY21" fmla="*/ 366151 h 1726694"/>
                    <a:gd name="connsiteX22" fmla="*/ 1273807 w 1303835"/>
                    <a:gd name="connsiteY22" fmla="*/ 347587 h 1726694"/>
                    <a:gd name="connsiteX0" fmla="*/ 1273807 w 1303835"/>
                    <a:gd name="connsiteY0" fmla="*/ 347587 h 1726298"/>
                    <a:gd name="connsiteX1" fmla="*/ 1209306 w 1303835"/>
                    <a:gd name="connsiteY1" fmla="*/ 343047 h 1726298"/>
                    <a:gd name="connsiteX2" fmla="*/ 922429 w 1303835"/>
                    <a:gd name="connsiteY2" fmla="*/ 532050 h 1726298"/>
                    <a:gd name="connsiteX3" fmla="*/ 846990 w 1303835"/>
                    <a:gd name="connsiteY3" fmla="*/ 582436 h 1726298"/>
                    <a:gd name="connsiteX4" fmla="*/ 623390 w 1303835"/>
                    <a:gd name="connsiteY4" fmla="*/ 469080 h 1726298"/>
                    <a:gd name="connsiteX5" fmla="*/ 623390 w 1303835"/>
                    <a:gd name="connsiteY5" fmla="*/ 49656 h 1726298"/>
                    <a:gd name="connsiteX6" fmla="*/ 587362 w 1303835"/>
                    <a:gd name="connsiteY6" fmla="*/ 3902 h 1726298"/>
                    <a:gd name="connsiteX7" fmla="*/ 564402 w 1303835"/>
                    <a:gd name="connsiteY7" fmla="*/ 0 h 1726298"/>
                    <a:gd name="connsiteX8" fmla="*/ 505414 w 1303835"/>
                    <a:gd name="connsiteY8" fmla="*/ 49656 h 1726298"/>
                    <a:gd name="connsiteX9" fmla="*/ 502064 w 1303835"/>
                    <a:gd name="connsiteY9" fmla="*/ 294358 h 1726298"/>
                    <a:gd name="connsiteX10" fmla="*/ 498739 w 1303835"/>
                    <a:gd name="connsiteY10" fmla="*/ 537230 h 1726298"/>
                    <a:gd name="connsiteX11" fmla="*/ 12078 w 1303835"/>
                    <a:gd name="connsiteY11" fmla="*/ 1486707 h 1726298"/>
                    <a:gd name="connsiteX12" fmla="*/ 169608 w 1303835"/>
                    <a:gd name="connsiteY12" fmla="*/ 1572443 h 1726298"/>
                    <a:gd name="connsiteX13" fmla="*/ 423874 w 1303835"/>
                    <a:gd name="connsiteY13" fmla="*/ 1070896 h 1726298"/>
                    <a:gd name="connsiteX14" fmla="*/ 470396 w 1303835"/>
                    <a:gd name="connsiteY14" fmla="*/ 1094517 h 1726298"/>
                    <a:gd name="connsiteX15" fmla="*/ 214177 w 1303835"/>
                    <a:gd name="connsiteY15" fmla="*/ 1592397 h 1726298"/>
                    <a:gd name="connsiteX16" fmla="*/ 371712 w 1303835"/>
                    <a:gd name="connsiteY16" fmla="*/ 1673113 h 1726298"/>
                    <a:gd name="connsiteX17" fmla="*/ 724626 w 1303835"/>
                    <a:gd name="connsiteY17" fmla="*/ 963516 h 1726298"/>
                    <a:gd name="connsiteX18" fmla="*/ 840199 w 1303835"/>
                    <a:gd name="connsiteY18" fmla="*/ 732678 h 1726298"/>
                    <a:gd name="connsiteX19" fmla="*/ 841107 w 1303835"/>
                    <a:gd name="connsiteY19" fmla="*/ 737503 h 1726298"/>
                    <a:gd name="connsiteX20" fmla="*/ 1281315 w 1303835"/>
                    <a:gd name="connsiteY20" fmla="*/ 450876 h 1726298"/>
                    <a:gd name="connsiteX21" fmla="*/ 1291447 w 1303835"/>
                    <a:gd name="connsiteY21" fmla="*/ 366151 h 1726298"/>
                    <a:gd name="connsiteX22" fmla="*/ 1273807 w 1303835"/>
                    <a:gd name="connsiteY22" fmla="*/ 347587 h 1726298"/>
                    <a:gd name="connsiteX0" fmla="*/ 1273807 w 1303835"/>
                    <a:gd name="connsiteY0" fmla="*/ 347587 h 1726495"/>
                    <a:gd name="connsiteX1" fmla="*/ 1209306 w 1303835"/>
                    <a:gd name="connsiteY1" fmla="*/ 343047 h 1726495"/>
                    <a:gd name="connsiteX2" fmla="*/ 922429 w 1303835"/>
                    <a:gd name="connsiteY2" fmla="*/ 532050 h 1726495"/>
                    <a:gd name="connsiteX3" fmla="*/ 846990 w 1303835"/>
                    <a:gd name="connsiteY3" fmla="*/ 582436 h 1726495"/>
                    <a:gd name="connsiteX4" fmla="*/ 623390 w 1303835"/>
                    <a:gd name="connsiteY4" fmla="*/ 469080 h 1726495"/>
                    <a:gd name="connsiteX5" fmla="*/ 623390 w 1303835"/>
                    <a:gd name="connsiteY5" fmla="*/ 49656 h 1726495"/>
                    <a:gd name="connsiteX6" fmla="*/ 587362 w 1303835"/>
                    <a:gd name="connsiteY6" fmla="*/ 3902 h 1726495"/>
                    <a:gd name="connsiteX7" fmla="*/ 564402 w 1303835"/>
                    <a:gd name="connsiteY7" fmla="*/ 0 h 1726495"/>
                    <a:gd name="connsiteX8" fmla="*/ 505414 w 1303835"/>
                    <a:gd name="connsiteY8" fmla="*/ 49656 h 1726495"/>
                    <a:gd name="connsiteX9" fmla="*/ 502064 w 1303835"/>
                    <a:gd name="connsiteY9" fmla="*/ 294358 h 1726495"/>
                    <a:gd name="connsiteX10" fmla="*/ 498739 w 1303835"/>
                    <a:gd name="connsiteY10" fmla="*/ 537230 h 1726495"/>
                    <a:gd name="connsiteX11" fmla="*/ 12078 w 1303835"/>
                    <a:gd name="connsiteY11" fmla="*/ 1486707 h 1726495"/>
                    <a:gd name="connsiteX12" fmla="*/ 169608 w 1303835"/>
                    <a:gd name="connsiteY12" fmla="*/ 1572443 h 1726495"/>
                    <a:gd name="connsiteX13" fmla="*/ 423874 w 1303835"/>
                    <a:gd name="connsiteY13" fmla="*/ 1070896 h 1726495"/>
                    <a:gd name="connsiteX14" fmla="*/ 470396 w 1303835"/>
                    <a:gd name="connsiteY14" fmla="*/ 1094517 h 1726495"/>
                    <a:gd name="connsiteX15" fmla="*/ 215525 w 1303835"/>
                    <a:gd name="connsiteY15" fmla="*/ 1593080 h 1726495"/>
                    <a:gd name="connsiteX16" fmla="*/ 371712 w 1303835"/>
                    <a:gd name="connsiteY16" fmla="*/ 1673113 h 1726495"/>
                    <a:gd name="connsiteX17" fmla="*/ 724626 w 1303835"/>
                    <a:gd name="connsiteY17" fmla="*/ 963516 h 1726495"/>
                    <a:gd name="connsiteX18" fmla="*/ 840199 w 1303835"/>
                    <a:gd name="connsiteY18" fmla="*/ 732678 h 1726495"/>
                    <a:gd name="connsiteX19" fmla="*/ 841107 w 1303835"/>
                    <a:gd name="connsiteY19" fmla="*/ 737503 h 1726495"/>
                    <a:gd name="connsiteX20" fmla="*/ 1281315 w 1303835"/>
                    <a:gd name="connsiteY20" fmla="*/ 450876 h 1726495"/>
                    <a:gd name="connsiteX21" fmla="*/ 1291447 w 1303835"/>
                    <a:gd name="connsiteY21" fmla="*/ 366151 h 1726495"/>
                    <a:gd name="connsiteX22" fmla="*/ 1273807 w 1303835"/>
                    <a:gd name="connsiteY22" fmla="*/ 347587 h 1726495"/>
                    <a:gd name="connsiteX0" fmla="*/ 1273807 w 1303835"/>
                    <a:gd name="connsiteY0" fmla="*/ 347587 h 1724982"/>
                    <a:gd name="connsiteX1" fmla="*/ 1209306 w 1303835"/>
                    <a:gd name="connsiteY1" fmla="*/ 343047 h 1724982"/>
                    <a:gd name="connsiteX2" fmla="*/ 922429 w 1303835"/>
                    <a:gd name="connsiteY2" fmla="*/ 532050 h 1724982"/>
                    <a:gd name="connsiteX3" fmla="*/ 846990 w 1303835"/>
                    <a:gd name="connsiteY3" fmla="*/ 582436 h 1724982"/>
                    <a:gd name="connsiteX4" fmla="*/ 623390 w 1303835"/>
                    <a:gd name="connsiteY4" fmla="*/ 469080 h 1724982"/>
                    <a:gd name="connsiteX5" fmla="*/ 623390 w 1303835"/>
                    <a:gd name="connsiteY5" fmla="*/ 49656 h 1724982"/>
                    <a:gd name="connsiteX6" fmla="*/ 587362 w 1303835"/>
                    <a:gd name="connsiteY6" fmla="*/ 3902 h 1724982"/>
                    <a:gd name="connsiteX7" fmla="*/ 564402 w 1303835"/>
                    <a:gd name="connsiteY7" fmla="*/ 0 h 1724982"/>
                    <a:gd name="connsiteX8" fmla="*/ 505414 w 1303835"/>
                    <a:gd name="connsiteY8" fmla="*/ 49656 h 1724982"/>
                    <a:gd name="connsiteX9" fmla="*/ 502064 w 1303835"/>
                    <a:gd name="connsiteY9" fmla="*/ 294358 h 1724982"/>
                    <a:gd name="connsiteX10" fmla="*/ 498739 w 1303835"/>
                    <a:gd name="connsiteY10" fmla="*/ 537230 h 1724982"/>
                    <a:gd name="connsiteX11" fmla="*/ 12078 w 1303835"/>
                    <a:gd name="connsiteY11" fmla="*/ 1486707 h 1724982"/>
                    <a:gd name="connsiteX12" fmla="*/ 169608 w 1303835"/>
                    <a:gd name="connsiteY12" fmla="*/ 1572443 h 1724982"/>
                    <a:gd name="connsiteX13" fmla="*/ 423874 w 1303835"/>
                    <a:gd name="connsiteY13" fmla="*/ 1070896 h 1724982"/>
                    <a:gd name="connsiteX14" fmla="*/ 470396 w 1303835"/>
                    <a:gd name="connsiteY14" fmla="*/ 1094517 h 1724982"/>
                    <a:gd name="connsiteX15" fmla="*/ 215525 w 1303835"/>
                    <a:gd name="connsiteY15" fmla="*/ 1593080 h 1724982"/>
                    <a:gd name="connsiteX16" fmla="*/ 371712 w 1303835"/>
                    <a:gd name="connsiteY16" fmla="*/ 1673113 h 1724982"/>
                    <a:gd name="connsiteX17" fmla="*/ 724626 w 1303835"/>
                    <a:gd name="connsiteY17" fmla="*/ 963516 h 1724982"/>
                    <a:gd name="connsiteX18" fmla="*/ 840199 w 1303835"/>
                    <a:gd name="connsiteY18" fmla="*/ 732678 h 1724982"/>
                    <a:gd name="connsiteX19" fmla="*/ 841107 w 1303835"/>
                    <a:gd name="connsiteY19" fmla="*/ 737503 h 1724982"/>
                    <a:gd name="connsiteX20" fmla="*/ 1281315 w 1303835"/>
                    <a:gd name="connsiteY20" fmla="*/ 450876 h 1724982"/>
                    <a:gd name="connsiteX21" fmla="*/ 1291447 w 1303835"/>
                    <a:gd name="connsiteY21" fmla="*/ 366151 h 1724982"/>
                    <a:gd name="connsiteX22" fmla="*/ 1273807 w 1303835"/>
                    <a:gd name="connsiteY22" fmla="*/ 347587 h 1724982"/>
                    <a:gd name="connsiteX0" fmla="*/ 1273807 w 1303835"/>
                    <a:gd name="connsiteY0" fmla="*/ 347587 h 1724982"/>
                    <a:gd name="connsiteX1" fmla="*/ 1209306 w 1303835"/>
                    <a:gd name="connsiteY1" fmla="*/ 343047 h 1724982"/>
                    <a:gd name="connsiteX2" fmla="*/ 922429 w 1303835"/>
                    <a:gd name="connsiteY2" fmla="*/ 532050 h 1724982"/>
                    <a:gd name="connsiteX3" fmla="*/ 846990 w 1303835"/>
                    <a:gd name="connsiteY3" fmla="*/ 582436 h 1724982"/>
                    <a:gd name="connsiteX4" fmla="*/ 623390 w 1303835"/>
                    <a:gd name="connsiteY4" fmla="*/ 469080 h 1724982"/>
                    <a:gd name="connsiteX5" fmla="*/ 623390 w 1303835"/>
                    <a:gd name="connsiteY5" fmla="*/ 49656 h 1724982"/>
                    <a:gd name="connsiteX6" fmla="*/ 587362 w 1303835"/>
                    <a:gd name="connsiteY6" fmla="*/ 3902 h 1724982"/>
                    <a:gd name="connsiteX7" fmla="*/ 564402 w 1303835"/>
                    <a:gd name="connsiteY7" fmla="*/ 0 h 1724982"/>
                    <a:gd name="connsiteX8" fmla="*/ 505414 w 1303835"/>
                    <a:gd name="connsiteY8" fmla="*/ 49656 h 1724982"/>
                    <a:gd name="connsiteX9" fmla="*/ 502064 w 1303835"/>
                    <a:gd name="connsiteY9" fmla="*/ 294358 h 1724982"/>
                    <a:gd name="connsiteX10" fmla="*/ 498739 w 1303835"/>
                    <a:gd name="connsiteY10" fmla="*/ 537230 h 1724982"/>
                    <a:gd name="connsiteX11" fmla="*/ 12078 w 1303835"/>
                    <a:gd name="connsiteY11" fmla="*/ 1486707 h 1724982"/>
                    <a:gd name="connsiteX12" fmla="*/ 169608 w 1303835"/>
                    <a:gd name="connsiteY12" fmla="*/ 1572443 h 1724982"/>
                    <a:gd name="connsiteX13" fmla="*/ 423874 w 1303835"/>
                    <a:gd name="connsiteY13" fmla="*/ 1070896 h 1724982"/>
                    <a:gd name="connsiteX14" fmla="*/ 470396 w 1303835"/>
                    <a:gd name="connsiteY14" fmla="*/ 1094517 h 1724982"/>
                    <a:gd name="connsiteX15" fmla="*/ 215525 w 1303835"/>
                    <a:gd name="connsiteY15" fmla="*/ 1593080 h 1724982"/>
                    <a:gd name="connsiteX16" fmla="*/ 371712 w 1303835"/>
                    <a:gd name="connsiteY16" fmla="*/ 1673113 h 1724982"/>
                    <a:gd name="connsiteX17" fmla="*/ 724626 w 1303835"/>
                    <a:gd name="connsiteY17" fmla="*/ 963516 h 1724982"/>
                    <a:gd name="connsiteX18" fmla="*/ 840199 w 1303835"/>
                    <a:gd name="connsiteY18" fmla="*/ 732678 h 1724982"/>
                    <a:gd name="connsiteX19" fmla="*/ 841107 w 1303835"/>
                    <a:gd name="connsiteY19" fmla="*/ 737503 h 1724982"/>
                    <a:gd name="connsiteX20" fmla="*/ 1281315 w 1303835"/>
                    <a:gd name="connsiteY20" fmla="*/ 450876 h 1724982"/>
                    <a:gd name="connsiteX21" fmla="*/ 1291447 w 1303835"/>
                    <a:gd name="connsiteY21" fmla="*/ 366151 h 1724982"/>
                    <a:gd name="connsiteX22" fmla="*/ 1273807 w 1303835"/>
                    <a:gd name="connsiteY22" fmla="*/ 347587 h 1724982"/>
                    <a:gd name="connsiteX0" fmla="*/ 1273807 w 1303835"/>
                    <a:gd name="connsiteY0" fmla="*/ 347587 h 1725874"/>
                    <a:gd name="connsiteX1" fmla="*/ 1209306 w 1303835"/>
                    <a:gd name="connsiteY1" fmla="*/ 343047 h 1725874"/>
                    <a:gd name="connsiteX2" fmla="*/ 922429 w 1303835"/>
                    <a:gd name="connsiteY2" fmla="*/ 532050 h 1725874"/>
                    <a:gd name="connsiteX3" fmla="*/ 846990 w 1303835"/>
                    <a:gd name="connsiteY3" fmla="*/ 582436 h 1725874"/>
                    <a:gd name="connsiteX4" fmla="*/ 623390 w 1303835"/>
                    <a:gd name="connsiteY4" fmla="*/ 469080 h 1725874"/>
                    <a:gd name="connsiteX5" fmla="*/ 623390 w 1303835"/>
                    <a:gd name="connsiteY5" fmla="*/ 49656 h 1725874"/>
                    <a:gd name="connsiteX6" fmla="*/ 587362 w 1303835"/>
                    <a:gd name="connsiteY6" fmla="*/ 3902 h 1725874"/>
                    <a:gd name="connsiteX7" fmla="*/ 564402 w 1303835"/>
                    <a:gd name="connsiteY7" fmla="*/ 0 h 1725874"/>
                    <a:gd name="connsiteX8" fmla="*/ 505414 w 1303835"/>
                    <a:gd name="connsiteY8" fmla="*/ 49656 h 1725874"/>
                    <a:gd name="connsiteX9" fmla="*/ 502064 w 1303835"/>
                    <a:gd name="connsiteY9" fmla="*/ 294358 h 1725874"/>
                    <a:gd name="connsiteX10" fmla="*/ 498739 w 1303835"/>
                    <a:gd name="connsiteY10" fmla="*/ 537230 h 1725874"/>
                    <a:gd name="connsiteX11" fmla="*/ 12078 w 1303835"/>
                    <a:gd name="connsiteY11" fmla="*/ 1486707 h 1725874"/>
                    <a:gd name="connsiteX12" fmla="*/ 169608 w 1303835"/>
                    <a:gd name="connsiteY12" fmla="*/ 1572443 h 1725874"/>
                    <a:gd name="connsiteX13" fmla="*/ 423874 w 1303835"/>
                    <a:gd name="connsiteY13" fmla="*/ 1070896 h 1725874"/>
                    <a:gd name="connsiteX14" fmla="*/ 470396 w 1303835"/>
                    <a:gd name="connsiteY14" fmla="*/ 1094517 h 1725874"/>
                    <a:gd name="connsiteX15" fmla="*/ 215525 w 1303835"/>
                    <a:gd name="connsiteY15" fmla="*/ 1593080 h 1725874"/>
                    <a:gd name="connsiteX16" fmla="*/ 371712 w 1303835"/>
                    <a:gd name="connsiteY16" fmla="*/ 1673113 h 1725874"/>
                    <a:gd name="connsiteX17" fmla="*/ 724626 w 1303835"/>
                    <a:gd name="connsiteY17" fmla="*/ 963516 h 1725874"/>
                    <a:gd name="connsiteX18" fmla="*/ 840199 w 1303835"/>
                    <a:gd name="connsiteY18" fmla="*/ 732678 h 1725874"/>
                    <a:gd name="connsiteX19" fmla="*/ 841107 w 1303835"/>
                    <a:gd name="connsiteY19" fmla="*/ 737503 h 1725874"/>
                    <a:gd name="connsiteX20" fmla="*/ 1281315 w 1303835"/>
                    <a:gd name="connsiteY20" fmla="*/ 450876 h 1725874"/>
                    <a:gd name="connsiteX21" fmla="*/ 1291447 w 1303835"/>
                    <a:gd name="connsiteY21" fmla="*/ 366151 h 1725874"/>
                    <a:gd name="connsiteX22" fmla="*/ 1273807 w 1303835"/>
                    <a:gd name="connsiteY22" fmla="*/ 347587 h 1725874"/>
                    <a:gd name="connsiteX0" fmla="*/ 1273807 w 1303835"/>
                    <a:gd name="connsiteY0" fmla="*/ 347587 h 1725874"/>
                    <a:gd name="connsiteX1" fmla="*/ 1209306 w 1303835"/>
                    <a:gd name="connsiteY1" fmla="*/ 343047 h 1725874"/>
                    <a:gd name="connsiteX2" fmla="*/ 922429 w 1303835"/>
                    <a:gd name="connsiteY2" fmla="*/ 532050 h 1725874"/>
                    <a:gd name="connsiteX3" fmla="*/ 846990 w 1303835"/>
                    <a:gd name="connsiteY3" fmla="*/ 582436 h 1725874"/>
                    <a:gd name="connsiteX4" fmla="*/ 623390 w 1303835"/>
                    <a:gd name="connsiteY4" fmla="*/ 469080 h 1725874"/>
                    <a:gd name="connsiteX5" fmla="*/ 623390 w 1303835"/>
                    <a:gd name="connsiteY5" fmla="*/ 49656 h 1725874"/>
                    <a:gd name="connsiteX6" fmla="*/ 587362 w 1303835"/>
                    <a:gd name="connsiteY6" fmla="*/ 3902 h 1725874"/>
                    <a:gd name="connsiteX7" fmla="*/ 564402 w 1303835"/>
                    <a:gd name="connsiteY7" fmla="*/ 0 h 1725874"/>
                    <a:gd name="connsiteX8" fmla="*/ 505414 w 1303835"/>
                    <a:gd name="connsiteY8" fmla="*/ 49656 h 1725874"/>
                    <a:gd name="connsiteX9" fmla="*/ 502064 w 1303835"/>
                    <a:gd name="connsiteY9" fmla="*/ 294358 h 1725874"/>
                    <a:gd name="connsiteX10" fmla="*/ 498739 w 1303835"/>
                    <a:gd name="connsiteY10" fmla="*/ 537230 h 1725874"/>
                    <a:gd name="connsiteX11" fmla="*/ 12078 w 1303835"/>
                    <a:gd name="connsiteY11" fmla="*/ 1486707 h 1725874"/>
                    <a:gd name="connsiteX12" fmla="*/ 169608 w 1303835"/>
                    <a:gd name="connsiteY12" fmla="*/ 1572443 h 1725874"/>
                    <a:gd name="connsiteX13" fmla="*/ 423874 w 1303835"/>
                    <a:gd name="connsiteY13" fmla="*/ 1070896 h 1725874"/>
                    <a:gd name="connsiteX14" fmla="*/ 470396 w 1303835"/>
                    <a:gd name="connsiteY14" fmla="*/ 1094517 h 1725874"/>
                    <a:gd name="connsiteX15" fmla="*/ 215525 w 1303835"/>
                    <a:gd name="connsiteY15" fmla="*/ 1593080 h 1725874"/>
                    <a:gd name="connsiteX16" fmla="*/ 371712 w 1303835"/>
                    <a:gd name="connsiteY16" fmla="*/ 1673113 h 1725874"/>
                    <a:gd name="connsiteX17" fmla="*/ 724626 w 1303835"/>
                    <a:gd name="connsiteY17" fmla="*/ 963516 h 1725874"/>
                    <a:gd name="connsiteX18" fmla="*/ 840199 w 1303835"/>
                    <a:gd name="connsiteY18" fmla="*/ 732678 h 1725874"/>
                    <a:gd name="connsiteX19" fmla="*/ 841107 w 1303835"/>
                    <a:gd name="connsiteY19" fmla="*/ 737503 h 1725874"/>
                    <a:gd name="connsiteX20" fmla="*/ 1281315 w 1303835"/>
                    <a:gd name="connsiteY20" fmla="*/ 450876 h 1725874"/>
                    <a:gd name="connsiteX21" fmla="*/ 1291447 w 1303835"/>
                    <a:gd name="connsiteY21" fmla="*/ 366151 h 1725874"/>
                    <a:gd name="connsiteX22" fmla="*/ 1273807 w 1303835"/>
                    <a:gd name="connsiteY22" fmla="*/ 347587 h 1725874"/>
                    <a:gd name="connsiteX0" fmla="*/ 1273807 w 1303835"/>
                    <a:gd name="connsiteY0" fmla="*/ 347587 h 1725874"/>
                    <a:gd name="connsiteX1" fmla="*/ 1209306 w 1303835"/>
                    <a:gd name="connsiteY1" fmla="*/ 343047 h 1725874"/>
                    <a:gd name="connsiteX2" fmla="*/ 922429 w 1303835"/>
                    <a:gd name="connsiteY2" fmla="*/ 532050 h 1725874"/>
                    <a:gd name="connsiteX3" fmla="*/ 846990 w 1303835"/>
                    <a:gd name="connsiteY3" fmla="*/ 582436 h 1725874"/>
                    <a:gd name="connsiteX4" fmla="*/ 623390 w 1303835"/>
                    <a:gd name="connsiteY4" fmla="*/ 469080 h 1725874"/>
                    <a:gd name="connsiteX5" fmla="*/ 623390 w 1303835"/>
                    <a:gd name="connsiteY5" fmla="*/ 49656 h 1725874"/>
                    <a:gd name="connsiteX6" fmla="*/ 587362 w 1303835"/>
                    <a:gd name="connsiteY6" fmla="*/ 3902 h 1725874"/>
                    <a:gd name="connsiteX7" fmla="*/ 564402 w 1303835"/>
                    <a:gd name="connsiteY7" fmla="*/ 0 h 1725874"/>
                    <a:gd name="connsiteX8" fmla="*/ 505414 w 1303835"/>
                    <a:gd name="connsiteY8" fmla="*/ 49656 h 1725874"/>
                    <a:gd name="connsiteX9" fmla="*/ 502064 w 1303835"/>
                    <a:gd name="connsiteY9" fmla="*/ 294358 h 1725874"/>
                    <a:gd name="connsiteX10" fmla="*/ 498739 w 1303835"/>
                    <a:gd name="connsiteY10" fmla="*/ 537230 h 1725874"/>
                    <a:gd name="connsiteX11" fmla="*/ 12078 w 1303835"/>
                    <a:gd name="connsiteY11" fmla="*/ 1486707 h 1725874"/>
                    <a:gd name="connsiteX12" fmla="*/ 169608 w 1303835"/>
                    <a:gd name="connsiteY12" fmla="*/ 1572443 h 1725874"/>
                    <a:gd name="connsiteX13" fmla="*/ 423874 w 1303835"/>
                    <a:gd name="connsiteY13" fmla="*/ 1070896 h 1725874"/>
                    <a:gd name="connsiteX14" fmla="*/ 470396 w 1303835"/>
                    <a:gd name="connsiteY14" fmla="*/ 1094517 h 1725874"/>
                    <a:gd name="connsiteX15" fmla="*/ 215525 w 1303835"/>
                    <a:gd name="connsiteY15" fmla="*/ 1593080 h 1725874"/>
                    <a:gd name="connsiteX16" fmla="*/ 371712 w 1303835"/>
                    <a:gd name="connsiteY16" fmla="*/ 1673113 h 1725874"/>
                    <a:gd name="connsiteX17" fmla="*/ 724626 w 1303835"/>
                    <a:gd name="connsiteY17" fmla="*/ 963516 h 1725874"/>
                    <a:gd name="connsiteX18" fmla="*/ 840199 w 1303835"/>
                    <a:gd name="connsiteY18" fmla="*/ 732678 h 1725874"/>
                    <a:gd name="connsiteX19" fmla="*/ 841107 w 1303835"/>
                    <a:gd name="connsiteY19" fmla="*/ 737503 h 1725874"/>
                    <a:gd name="connsiteX20" fmla="*/ 845063 w 1303835"/>
                    <a:gd name="connsiteY20" fmla="*/ 739203 h 1725874"/>
                    <a:gd name="connsiteX21" fmla="*/ 1281315 w 1303835"/>
                    <a:gd name="connsiteY21" fmla="*/ 450876 h 1725874"/>
                    <a:gd name="connsiteX22" fmla="*/ 1291447 w 1303835"/>
                    <a:gd name="connsiteY22" fmla="*/ 366151 h 1725874"/>
                    <a:gd name="connsiteX23" fmla="*/ 1273807 w 1303835"/>
                    <a:gd name="connsiteY23" fmla="*/ 347587 h 1725874"/>
                    <a:gd name="connsiteX0" fmla="*/ 1273807 w 1303835"/>
                    <a:gd name="connsiteY0" fmla="*/ 347587 h 1725874"/>
                    <a:gd name="connsiteX1" fmla="*/ 1209306 w 1303835"/>
                    <a:gd name="connsiteY1" fmla="*/ 343047 h 1725874"/>
                    <a:gd name="connsiteX2" fmla="*/ 922429 w 1303835"/>
                    <a:gd name="connsiteY2" fmla="*/ 532050 h 1725874"/>
                    <a:gd name="connsiteX3" fmla="*/ 846990 w 1303835"/>
                    <a:gd name="connsiteY3" fmla="*/ 582436 h 1725874"/>
                    <a:gd name="connsiteX4" fmla="*/ 623390 w 1303835"/>
                    <a:gd name="connsiteY4" fmla="*/ 469080 h 1725874"/>
                    <a:gd name="connsiteX5" fmla="*/ 623390 w 1303835"/>
                    <a:gd name="connsiteY5" fmla="*/ 49656 h 1725874"/>
                    <a:gd name="connsiteX6" fmla="*/ 587362 w 1303835"/>
                    <a:gd name="connsiteY6" fmla="*/ 3902 h 1725874"/>
                    <a:gd name="connsiteX7" fmla="*/ 564402 w 1303835"/>
                    <a:gd name="connsiteY7" fmla="*/ 0 h 1725874"/>
                    <a:gd name="connsiteX8" fmla="*/ 505414 w 1303835"/>
                    <a:gd name="connsiteY8" fmla="*/ 49656 h 1725874"/>
                    <a:gd name="connsiteX9" fmla="*/ 502064 w 1303835"/>
                    <a:gd name="connsiteY9" fmla="*/ 294358 h 1725874"/>
                    <a:gd name="connsiteX10" fmla="*/ 498739 w 1303835"/>
                    <a:gd name="connsiteY10" fmla="*/ 537230 h 1725874"/>
                    <a:gd name="connsiteX11" fmla="*/ 12078 w 1303835"/>
                    <a:gd name="connsiteY11" fmla="*/ 1486707 h 1725874"/>
                    <a:gd name="connsiteX12" fmla="*/ 169608 w 1303835"/>
                    <a:gd name="connsiteY12" fmla="*/ 1572443 h 1725874"/>
                    <a:gd name="connsiteX13" fmla="*/ 423874 w 1303835"/>
                    <a:gd name="connsiteY13" fmla="*/ 1070896 h 1725874"/>
                    <a:gd name="connsiteX14" fmla="*/ 470396 w 1303835"/>
                    <a:gd name="connsiteY14" fmla="*/ 1094517 h 1725874"/>
                    <a:gd name="connsiteX15" fmla="*/ 215525 w 1303835"/>
                    <a:gd name="connsiteY15" fmla="*/ 1593080 h 1725874"/>
                    <a:gd name="connsiteX16" fmla="*/ 371712 w 1303835"/>
                    <a:gd name="connsiteY16" fmla="*/ 1673113 h 1725874"/>
                    <a:gd name="connsiteX17" fmla="*/ 724626 w 1303835"/>
                    <a:gd name="connsiteY17" fmla="*/ 963516 h 1725874"/>
                    <a:gd name="connsiteX18" fmla="*/ 840199 w 1303835"/>
                    <a:gd name="connsiteY18" fmla="*/ 732678 h 1725874"/>
                    <a:gd name="connsiteX19" fmla="*/ 841107 w 1303835"/>
                    <a:gd name="connsiteY19" fmla="*/ 737503 h 1725874"/>
                    <a:gd name="connsiteX20" fmla="*/ 1281315 w 1303835"/>
                    <a:gd name="connsiteY20" fmla="*/ 450876 h 1725874"/>
                    <a:gd name="connsiteX21" fmla="*/ 1291447 w 1303835"/>
                    <a:gd name="connsiteY21" fmla="*/ 366151 h 1725874"/>
                    <a:gd name="connsiteX22" fmla="*/ 1273807 w 1303835"/>
                    <a:gd name="connsiteY22" fmla="*/ 347587 h 1725874"/>
                    <a:gd name="connsiteX0" fmla="*/ 1273807 w 1303835"/>
                    <a:gd name="connsiteY0" fmla="*/ 347587 h 1725874"/>
                    <a:gd name="connsiteX1" fmla="*/ 1209306 w 1303835"/>
                    <a:gd name="connsiteY1" fmla="*/ 343047 h 1725874"/>
                    <a:gd name="connsiteX2" fmla="*/ 922429 w 1303835"/>
                    <a:gd name="connsiteY2" fmla="*/ 532050 h 1725874"/>
                    <a:gd name="connsiteX3" fmla="*/ 846990 w 1303835"/>
                    <a:gd name="connsiteY3" fmla="*/ 582436 h 1725874"/>
                    <a:gd name="connsiteX4" fmla="*/ 623390 w 1303835"/>
                    <a:gd name="connsiteY4" fmla="*/ 469080 h 1725874"/>
                    <a:gd name="connsiteX5" fmla="*/ 623390 w 1303835"/>
                    <a:gd name="connsiteY5" fmla="*/ 49656 h 1725874"/>
                    <a:gd name="connsiteX6" fmla="*/ 587362 w 1303835"/>
                    <a:gd name="connsiteY6" fmla="*/ 3902 h 1725874"/>
                    <a:gd name="connsiteX7" fmla="*/ 564402 w 1303835"/>
                    <a:gd name="connsiteY7" fmla="*/ 0 h 1725874"/>
                    <a:gd name="connsiteX8" fmla="*/ 505414 w 1303835"/>
                    <a:gd name="connsiteY8" fmla="*/ 49656 h 1725874"/>
                    <a:gd name="connsiteX9" fmla="*/ 502064 w 1303835"/>
                    <a:gd name="connsiteY9" fmla="*/ 294358 h 1725874"/>
                    <a:gd name="connsiteX10" fmla="*/ 498739 w 1303835"/>
                    <a:gd name="connsiteY10" fmla="*/ 537230 h 1725874"/>
                    <a:gd name="connsiteX11" fmla="*/ 12078 w 1303835"/>
                    <a:gd name="connsiteY11" fmla="*/ 1486707 h 1725874"/>
                    <a:gd name="connsiteX12" fmla="*/ 169608 w 1303835"/>
                    <a:gd name="connsiteY12" fmla="*/ 1572443 h 1725874"/>
                    <a:gd name="connsiteX13" fmla="*/ 423874 w 1303835"/>
                    <a:gd name="connsiteY13" fmla="*/ 1070896 h 1725874"/>
                    <a:gd name="connsiteX14" fmla="*/ 470396 w 1303835"/>
                    <a:gd name="connsiteY14" fmla="*/ 1094517 h 1725874"/>
                    <a:gd name="connsiteX15" fmla="*/ 215525 w 1303835"/>
                    <a:gd name="connsiteY15" fmla="*/ 1593080 h 1725874"/>
                    <a:gd name="connsiteX16" fmla="*/ 371712 w 1303835"/>
                    <a:gd name="connsiteY16" fmla="*/ 1673113 h 1725874"/>
                    <a:gd name="connsiteX17" fmla="*/ 724626 w 1303835"/>
                    <a:gd name="connsiteY17" fmla="*/ 963516 h 1725874"/>
                    <a:gd name="connsiteX18" fmla="*/ 840199 w 1303835"/>
                    <a:gd name="connsiteY18" fmla="*/ 732678 h 1725874"/>
                    <a:gd name="connsiteX19" fmla="*/ 1281315 w 1303835"/>
                    <a:gd name="connsiteY19" fmla="*/ 450876 h 1725874"/>
                    <a:gd name="connsiteX20" fmla="*/ 1291447 w 1303835"/>
                    <a:gd name="connsiteY20" fmla="*/ 366151 h 1725874"/>
                    <a:gd name="connsiteX21" fmla="*/ 1273807 w 1303835"/>
                    <a:gd name="connsiteY21" fmla="*/ 347587 h 172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3835" h="1725874">
                      <a:moveTo>
                        <a:pt x="1273807" y="347587"/>
                      </a:moveTo>
                      <a:cubicBezTo>
                        <a:pt x="1253880" y="332913"/>
                        <a:pt x="1228417" y="330285"/>
                        <a:pt x="1209306" y="343047"/>
                      </a:cubicBezTo>
                      <a:cubicBezTo>
                        <a:pt x="1102802" y="415266"/>
                        <a:pt x="1018055" y="469049"/>
                        <a:pt x="922429" y="532050"/>
                      </a:cubicBezTo>
                      <a:lnTo>
                        <a:pt x="846990" y="582436"/>
                      </a:lnTo>
                      <a:lnTo>
                        <a:pt x="623390" y="469080"/>
                      </a:lnTo>
                      <a:lnTo>
                        <a:pt x="623390" y="49656"/>
                      </a:lnTo>
                      <a:cubicBezTo>
                        <a:pt x="623390" y="29088"/>
                        <a:pt x="608534" y="11440"/>
                        <a:pt x="587362" y="3902"/>
                      </a:cubicBezTo>
                      <a:cubicBezTo>
                        <a:pt x="580306" y="1389"/>
                        <a:pt x="572546" y="0"/>
                        <a:pt x="564402" y="0"/>
                      </a:cubicBezTo>
                      <a:cubicBezTo>
                        <a:pt x="531824" y="0"/>
                        <a:pt x="505414" y="22232"/>
                        <a:pt x="505414" y="49656"/>
                      </a:cubicBezTo>
                      <a:cubicBezTo>
                        <a:pt x="505967" y="126439"/>
                        <a:pt x="504016" y="210399"/>
                        <a:pt x="502064" y="294358"/>
                      </a:cubicBezTo>
                      <a:cubicBezTo>
                        <a:pt x="500956" y="375315"/>
                        <a:pt x="499847" y="456273"/>
                        <a:pt x="498739" y="537230"/>
                      </a:cubicBezTo>
                      <a:lnTo>
                        <a:pt x="12078" y="1486707"/>
                      </a:lnTo>
                      <a:cubicBezTo>
                        <a:pt x="-44599" y="1576798"/>
                        <a:pt x="113490" y="1676959"/>
                        <a:pt x="169608" y="1572443"/>
                      </a:cubicBezTo>
                      <a:cubicBezTo>
                        <a:pt x="256389" y="1398305"/>
                        <a:pt x="337092" y="1245033"/>
                        <a:pt x="423874" y="1070896"/>
                      </a:cubicBezTo>
                      <a:cubicBezTo>
                        <a:pt x="434855" y="1050065"/>
                        <a:pt x="481133" y="1069086"/>
                        <a:pt x="470396" y="1094517"/>
                      </a:cubicBezTo>
                      <a:lnTo>
                        <a:pt x="215525" y="1593080"/>
                      </a:lnTo>
                      <a:cubicBezTo>
                        <a:pt x="150989" y="1717302"/>
                        <a:pt x="328102" y="1775954"/>
                        <a:pt x="371712" y="1673113"/>
                      </a:cubicBezTo>
                      <a:cubicBezTo>
                        <a:pt x="498157" y="1422521"/>
                        <a:pt x="606988" y="1200048"/>
                        <a:pt x="724626" y="963516"/>
                      </a:cubicBezTo>
                      <a:lnTo>
                        <a:pt x="840199" y="732678"/>
                      </a:lnTo>
                      <a:lnTo>
                        <a:pt x="1281315" y="450876"/>
                      </a:lnTo>
                      <a:cubicBezTo>
                        <a:pt x="1306795" y="433860"/>
                        <a:pt x="1311331" y="395927"/>
                        <a:pt x="1291447" y="366151"/>
                      </a:cubicBezTo>
                      <a:cubicBezTo>
                        <a:pt x="1286475" y="358707"/>
                        <a:pt x="1280449" y="352478"/>
                        <a:pt x="1273807" y="347587"/>
                      </a:cubicBez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7" name="Oval 66"/>
                <p:cNvSpPr/>
                <p:nvPr/>
              </p:nvSpPr>
              <p:spPr>
                <a:xfrm flipH="1">
                  <a:off x="6314670" y="4364377"/>
                  <a:ext cx="274320" cy="27432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59" name="Group 58"/>
              <p:cNvGrpSpPr/>
              <p:nvPr/>
            </p:nvGrpSpPr>
            <p:grpSpPr>
              <a:xfrm>
                <a:off x="1395856" y="1983581"/>
                <a:ext cx="1041700" cy="1042046"/>
                <a:chOff x="1395856" y="1983581"/>
                <a:chExt cx="1041700" cy="1042046"/>
              </a:xfrm>
            </p:grpSpPr>
            <p:sp>
              <p:nvSpPr>
                <p:cNvPr id="60" name="Freeform 59"/>
                <p:cNvSpPr/>
                <p:nvPr/>
              </p:nvSpPr>
              <p:spPr>
                <a:xfrm flipH="1">
                  <a:off x="1395856" y="1983581"/>
                  <a:ext cx="1041700"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8806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6748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8806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42880"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0069" y="864708"/>
                        <a:pt x="1293836" y="852714"/>
                      </a:cubicBezTo>
                      <a:cubicBezTo>
                        <a:pt x="1317989" y="803465"/>
                        <a:pt x="1364555" y="778014"/>
                        <a:pt x="1408346" y="783220"/>
                      </a:cubicBezTo>
                      <a:cubicBezTo>
                        <a:pt x="1492614" y="775871"/>
                        <a:pt x="1545811" y="874003"/>
                        <a:pt x="1542756" y="936966"/>
                      </a:cubicBezTo>
                      <a:cubicBezTo>
                        <a:pt x="1545813" y="1012149"/>
                        <a:pt x="1485992" y="1094493"/>
                        <a:pt x="1408346" y="1087656"/>
                      </a:cubicBezTo>
                      <a:cubicBezTo>
                        <a:pt x="1367370" y="1093039"/>
                        <a:pt x="1321046" y="1064357"/>
                        <a:pt x="1296893" y="1024273"/>
                      </a:cubicBezTo>
                      <a:cubicBezTo>
                        <a:pt x="1274839" y="1006568"/>
                        <a:pt x="1248014" y="993403"/>
                        <a:pt x="1227044" y="1009804"/>
                      </a:cubicBezTo>
                      <a:lnTo>
                        <a:pt x="1212215" y="1030456"/>
                      </a:lnTo>
                      <a:lnTo>
                        <a:pt x="1212215" y="1543391"/>
                      </a:lnTo>
                      <a:lnTo>
                        <a:pt x="698836" y="1543391"/>
                      </a:lnTo>
                      <a:lnTo>
                        <a:pt x="677999" y="1527864"/>
                      </a:lnTo>
                      <a:cubicBezTo>
                        <a:pt x="662635" y="1506954"/>
                        <a:pt x="657652" y="1470730"/>
                        <a:pt x="672702" y="1450020"/>
                      </a:cubicBezTo>
                      <a:cubicBezTo>
                        <a:pt x="697508" y="1438088"/>
                        <a:pt x="742486" y="1402972"/>
                        <a:pt x="745250" y="1341623"/>
                      </a:cubicBezTo>
                      <a:cubicBezTo>
                        <a:pt x="748015" y="1280275"/>
                        <a:pt x="694182" y="1213241"/>
                        <a:pt x="603727" y="1213325"/>
                      </a:cubicBezTo>
                      <a:cubicBezTo>
                        <a:pt x="553497" y="1213325"/>
                        <a:pt x="464104" y="1254669"/>
                        <a:pt x="457825" y="1347735"/>
                      </a:cubicBezTo>
                      <a:cubicBezTo>
                        <a:pt x="464103" y="1395032"/>
                        <a:pt x="477743" y="1425622"/>
                        <a:pt x="522614" y="1456051"/>
                      </a:cubicBezTo>
                      <a:cubicBezTo>
                        <a:pt x="540319" y="1478105"/>
                        <a:pt x="547290" y="1508067"/>
                        <a:pt x="530889" y="1529038"/>
                      </a:cubicBezTo>
                      <a:lnTo>
                        <a:pt x="510900" y="1543391"/>
                      </a:lnTo>
                      <a:lnTo>
                        <a:pt x="0" y="1543391"/>
                      </a:lnTo>
                      <a:lnTo>
                        <a:pt x="0" y="1030456"/>
                      </a:lnTo>
                      <a:lnTo>
                        <a:pt x="14829" y="1006748"/>
                      </a:lnTo>
                      <a:cubicBezTo>
                        <a:pt x="35799" y="990347"/>
                        <a:pt x="68735" y="997403"/>
                        <a:pt x="87734" y="1021218"/>
                      </a:cubicBezTo>
                      <a:cubicBezTo>
                        <a:pt x="117999" y="1055190"/>
                        <a:pt x="158718" y="1083363"/>
                        <a:pt x="196131" y="1087656"/>
                      </a:cubicBezTo>
                      <a:cubicBezTo>
                        <a:pt x="261045" y="1079726"/>
                        <a:pt x="336653" y="1013676"/>
                        <a:pt x="327484" y="933909"/>
                      </a:cubicBezTo>
                      <a:cubicBezTo>
                        <a:pt x="330540" y="863308"/>
                        <a:pt x="270364" y="789332"/>
                        <a:pt x="196131" y="792388"/>
                      </a:cubicBezTo>
                      <a:cubicBezTo>
                        <a:pt x="149737" y="792388"/>
                        <a:pt x="111887" y="821798"/>
                        <a:pt x="87734" y="855769"/>
                      </a:cubicBezTo>
                      <a:cubicBezTo>
                        <a:pt x="67023" y="870819"/>
                        <a:pt x="36912" y="884170"/>
                        <a:pt x="16002" y="868806"/>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82AB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nvGrpSpPr>
                <p:cNvPr id="61" name="Group 60"/>
                <p:cNvGrpSpPr/>
                <p:nvPr/>
              </p:nvGrpSpPr>
              <p:grpSpPr>
                <a:xfrm>
                  <a:off x="2176011" y="2488406"/>
                  <a:ext cx="244010" cy="218462"/>
                  <a:chOff x="7352478" y="1412711"/>
                  <a:chExt cx="845488" cy="756966"/>
                </a:xfrm>
                <a:solidFill>
                  <a:sysClr val="window" lastClr="FFFFFF"/>
                </a:solidFill>
              </p:grpSpPr>
              <p:sp>
                <p:nvSpPr>
                  <p:cNvPr id="62" name="Rectangle 1"/>
                  <p:cNvSpPr/>
                  <p:nvPr/>
                </p:nvSpPr>
                <p:spPr>
                  <a:xfrm>
                    <a:off x="7579293" y="1412711"/>
                    <a:ext cx="618673" cy="331756"/>
                  </a:xfrm>
                  <a:custGeom>
                    <a:avLst/>
                    <a:gdLst>
                      <a:gd name="connsiteX0" fmla="*/ 0 w 4516017"/>
                      <a:gd name="connsiteY0" fmla="*/ 0 h 2612572"/>
                      <a:gd name="connsiteX1" fmla="*/ 4516017 w 4516017"/>
                      <a:gd name="connsiteY1" fmla="*/ 0 h 2612572"/>
                      <a:gd name="connsiteX2" fmla="*/ 4516017 w 4516017"/>
                      <a:gd name="connsiteY2" fmla="*/ 2612572 h 2612572"/>
                      <a:gd name="connsiteX3" fmla="*/ 0 w 4516017"/>
                      <a:gd name="connsiteY3" fmla="*/ 2612572 h 2612572"/>
                      <a:gd name="connsiteX4" fmla="*/ 0 w 4516017"/>
                      <a:gd name="connsiteY4" fmla="*/ 0 h 2612572"/>
                      <a:gd name="connsiteX0" fmla="*/ 0 w 4516017"/>
                      <a:gd name="connsiteY0" fmla="*/ 37322 h 2649894"/>
                      <a:gd name="connsiteX1" fmla="*/ 3638940 w 4516017"/>
                      <a:gd name="connsiteY1" fmla="*/ 0 h 2649894"/>
                      <a:gd name="connsiteX2" fmla="*/ 4516017 w 4516017"/>
                      <a:gd name="connsiteY2" fmla="*/ 2649894 h 2649894"/>
                      <a:gd name="connsiteX3" fmla="*/ 0 w 4516017"/>
                      <a:gd name="connsiteY3" fmla="*/ 2649894 h 2649894"/>
                      <a:gd name="connsiteX4" fmla="*/ 0 w 4516017"/>
                      <a:gd name="connsiteY4" fmla="*/ 37322 h 2649894"/>
                      <a:gd name="connsiteX0" fmla="*/ 0 w 4453264"/>
                      <a:gd name="connsiteY0" fmla="*/ 37322 h 2649894"/>
                      <a:gd name="connsiteX1" fmla="*/ 3638940 w 4453264"/>
                      <a:gd name="connsiteY1" fmla="*/ 0 h 2649894"/>
                      <a:gd name="connsiteX2" fmla="*/ 4453264 w 4453264"/>
                      <a:gd name="connsiteY2" fmla="*/ 1457588 h 2649894"/>
                      <a:gd name="connsiteX3" fmla="*/ 0 w 4453264"/>
                      <a:gd name="connsiteY3" fmla="*/ 2649894 h 2649894"/>
                      <a:gd name="connsiteX4" fmla="*/ 0 w 4453264"/>
                      <a:gd name="connsiteY4" fmla="*/ 37322 h 2649894"/>
                      <a:gd name="connsiteX0" fmla="*/ 0 w 4453264"/>
                      <a:gd name="connsiteY0" fmla="*/ 0 h 2612572"/>
                      <a:gd name="connsiteX1" fmla="*/ 3576188 w 4453264"/>
                      <a:gd name="connsiteY1" fmla="*/ 25431 h 2612572"/>
                      <a:gd name="connsiteX2" fmla="*/ 4453264 w 4453264"/>
                      <a:gd name="connsiteY2" fmla="*/ 1420266 h 2612572"/>
                      <a:gd name="connsiteX3" fmla="*/ 0 w 4453264"/>
                      <a:gd name="connsiteY3" fmla="*/ 2612572 h 2612572"/>
                      <a:gd name="connsiteX4" fmla="*/ 0 w 4453264"/>
                      <a:gd name="connsiteY4" fmla="*/ 0 h 2612572"/>
                      <a:gd name="connsiteX0" fmla="*/ 0 w 4471193"/>
                      <a:gd name="connsiteY0" fmla="*/ 0 h 2612572"/>
                      <a:gd name="connsiteX1" fmla="*/ 3576188 w 4471193"/>
                      <a:gd name="connsiteY1" fmla="*/ 25431 h 2612572"/>
                      <a:gd name="connsiteX2" fmla="*/ 4471193 w 4471193"/>
                      <a:gd name="connsiteY2" fmla="*/ 1007890 h 2612572"/>
                      <a:gd name="connsiteX3" fmla="*/ 0 w 4471193"/>
                      <a:gd name="connsiteY3" fmla="*/ 2612572 h 2612572"/>
                      <a:gd name="connsiteX4" fmla="*/ 0 w 4471193"/>
                      <a:gd name="connsiteY4" fmla="*/ 0 h 2612572"/>
                      <a:gd name="connsiteX0" fmla="*/ 0 w 4471193"/>
                      <a:gd name="connsiteY0" fmla="*/ 0 h 2612572"/>
                      <a:gd name="connsiteX1" fmla="*/ 3637873 w 4471193"/>
                      <a:gd name="connsiteY1" fmla="*/ 94374 h 2612572"/>
                      <a:gd name="connsiteX2" fmla="*/ 4471193 w 4471193"/>
                      <a:gd name="connsiteY2" fmla="*/ 1007890 h 2612572"/>
                      <a:gd name="connsiteX3" fmla="*/ 0 w 4471193"/>
                      <a:gd name="connsiteY3" fmla="*/ 2612572 h 2612572"/>
                      <a:gd name="connsiteX4" fmla="*/ 0 w 4471193"/>
                      <a:gd name="connsiteY4" fmla="*/ 0 h 2612572"/>
                      <a:gd name="connsiteX0" fmla="*/ 0 w 4394993"/>
                      <a:gd name="connsiteY0" fmla="*/ 0 h 2612572"/>
                      <a:gd name="connsiteX1" fmla="*/ 3637873 w 4394993"/>
                      <a:gd name="connsiteY1" fmla="*/ 94374 h 2612572"/>
                      <a:gd name="connsiteX2" fmla="*/ 4394993 w 4394993"/>
                      <a:gd name="connsiteY2" fmla="*/ 913547 h 2612572"/>
                      <a:gd name="connsiteX3" fmla="*/ 0 w 4394993"/>
                      <a:gd name="connsiteY3" fmla="*/ 2612572 h 2612572"/>
                      <a:gd name="connsiteX4" fmla="*/ 0 w 4394993"/>
                      <a:gd name="connsiteY4" fmla="*/ 0 h 2612572"/>
                      <a:gd name="connsiteX0" fmla="*/ 0 w 4394993"/>
                      <a:gd name="connsiteY0" fmla="*/ 0 h 2612572"/>
                      <a:gd name="connsiteX1" fmla="*/ 3645131 w 4394993"/>
                      <a:gd name="connsiteY1" fmla="*/ 94374 h 2612572"/>
                      <a:gd name="connsiteX2" fmla="*/ 4394993 w 4394993"/>
                      <a:gd name="connsiteY2" fmla="*/ 913547 h 2612572"/>
                      <a:gd name="connsiteX3" fmla="*/ 0 w 4394993"/>
                      <a:gd name="connsiteY3" fmla="*/ 2612572 h 2612572"/>
                      <a:gd name="connsiteX4" fmla="*/ 0 w 4394993"/>
                      <a:gd name="connsiteY4" fmla="*/ 0 h 2612572"/>
                      <a:gd name="connsiteX0" fmla="*/ 0 w 4394993"/>
                      <a:gd name="connsiteY0" fmla="*/ 0 h 2612572"/>
                      <a:gd name="connsiteX1" fmla="*/ 2698102 w 4394993"/>
                      <a:gd name="connsiteY1" fmla="*/ 71535 h 2612572"/>
                      <a:gd name="connsiteX2" fmla="*/ 3645131 w 4394993"/>
                      <a:gd name="connsiteY2" fmla="*/ 94374 h 2612572"/>
                      <a:gd name="connsiteX3" fmla="*/ 4394993 w 4394993"/>
                      <a:gd name="connsiteY3" fmla="*/ 913547 h 2612572"/>
                      <a:gd name="connsiteX4" fmla="*/ 0 w 4394993"/>
                      <a:gd name="connsiteY4" fmla="*/ 2612572 h 2612572"/>
                      <a:gd name="connsiteX5" fmla="*/ 0 w 4394993"/>
                      <a:gd name="connsiteY5" fmla="*/ 0 h 2612572"/>
                      <a:gd name="connsiteX0" fmla="*/ 0 w 4394993"/>
                      <a:gd name="connsiteY0" fmla="*/ 0 h 2612572"/>
                      <a:gd name="connsiteX1" fmla="*/ 3158930 w 4394993"/>
                      <a:gd name="connsiteY1" fmla="*/ 60650 h 2612572"/>
                      <a:gd name="connsiteX2" fmla="*/ 3645131 w 4394993"/>
                      <a:gd name="connsiteY2" fmla="*/ 94374 h 2612572"/>
                      <a:gd name="connsiteX3" fmla="*/ 4394993 w 4394993"/>
                      <a:gd name="connsiteY3" fmla="*/ 913547 h 2612572"/>
                      <a:gd name="connsiteX4" fmla="*/ 0 w 4394993"/>
                      <a:gd name="connsiteY4" fmla="*/ 2612572 h 2612572"/>
                      <a:gd name="connsiteX5" fmla="*/ 0 w 4394993"/>
                      <a:gd name="connsiteY5" fmla="*/ 0 h 2612572"/>
                      <a:gd name="connsiteX0" fmla="*/ 0 w 4394993"/>
                      <a:gd name="connsiteY0" fmla="*/ 0 h 2612572"/>
                      <a:gd name="connsiteX1" fmla="*/ 2306217 w 4394993"/>
                      <a:gd name="connsiteY1" fmla="*/ 46135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0 h 2612572"/>
                      <a:gd name="connsiteX1" fmla="*/ 2679960 w 4394993"/>
                      <a:gd name="connsiteY1" fmla="*/ 292878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0 h 2612572"/>
                      <a:gd name="connsiteX1" fmla="*/ 2679960 w 4394993"/>
                      <a:gd name="connsiteY1" fmla="*/ 292878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9251 h 2621823"/>
                      <a:gd name="connsiteX1" fmla="*/ 2679960 w 4394993"/>
                      <a:gd name="connsiteY1" fmla="*/ 302129 h 2621823"/>
                      <a:gd name="connsiteX2" fmla="*/ 3158930 w 4394993"/>
                      <a:gd name="connsiteY2" fmla="*/ 69901 h 2621823"/>
                      <a:gd name="connsiteX3" fmla="*/ 3645131 w 4394993"/>
                      <a:gd name="connsiteY3" fmla="*/ 103625 h 2621823"/>
                      <a:gd name="connsiteX4" fmla="*/ 4394993 w 4394993"/>
                      <a:gd name="connsiteY4" fmla="*/ 922798 h 2621823"/>
                      <a:gd name="connsiteX5" fmla="*/ 0 w 4394993"/>
                      <a:gd name="connsiteY5" fmla="*/ 2621823 h 2621823"/>
                      <a:gd name="connsiteX6" fmla="*/ 0 w 4394993"/>
                      <a:gd name="connsiteY6" fmla="*/ 9251 h 2621823"/>
                      <a:gd name="connsiteX0" fmla="*/ 0 w 4394993"/>
                      <a:gd name="connsiteY0" fmla="*/ 21038 h 2633610"/>
                      <a:gd name="connsiteX1" fmla="*/ 2679960 w 4394993"/>
                      <a:gd name="connsiteY1" fmla="*/ 313916 h 2633610"/>
                      <a:gd name="connsiteX2" fmla="*/ 3158930 w 4394993"/>
                      <a:gd name="connsiteY2" fmla="*/ 81688 h 2633610"/>
                      <a:gd name="connsiteX3" fmla="*/ 3645131 w 4394993"/>
                      <a:gd name="connsiteY3" fmla="*/ 115412 h 2633610"/>
                      <a:gd name="connsiteX4" fmla="*/ 4394993 w 4394993"/>
                      <a:gd name="connsiteY4" fmla="*/ 934585 h 2633610"/>
                      <a:gd name="connsiteX5" fmla="*/ 0 w 4394993"/>
                      <a:gd name="connsiteY5" fmla="*/ 2633610 h 2633610"/>
                      <a:gd name="connsiteX6" fmla="*/ 0 w 4394993"/>
                      <a:gd name="connsiteY6" fmla="*/ 21038 h 2633610"/>
                      <a:gd name="connsiteX0" fmla="*/ 0 w 4394993"/>
                      <a:gd name="connsiteY0" fmla="*/ 16214 h 2628786"/>
                      <a:gd name="connsiteX1" fmla="*/ 2679960 w 4394993"/>
                      <a:gd name="connsiteY1" fmla="*/ 309092 h 2628786"/>
                      <a:gd name="connsiteX2" fmla="*/ 3158930 w 4394993"/>
                      <a:gd name="connsiteY2" fmla="*/ 76864 h 2628786"/>
                      <a:gd name="connsiteX3" fmla="*/ 3645131 w 4394993"/>
                      <a:gd name="connsiteY3" fmla="*/ 110588 h 2628786"/>
                      <a:gd name="connsiteX4" fmla="*/ 4394993 w 4394993"/>
                      <a:gd name="connsiteY4" fmla="*/ 929761 h 2628786"/>
                      <a:gd name="connsiteX5" fmla="*/ 0 w 4394993"/>
                      <a:gd name="connsiteY5" fmla="*/ 2628786 h 2628786"/>
                      <a:gd name="connsiteX6" fmla="*/ 0 w 4394993"/>
                      <a:gd name="connsiteY6" fmla="*/ 16214 h 2628786"/>
                      <a:gd name="connsiteX0" fmla="*/ 0 w 4394993"/>
                      <a:gd name="connsiteY0" fmla="*/ 21436 h 2634008"/>
                      <a:gd name="connsiteX1" fmla="*/ 2679960 w 4394993"/>
                      <a:gd name="connsiteY1" fmla="*/ 314314 h 2634008"/>
                      <a:gd name="connsiteX2" fmla="*/ 3148045 w 4394993"/>
                      <a:gd name="connsiteY2" fmla="*/ 74829 h 2634008"/>
                      <a:gd name="connsiteX3" fmla="*/ 3645131 w 4394993"/>
                      <a:gd name="connsiteY3" fmla="*/ 115810 h 2634008"/>
                      <a:gd name="connsiteX4" fmla="*/ 4394993 w 4394993"/>
                      <a:gd name="connsiteY4" fmla="*/ 934983 h 2634008"/>
                      <a:gd name="connsiteX5" fmla="*/ 0 w 4394993"/>
                      <a:gd name="connsiteY5" fmla="*/ 2634008 h 2634008"/>
                      <a:gd name="connsiteX6" fmla="*/ 0 w 4394993"/>
                      <a:gd name="connsiteY6" fmla="*/ 21436 h 2634008"/>
                      <a:gd name="connsiteX0" fmla="*/ 0 w 4394993"/>
                      <a:gd name="connsiteY0" fmla="*/ 21436 h 2634008"/>
                      <a:gd name="connsiteX1" fmla="*/ 2679960 w 4394993"/>
                      <a:gd name="connsiteY1" fmla="*/ 314314 h 2634008"/>
                      <a:gd name="connsiteX2" fmla="*/ 3148045 w 4394993"/>
                      <a:gd name="connsiteY2" fmla="*/ 74829 h 2634008"/>
                      <a:gd name="connsiteX3" fmla="*/ 3645131 w 4394993"/>
                      <a:gd name="connsiteY3" fmla="*/ 115810 h 2634008"/>
                      <a:gd name="connsiteX4" fmla="*/ 4394993 w 4394993"/>
                      <a:gd name="connsiteY4" fmla="*/ 934983 h 2634008"/>
                      <a:gd name="connsiteX5" fmla="*/ 0 w 4394993"/>
                      <a:gd name="connsiteY5" fmla="*/ 2634008 h 2634008"/>
                      <a:gd name="connsiteX6" fmla="*/ 0 w 4394993"/>
                      <a:gd name="connsiteY6" fmla="*/ 21436 h 2634008"/>
                      <a:gd name="connsiteX0" fmla="*/ 0 w 4394993"/>
                      <a:gd name="connsiteY0" fmla="*/ 18213 h 2630785"/>
                      <a:gd name="connsiteX1" fmla="*/ 2679960 w 4394993"/>
                      <a:gd name="connsiteY1" fmla="*/ 311091 h 2630785"/>
                      <a:gd name="connsiteX2" fmla="*/ 3148045 w 4394993"/>
                      <a:gd name="connsiteY2" fmla="*/ 71606 h 2630785"/>
                      <a:gd name="connsiteX3" fmla="*/ 3645131 w 4394993"/>
                      <a:gd name="connsiteY3" fmla="*/ 112587 h 2630785"/>
                      <a:gd name="connsiteX4" fmla="*/ 4394993 w 4394993"/>
                      <a:gd name="connsiteY4" fmla="*/ 931760 h 2630785"/>
                      <a:gd name="connsiteX5" fmla="*/ 0 w 4394993"/>
                      <a:gd name="connsiteY5" fmla="*/ 2630785 h 2630785"/>
                      <a:gd name="connsiteX6" fmla="*/ 0 w 4394993"/>
                      <a:gd name="connsiteY6" fmla="*/ 18213 h 2630785"/>
                      <a:gd name="connsiteX0" fmla="*/ 0 w 4394993"/>
                      <a:gd name="connsiteY0" fmla="*/ 29361 h 2641933"/>
                      <a:gd name="connsiteX1" fmla="*/ 2679960 w 4394993"/>
                      <a:gd name="connsiteY1" fmla="*/ 322239 h 2641933"/>
                      <a:gd name="connsiteX2" fmla="*/ 3148045 w 4394993"/>
                      <a:gd name="connsiteY2" fmla="*/ 82754 h 2641933"/>
                      <a:gd name="connsiteX3" fmla="*/ 3645131 w 4394993"/>
                      <a:gd name="connsiteY3" fmla="*/ 123735 h 2641933"/>
                      <a:gd name="connsiteX4" fmla="*/ 4394993 w 4394993"/>
                      <a:gd name="connsiteY4" fmla="*/ 942908 h 2641933"/>
                      <a:gd name="connsiteX5" fmla="*/ 0 w 4394993"/>
                      <a:gd name="connsiteY5" fmla="*/ 2641933 h 2641933"/>
                      <a:gd name="connsiteX6" fmla="*/ 0 w 4394993"/>
                      <a:gd name="connsiteY6" fmla="*/ 29361 h 2641933"/>
                      <a:gd name="connsiteX0" fmla="*/ 0 w 4394993"/>
                      <a:gd name="connsiteY0" fmla="*/ 21450 h 2634022"/>
                      <a:gd name="connsiteX1" fmla="*/ 2679960 w 4394993"/>
                      <a:gd name="connsiteY1" fmla="*/ 314328 h 2634022"/>
                      <a:gd name="connsiteX2" fmla="*/ 3148045 w 4394993"/>
                      <a:gd name="connsiteY2" fmla="*/ 74843 h 2634022"/>
                      <a:gd name="connsiteX3" fmla="*/ 3670531 w 4394993"/>
                      <a:gd name="connsiteY3" fmla="*/ 141224 h 2634022"/>
                      <a:gd name="connsiteX4" fmla="*/ 4394993 w 4394993"/>
                      <a:gd name="connsiteY4" fmla="*/ 934997 h 2634022"/>
                      <a:gd name="connsiteX5" fmla="*/ 0 w 4394993"/>
                      <a:gd name="connsiteY5" fmla="*/ 2634022 h 2634022"/>
                      <a:gd name="connsiteX6" fmla="*/ 0 w 4394993"/>
                      <a:gd name="connsiteY6" fmla="*/ 21450 h 2634022"/>
                      <a:gd name="connsiteX0" fmla="*/ 0 w 4394993"/>
                      <a:gd name="connsiteY0" fmla="*/ 21450 h 2634022"/>
                      <a:gd name="connsiteX1" fmla="*/ 2679960 w 4394993"/>
                      <a:gd name="connsiteY1" fmla="*/ 314328 h 2634022"/>
                      <a:gd name="connsiteX2" fmla="*/ 3148045 w 4394993"/>
                      <a:gd name="connsiteY2" fmla="*/ 74843 h 2634022"/>
                      <a:gd name="connsiteX3" fmla="*/ 3670531 w 4394993"/>
                      <a:gd name="connsiteY3" fmla="*/ 141224 h 2634022"/>
                      <a:gd name="connsiteX4" fmla="*/ 4394993 w 4394993"/>
                      <a:gd name="connsiteY4" fmla="*/ 934997 h 2634022"/>
                      <a:gd name="connsiteX5" fmla="*/ 3859245 w 4394993"/>
                      <a:gd name="connsiteY5" fmla="*/ 1130756 h 2634022"/>
                      <a:gd name="connsiteX6" fmla="*/ 0 w 4394993"/>
                      <a:gd name="connsiteY6" fmla="*/ 2634022 h 2634022"/>
                      <a:gd name="connsiteX7" fmla="*/ 0 w 4394993"/>
                      <a:gd name="connsiteY7"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0 w 4465217"/>
                      <a:gd name="connsiteY6" fmla="*/ 2634022 h 2634022"/>
                      <a:gd name="connsiteX7" fmla="*/ 0 w 4465217"/>
                      <a:gd name="connsiteY7"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3296817 w 4465217"/>
                      <a:gd name="connsiteY6" fmla="*/ 1678671 h 2634022"/>
                      <a:gd name="connsiteX7" fmla="*/ 0 w 4465217"/>
                      <a:gd name="connsiteY7" fmla="*/ 2634022 h 2634022"/>
                      <a:gd name="connsiteX8" fmla="*/ 0 w 4465217"/>
                      <a:gd name="connsiteY8"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4171303 w 4465217"/>
                      <a:gd name="connsiteY6" fmla="*/ 1689557 h 2634022"/>
                      <a:gd name="connsiteX7" fmla="*/ 0 w 4465217"/>
                      <a:gd name="connsiteY7" fmla="*/ 2634022 h 2634022"/>
                      <a:gd name="connsiteX8" fmla="*/ 0 w 4465217"/>
                      <a:gd name="connsiteY8" fmla="*/ 21450 h 2634022"/>
                      <a:gd name="connsiteX0" fmla="*/ 0 w 4487666"/>
                      <a:gd name="connsiteY0" fmla="*/ 21450 h 2634022"/>
                      <a:gd name="connsiteX1" fmla="*/ 2679960 w 4487666"/>
                      <a:gd name="connsiteY1" fmla="*/ 314328 h 2634022"/>
                      <a:gd name="connsiteX2" fmla="*/ 3148045 w 4487666"/>
                      <a:gd name="connsiteY2" fmla="*/ 74843 h 2634022"/>
                      <a:gd name="connsiteX3" fmla="*/ 3670531 w 4487666"/>
                      <a:gd name="connsiteY3" fmla="*/ 141224 h 2634022"/>
                      <a:gd name="connsiteX4" fmla="*/ 4394993 w 4487666"/>
                      <a:gd name="connsiteY4" fmla="*/ 934997 h 2634022"/>
                      <a:gd name="connsiteX5" fmla="*/ 4465217 w 4487666"/>
                      <a:gd name="connsiteY5" fmla="*/ 1348470 h 2634022"/>
                      <a:gd name="connsiteX6" fmla="*/ 4171303 w 4487666"/>
                      <a:gd name="connsiteY6" fmla="*/ 1689557 h 2634022"/>
                      <a:gd name="connsiteX7" fmla="*/ 0 w 4487666"/>
                      <a:gd name="connsiteY7" fmla="*/ 2634022 h 2634022"/>
                      <a:gd name="connsiteX8" fmla="*/ 0 w 4487666"/>
                      <a:gd name="connsiteY8" fmla="*/ 21450 h 2634022"/>
                      <a:gd name="connsiteX0" fmla="*/ 0 w 4494029"/>
                      <a:gd name="connsiteY0" fmla="*/ 21450 h 2634022"/>
                      <a:gd name="connsiteX1" fmla="*/ 2679960 w 4494029"/>
                      <a:gd name="connsiteY1" fmla="*/ 314328 h 2634022"/>
                      <a:gd name="connsiteX2" fmla="*/ 3148045 w 4494029"/>
                      <a:gd name="connsiteY2" fmla="*/ 74843 h 2634022"/>
                      <a:gd name="connsiteX3" fmla="*/ 3670531 w 4494029"/>
                      <a:gd name="connsiteY3" fmla="*/ 141224 h 2634022"/>
                      <a:gd name="connsiteX4" fmla="*/ 4394993 w 4494029"/>
                      <a:gd name="connsiteY4" fmla="*/ 934997 h 2634022"/>
                      <a:gd name="connsiteX5" fmla="*/ 4465217 w 4494029"/>
                      <a:gd name="connsiteY5" fmla="*/ 1348470 h 2634022"/>
                      <a:gd name="connsiteX6" fmla="*/ 4171303 w 4494029"/>
                      <a:gd name="connsiteY6" fmla="*/ 1689557 h 2634022"/>
                      <a:gd name="connsiteX7" fmla="*/ 0 w 4494029"/>
                      <a:gd name="connsiteY7" fmla="*/ 2634022 h 2634022"/>
                      <a:gd name="connsiteX8" fmla="*/ 0 w 4494029"/>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0 w 4497210"/>
                      <a:gd name="connsiteY7" fmla="*/ 2634022 h 2634022"/>
                      <a:gd name="connsiteX8" fmla="*/ 0 w 4497210"/>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0 w 4497210"/>
                      <a:gd name="connsiteY7" fmla="*/ 2634022 h 2634022"/>
                      <a:gd name="connsiteX8" fmla="*/ 0 w 4497210"/>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2843243 w 4497210"/>
                      <a:gd name="connsiteY7" fmla="*/ 1987099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5904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514529 w 4497210"/>
                      <a:gd name="connsiteY8" fmla="*/ 23572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429441 w 4497210"/>
                      <a:gd name="connsiteY9" fmla="*/ 2481746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24513 w 4497210"/>
                      <a:gd name="connsiteY9" fmla="*/ 1396658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1824413 w 4497210"/>
                      <a:gd name="connsiteY10" fmla="*/ 1763942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371785 w 4497210"/>
                      <a:gd name="connsiteY11" fmla="*/ 1777658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10113 w 4497210"/>
                      <a:gd name="connsiteY11" fmla="*/ 122444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380929 w 4497210"/>
                      <a:gd name="connsiteY12" fmla="*/ 1288454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380929 w 4497210"/>
                      <a:gd name="connsiteY12" fmla="*/ 1288454 h 2634022"/>
                      <a:gd name="connsiteX13" fmla="*/ 0 w 4497210"/>
                      <a:gd name="connsiteY13" fmla="*/ 2634022 h 2634022"/>
                      <a:gd name="connsiteX14" fmla="*/ 0 w 4497210"/>
                      <a:gd name="connsiteY14" fmla="*/ 21450 h 2634022"/>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210497 w 4497210"/>
                      <a:gd name="connsiteY14" fmla="*/ 904406 h 2435306"/>
                      <a:gd name="connsiteX15" fmla="*/ 0 w 4497210"/>
                      <a:gd name="connsiteY15"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45905 w 4497210"/>
                      <a:gd name="connsiteY14" fmla="*/ 1393610 h 2435306"/>
                      <a:gd name="connsiteX15" fmla="*/ 0 w 4497210"/>
                      <a:gd name="connsiteY15" fmla="*/ 21450 h 2435306"/>
                      <a:gd name="connsiteX0" fmla="*/ 42359 w 4539569"/>
                      <a:gd name="connsiteY0" fmla="*/ 21450 h 2435306"/>
                      <a:gd name="connsiteX1" fmla="*/ 2722319 w 4539569"/>
                      <a:gd name="connsiteY1" fmla="*/ 314328 h 2435306"/>
                      <a:gd name="connsiteX2" fmla="*/ 3190404 w 4539569"/>
                      <a:gd name="connsiteY2" fmla="*/ 74843 h 2435306"/>
                      <a:gd name="connsiteX3" fmla="*/ 3712890 w 4539569"/>
                      <a:gd name="connsiteY3" fmla="*/ 141224 h 2435306"/>
                      <a:gd name="connsiteX4" fmla="*/ 4437352 w 4539569"/>
                      <a:gd name="connsiteY4" fmla="*/ 934997 h 2435306"/>
                      <a:gd name="connsiteX5" fmla="*/ 4507576 w 4539569"/>
                      <a:gd name="connsiteY5" fmla="*/ 1348470 h 2435306"/>
                      <a:gd name="connsiteX6" fmla="*/ 4191891 w 4539569"/>
                      <a:gd name="connsiteY6" fmla="*/ 1725842 h 2435306"/>
                      <a:gd name="connsiteX7" fmla="*/ 3992317 w 4539569"/>
                      <a:gd name="connsiteY7" fmla="*/ 2324556 h 2435306"/>
                      <a:gd name="connsiteX8" fmla="*/ 3705659 w 4539569"/>
                      <a:gd name="connsiteY8" fmla="*/ 2408013 h 2435306"/>
                      <a:gd name="connsiteX9" fmla="*/ 2648584 w 4539569"/>
                      <a:gd name="connsiteY9" fmla="*/ 1401230 h 2435306"/>
                      <a:gd name="connsiteX10" fmla="*/ 2182240 w 4539569"/>
                      <a:gd name="connsiteY10" fmla="*/ 1302170 h 2435306"/>
                      <a:gd name="connsiteX11" fmla="*/ 1775332 w 4539569"/>
                      <a:gd name="connsiteY11" fmla="*/ 1247306 h 2435306"/>
                      <a:gd name="connsiteX12" fmla="*/ 1423288 w 4539569"/>
                      <a:gd name="connsiteY12" fmla="*/ 1288454 h 2435306"/>
                      <a:gd name="connsiteX13" fmla="*/ 481271 w 4539569"/>
                      <a:gd name="connsiteY13" fmla="*/ 1833922 h 2435306"/>
                      <a:gd name="connsiteX14" fmla="*/ 88264 w 4539569"/>
                      <a:gd name="connsiteY14" fmla="*/ 1393610 h 2435306"/>
                      <a:gd name="connsiteX15" fmla="*/ 42359 w 4539569"/>
                      <a:gd name="connsiteY15" fmla="*/ 21450 h 2435306"/>
                      <a:gd name="connsiteX0" fmla="*/ 55431 w 4552641"/>
                      <a:gd name="connsiteY0" fmla="*/ 21450 h 2435306"/>
                      <a:gd name="connsiteX1" fmla="*/ 2735391 w 4552641"/>
                      <a:gd name="connsiteY1" fmla="*/ 314328 h 2435306"/>
                      <a:gd name="connsiteX2" fmla="*/ 3203476 w 4552641"/>
                      <a:gd name="connsiteY2" fmla="*/ 74843 h 2435306"/>
                      <a:gd name="connsiteX3" fmla="*/ 3725962 w 4552641"/>
                      <a:gd name="connsiteY3" fmla="*/ 141224 h 2435306"/>
                      <a:gd name="connsiteX4" fmla="*/ 4450424 w 4552641"/>
                      <a:gd name="connsiteY4" fmla="*/ 934997 h 2435306"/>
                      <a:gd name="connsiteX5" fmla="*/ 4520648 w 4552641"/>
                      <a:gd name="connsiteY5" fmla="*/ 1348470 h 2435306"/>
                      <a:gd name="connsiteX6" fmla="*/ 4204963 w 4552641"/>
                      <a:gd name="connsiteY6" fmla="*/ 1725842 h 2435306"/>
                      <a:gd name="connsiteX7" fmla="*/ 4005389 w 4552641"/>
                      <a:gd name="connsiteY7" fmla="*/ 2324556 h 2435306"/>
                      <a:gd name="connsiteX8" fmla="*/ 3718731 w 4552641"/>
                      <a:gd name="connsiteY8" fmla="*/ 2408013 h 2435306"/>
                      <a:gd name="connsiteX9" fmla="*/ 2661656 w 4552641"/>
                      <a:gd name="connsiteY9" fmla="*/ 1401230 h 2435306"/>
                      <a:gd name="connsiteX10" fmla="*/ 2195312 w 4552641"/>
                      <a:gd name="connsiteY10" fmla="*/ 1302170 h 2435306"/>
                      <a:gd name="connsiteX11" fmla="*/ 1788404 w 4552641"/>
                      <a:gd name="connsiteY11" fmla="*/ 1247306 h 2435306"/>
                      <a:gd name="connsiteX12" fmla="*/ 1436360 w 4552641"/>
                      <a:gd name="connsiteY12" fmla="*/ 1288454 h 2435306"/>
                      <a:gd name="connsiteX13" fmla="*/ 494343 w 4552641"/>
                      <a:gd name="connsiteY13" fmla="*/ 1833922 h 2435306"/>
                      <a:gd name="connsiteX14" fmla="*/ 101336 w 4552641"/>
                      <a:gd name="connsiteY14" fmla="*/ 1393610 h 2435306"/>
                      <a:gd name="connsiteX15" fmla="*/ 55431 w 4552641"/>
                      <a:gd name="connsiteY15" fmla="*/ 21450 h 2435306"/>
                      <a:gd name="connsiteX0" fmla="*/ 49771 w 4546981"/>
                      <a:gd name="connsiteY0" fmla="*/ 21450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49771 w 4546981"/>
                      <a:gd name="connsiteY15" fmla="*/ 21450 h 2435306"/>
                      <a:gd name="connsiteX0" fmla="*/ 1508239 w 4546981"/>
                      <a:gd name="connsiteY0" fmla="*/ 332346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508239 w 4546981"/>
                      <a:gd name="connsiteY15" fmla="*/ 332346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32610 w 4527384"/>
                      <a:gd name="connsiteY0" fmla="*/ 483222 h 2435306"/>
                      <a:gd name="connsiteX1" fmla="*/ 2710134 w 4527384"/>
                      <a:gd name="connsiteY1" fmla="*/ 314328 h 2435306"/>
                      <a:gd name="connsiteX2" fmla="*/ 3178219 w 4527384"/>
                      <a:gd name="connsiteY2" fmla="*/ 74843 h 2435306"/>
                      <a:gd name="connsiteX3" fmla="*/ 3700705 w 4527384"/>
                      <a:gd name="connsiteY3" fmla="*/ 141224 h 2435306"/>
                      <a:gd name="connsiteX4" fmla="*/ 4425167 w 4527384"/>
                      <a:gd name="connsiteY4" fmla="*/ 934997 h 2435306"/>
                      <a:gd name="connsiteX5" fmla="*/ 4495391 w 4527384"/>
                      <a:gd name="connsiteY5" fmla="*/ 1348470 h 2435306"/>
                      <a:gd name="connsiteX6" fmla="*/ 4179706 w 4527384"/>
                      <a:gd name="connsiteY6" fmla="*/ 1725842 h 2435306"/>
                      <a:gd name="connsiteX7" fmla="*/ 3980132 w 4527384"/>
                      <a:gd name="connsiteY7" fmla="*/ 2324556 h 2435306"/>
                      <a:gd name="connsiteX8" fmla="*/ 3693474 w 4527384"/>
                      <a:gd name="connsiteY8" fmla="*/ 2408013 h 2435306"/>
                      <a:gd name="connsiteX9" fmla="*/ 2636399 w 4527384"/>
                      <a:gd name="connsiteY9" fmla="*/ 1401230 h 2435306"/>
                      <a:gd name="connsiteX10" fmla="*/ 2170055 w 4527384"/>
                      <a:gd name="connsiteY10" fmla="*/ 1302170 h 2435306"/>
                      <a:gd name="connsiteX11" fmla="*/ 1763147 w 4527384"/>
                      <a:gd name="connsiteY11" fmla="*/ 1247306 h 2435306"/>
                      <a:gd name="connsiteX12" fmla="*/ 1411103 w 4527384"/>
                      <a:gd name="connsiteY12" fmla="*/ 1288454 h 2435306"/>
                      <a:gd name="connsiteX13" fmla="*/ 469086 w 4527384"/>
                      <a:gd name="connsiteY13" fmla="*/ 1833922 h 2435306"/>
                      <a:gd name="connsiteX14" fmla="*/ 98939 w 4527384"/>
                      <a:gd name="connsiteY14" fmla="*/ 1347890 h 2435306"/>
                      <a:gd name="connsiteX15" fmla="*/ 1232610 w 4527384"/>
                      <a:gd name="connsiteY15" fmla="*/ 483222 h 2435306"/>
                      <a:gd name="connsiteX0" fmla="*/ 1247947 w 4542721"/>
                      <a:gd name="connsiteY0" fmla="*/ 483222 h 2435306"/>
                      <a:gd name="connsiteX1" fmla="*/ 2725471 w 4542721"/>
                      <a:gd name="connsiteY1" fmla="*/ 314328 h 2435306"/>
                      <a:gd name="connsiteX2" fmla="*/ 3193556 w 4542721"/>
                      <a:gd name="connsiteY2" fmla="*/ 74843 h 2435306"/>
                      <a:gd name="connsiteX3" fmla="*/ 3716042 w 4542721"/>
                      <a:gd name="connsiteY3" fmla="*/ 141224 h 2435306"/>
                      <a:gd name="connsiteX4" fmla="*/ 4440504 w 4542721"/>
                      <a:gd name="connsiteY4" fmla="*/ 934997 h 2435306"/>
                      <a:gd name="connsiteX5" fmla="*/ 4510728 w 4542721"/>
                      <a:gd name="connsiteY5" fmla="*/ 1348470 h 2435306"/>
                      <a:gd name="connsiteX6" fmla="*/ 4195043 w 4542721"/>
                      <a:gd name="connsiteY6" fmla="*/ 1725842 h 2435306"/>
                      <a:gd name="connsiteX7" fmla="*/ 3995469 w 4542721"/>
                      <a:gd name="connsiteY7" fmla="*/ 2324556 h 2435306"/>
                      <a:gd name="connsiteX8" fmla="*/ 3708811 w 4542721"/>
                      <a:gd name="connsiteY8" fmla="*/ 2408013 h 2435306"/>
                      <a:gd name="connsiteX9" fmla="*/ 2651736 w 4542721"/>
                      <a:gd name="connsiteY9" fmla="*/ 1401230 h 2435306"/>
                      <a:gd name="connsiteX10" fmla="*/ 2185392 w 4542721"/>
                      <a:gd name="connsiteY10" fmla="*/ 1302170 h 2435306"/>
                      <a:gd name="connsiteX11" fmla="*/ 1778484 w 4542721"/>
                      <a:gd name="connsiteY11" fmla="*/ 1247306 h 2435306"/>
                      <a:gd name="connsiteX12" fmla="*/ 1426440 w 4542721"/>
                      <a:gd name="connsiteY12" fmla="*/ 1288454 h 2435306"/>
                      <a:gd name="connsiteX13" fmla="*/ 484423 w 4542721"/>
                      <a:gd name="connsiteY13" fmla="*/ 1833922 h 2435306"/>
                      <a:gd name="connsiteX14" fmla="*/ 114276 w 4542721"/>
                      <a:gd name="connsiteY14" fmla="*/ 1347890 h 2435306"/>
                      <a:gd name="connsiteX15" fmla="*/ 1247947 w 4542721"/>
                      <a:gd name="connsiteY15" fmla="*/ 483222 h 2435306"/>
                      <a:gd name="connsiteX0" fmla="*/ 1246681 w 4541455"/>
                      <a:gd name="connsiteY0" fmla="*/ 483222 h 2435306"/>
                      <a:gd name="connsiteX1" fmla="*/ 2724205 w 4541455"/>
                      <a:gd name="connsiteY1" fmla="*/ 314328 h 2435306"/>
                      <a:gd name="connsiteX2" fmla="*/ 3192290 w 4541455"/>
                      <a:gd name="connsiteY2" fmla="*/ 74843 h 2435306"/>
                      <a:gd name="connsiteX3" fmla="*/ 3714776 w 4541455"/>
                      <a:gd name="connsiteY3" fmla="*/ 141224 h 2435306"/>
                      <a:gd name="connsiteX4" fmla="*/ 4439238 w 4541455"/>
                      <a:gd name="connsiteY4" fmla="*/ 934997 h 2435306"/>
                      <a:gd name="connsiteX5" fmla="*/ 4509462 w 4541455"/>
                      <a:gd name="connsiteY5" fmla="*/ 1348470 h 2435306"/>
                      <a:gd name="connsiteX6" fmla="*/ 4193777 w 4541455"/>
                      <a:gd name="connsiteY6" fmla="*/ 1725842 h 2435306"/>
                      <a:gd name="connsiteX7" fmla="*/ 3994203 w 4541455"/>
                      <a:gd name="connsiteY7" fmla="*/ 2324556 h 2435306"/>
                      <a:gd name="connsiteX8" fmla="*/ 3707545 w 4541455"/>
                      <a:gd name="connsiteY8" fmla="*/ 2408013 h 2435306"/>
                      <a:gd name="connsiteX9" fmla="*/ 2650470 w 4541455"/>
                      <a:gd name="connsiteY9" fmla="*/ 1401230 h 2435306"/>
                      <a:gd name="connsiteX10" fmla="*/ 2184126 w 4541455"/>
                      <a:gd name="connsiteY10" fmla="*/ 1302170 h 2435306"/>
                      <a:gd name="connsiteX11" fmla="*/ 1777218 w 4541455"/>
                      <a:gd name="connsiteY11" fmla="*/ 1247306 h 2435306"/>
                      <a:gd name="connsiteX12" fmla="*/ 1425174 w 4541455"/>
                      <a:gd name="connsiteY12" fmla="*/ 1288454 h 2435306"/>
                      <a:gd name="connsiteX13" fmla="*/ 483157 w 4541455"/>
                      <a:gd name="connsiteY13" fmla="*/ 1833922 h 2435306"/>
                      <a:gd name="connsiteX14" fmla="*/ 113010 w 4541455"/>
                      <a:gd name="connsiteY14" fmla="*/ 1347890 h 2435306"/>
                      <a:gd name="connsiteX15" fmla="*/ 1246681 w 4541455"/>
                      <a:gd name="connsiteY15" fmla="*/ 483222 h 243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41455" h="2435306">
                        <a:moveTo>
                          <a:pt x="1246681" y="483222"/>
                        </a:moveTo>
                        <a:cubicBezTo>
                          <a:pt x="1835201" y="52020"/>
                          <a:pt x="2396289" y="311190"/>
                          <a:pt x="2724205" y="314328"/>
                        </a:cubicBezTo>
                        <a:cubicBezTo>
                          <a:pt x="2960062" y="331262"/>
                          <a:pt x="3047147" y="170395"/>
                          <a:pt x="3192290" y="74843"/>
                        </a:cubicBezTo>
                        <a:cubicBezTo>
                          <a:pt x="3383386" y="-77202"/>
                          <a:pt x="3592623" y="32011"/>
                          <a:pt x="3714776" y="141224"/>
                        </a:cubicBezTo>
                        <a:lnTo>
                          <a:pt x="4439238" y="934997"/>
                        </a:lnTo>
                        <a:cubicBezTo>
                          <a:pt x="4506189" y="1003878"/>
                          <a:pt x="4587654" y="1116304"/>
                          <a:pt x="4509462" y="1348470"/>
                        </a:cubicBezTo>
                        <a:cubicBezTo>
                          <a:pt x="4436891" y="1483937"/>
                          <a:pt x="4280862" y="1633916"/>
                          <a:pt x="4193777" y="1725842"/>
                        </a:cubicBezTo>
                        <a:cubicBezTo>
                          <a:pt x="4115158" y="1959280"/>
                          <a:pt x="4076451" y="2116518"/>
                          <a:pt x="3994203" y="2324556"/>
                        </a:cubicBezTo>
                        <a:cubicBezTo>
                          <a:pt x="3956707" y="2399546"/>
                          <a:pt x="3850270" y="2478166"/>
                          <a:pt x="3707545" y="2408013"/>
                        </a:cubicBezTo>
                        <a:lnTo>
                          <a:pt x="2650470" y="1401230"/>
                        </a:lnTo>
                        <a:cubicBezTo>
                          <a:pt x="2581890" y="1340778"/>
                          <a:pt x="2463018" y="1243750"/>
                          <a:pt x="2184126" y="1302170"/>
                        </a:cubicBezTo>
                        <a:cubicBezTo>
                          <a:pt x="2066778" y="1309282"/>
                          <a:pt x="1983720" y="1304456"/>
                          <a:pt x="1777218" y="1247306"/>
                        </a:cubicBezTo>
                        <a:cubicBezTo>
                          <a:pt x="1726164" y="1217588"/>
                          <a:pt x="1655329" y="1154109"/>
                          <a:pt x="1425174" y="1288454"/>
                        </a:cubicBezTo>
                        <a:cubicBezTo>
                          <a:pt x="932860" y="1563241"/>
                          <a:pt x="756015" y="1710011"/>
                          <a:pt x="483157" y="1833922"/>
                        </a:cubicBezTo>
                        <a:cubicBezTo>
                          <a:pt x="246999" y="1938611"/>
                          <a:pt x="-213188" y="1691257"/>
                          <a:pt x="113010" y="1347890"/>
                        </a:cubicBezTo>
                        <a:lnTo>
                          <a:pt x="1246681" y="483222"/>
                        </a:ln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3" name="Rectangle 2"/>
                  <p:cNvSpPr/>
                  <p:nvPr/>
                </p:nvSpPr>
                <p:spPr>
                  <a:xfrm>
                    <a:off x="7352478" y="1414236"/>
                    <a:ext cx="385353" cy="383102"/>
                  </a:xfrm>
                  <a:custGeom>
                    <a:avLst/>
                    <a:gdLst>
                      <a:gd name="connsiteX0" fmla="*/ 0 w 2013626"/>
                      <a:gd name="connsiteY0" fmla="*/ 0 h 1327826"/>
                      <a:gd name="connsiteX1" fmla="*/ 2013626 w 2013626"/>
                      <a:gd name="connsiteY1" fmla="*/ 0 h 1327826"/>
                      <a:gd name="connsiteX2" fmla="*/ 2013626 w 2013626"/>
                      <a:gd name="connsiteY2" fmla="*/ 1327826 h 1327826"/>
                      <a:gd name="connsiteX3" fmla="*/ 0 w 2013626"/>
                      <a:gd name="connsiteY3" fmla="*/ 1327826 h 1327826"/>
                      <a:gd name="connsiteX4" fmla="*/ 0 w 2013626"/>
                      <a:gd name="connsiteY4" fmla="*/ 0 h 1327826"/>
                      <a:gd name="connsiteX0" fmla="*/ 311285 w 2324911"/>
                      <a:gd name="connsiteY0" fmla="*/ 0 h 1347281"/>
                      <a:gd name="connsiteX1" fmla="*/ 2324911 w 2324911"/>
                      <a:gd name="connsiteY1" fmla="*/ 0 h 1347281"/>
                      <a:gd name="connsiteX2" fmla="*/ 2324911 w 2324911"/>
                      <a:gd name="connsiteY2" fmla="*/ 1327826 h 1347281"/>
                      <a:gd name="connsiteX3" fmla="*/ 0 w 2324911"/>
                      <a:gd name="connsiteY3" fmla="*/ 1347281 h 1347281"/>
                      <a:gd name="connsiteX4" fmla="*/ 311285 w 2324911"/>
                      <a:gd name="connsiteY4" fmla="*/ 0 h 1347281"/>
                      <a:gd name="connsiteX0" fmla="*/ 38911 w 2324911"/>
                      <a:gd name="connsiteY0" fmla="*/ 768486 h 1347281"/>
                      <a:gd name="connsiteX1" fmla="*/ 2324911 w 2324911"/>
                      <a:gd name="connsiteY1" fmla="*/ 0 h 1347281"/>
                      <a:gd name="connsiteX2" fmla="*/ 2324911 w 2324911"/>
                      <a:gd name="connsiteY2" fmla="*/ 1327826 h 1347281"/>
                      <a:gd name="connsiteX3" fmla="*/ 0 w 2324911"/>
                      <a:gd name="connsiteY3" fmla="*/ 1347281 h 1347281"/>
                      <a:gd name="connsiteX4" fmla="*/ 38911 w 2324911"/>
                      <a:gd name="connsiteY4" fmla="*/ 768486 h 1347281"/>
                      <a:gd name="connsiteX0" fmla="*/ 38911 w 2324911"/>
                      <a:gd name="connsiteY0" fmla="*/ 972767 h 1551562"/>
                      <a:gd name="connsiteX1" fmla="*/ 928992 w 2324911"/>
                      <a:gd name="connsiteY1" fmla="*/ 0 h 1551562"/>
                      <a:gd name="connsiteX2" fmla="*/ 2324911 w 2324911"/>
                      <a:gd name="connsiteY2" fmla="*/ 1532107 h 1551562"/>
                      <a:gd name="connsiteX3" fmla="*/ 0 w 2324911"/>
                      <a:gd name="connsiteY3" fmla="*/ 1551562 h 1551562"/>
                      <a:gd name="connsiteX4" fmla="*/ 38911 w 2324911"/>
                      <a:gd name="connsiteY4" fmla="*/ 972767 h 1551562"/>
                      <a:gd name="connsiteX0" fmla="*/ 38911 w 1585609"/>
                      <a:gd name="connsiteY0" fmla="*/ 982494 h 1561289"/>
                      <a:gd name="connsiteX1" fmla="*/ 928992 w 1585609"/>
                      <a:gd name="connsiteY1" fmla="*/ 9727 h 1561289"/>
                      <a:gd name="connsiteX2" fmla="*/ 1585609 w 1585609"/>
                      <a:gd name="connsiteY2" fmla="*/ 0 h 1561289"/>
                      <a:gd name="connsiteX3" fmla="*/ 0 w 1585609"/>
                      <a:gd name="connsiteY3" fmla="*/ 1561289 h 1561289"/>
                      <a:gd name="connsiteX4" fmla="*/ 38911 w 1585609"/>
                      <a:gd name="connsiteY4" fmla="*/ 982494 h 1561289"/>
                      <a:gd name="connsiteX0" fmla="*/ 38911 w 1585609"/>
                      <a:gd name="connsiteY0" fmla="*/ 982494 h 1561289"/>
                      <a:gd name="connsiteX1" fmla="*/ 928992 w 1585609"/>
                      <a:gd name="connsiteY1" fmla="*/ 9727 h 1561289"/>
                      <a:gd name="connsiteX2" fmla="*/ 1585609 w 1585609"/>
                      <a:gd name="connsiteY2" fmla="*/ 0 h 1561289"/>
                      <a:gd name="connsiteX3" fmla="*/ 1181912 w 1585609"/>
                      <a:gd name="connsiteY3" fmla="*/ 384243 h 1561289"/>
                      <a:gd name="connsiteX4" fmla="*/ 0 w 1585609"/>
                      <a:gd name="connsiteY4" fmla="*/ 1561289 h 1561289"/>
                      <a:gd name="connsiteX5" fmla="*/ 38911 w 1585609"/>
                      <a:gd name="connsiteY5"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0 w 2490282"/>
                      <a:gd name="connsiteY4" fmla="*/ 1561289 h 1561289"/>
                      <a:gd name="connsiteX5" fmla="*/ 38911 w 2490282"/>
                      <a:gd name="connsiteY5"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347281 w 2490282"/>
                      <a:gd name="connsiteY4" fmla="*/ 792805 h 1561289"/>
                      <a:gd name="connsiteX5" fmla="*/ 0 w 2490282"/>
                      <a:gd name="connsiteY5" fmla="*/ 1561289 h 1561289"/>
                      <a:gd name="connsiteX6" fmla="*/ 38911 w 2490282"/>
                      <a:gd name="connsiteY6"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0 w 2490282"/>
                      <a:gd name="connsiteY5" fmla="*/ 1561289 h 1561289"/>
                      <a:gd name="connsiteX6" fmla="*/ 38911 w 2490282"/>
                      <a:gd name="connsiteY6"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787940 w 2490282"/>
                      <a:gd name="connsiteY5" fmla="*/ 914401 h 1561289"/>
                      <a:gd name="connsiteX6" fmla="*/ 0 w 2490282"/>
                      <a:gd name="connsiteY6" fmla="*/ 1561289 h 1561289"/>
                      <a:gd name="connsiteX7" fmla="*/ 38911 w 2490282"/>
                      <a:gd name="connsiteY7"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1070042 w 2490282"/>
                      <a:gd name="connsiteY5" fmla="*/ 306422 h 1561289"/>
                      <a:gd name="connsiteX6" fmla="*/ 0 w 2490282"/>
                      <a:gd name="connsiteY6" fmla="*/ 1561289 h 1561289"/>
                      <a:gd name="connsiteX7" fmla="*/ 38911 w 2490282"/>
                      <a:gd name="connsiteY7" fmla="*/ 982494 h 1561289"/>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0 w 2504874"/>
                      <a:gd name="connsiteY6" fmla="*/ 1532106 h 1532106"/>
                      <a:gd name="connsiteX7" fmla="*/ 53503 w 2504874"/>
                      <a:gd name="connsiteY7"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252920 w 2504874"/>
                      <a:gd name="connsiteY6" fmla="*/ 1245141 h 1532106"/>
                      <a:gd name="connsiteX7" fmla="*/ 0 w 2504874"/>
                      <a:gd name="connsiteY7" fmla="*/ 1532106 h 1532106"/>
                      <a:gd name="connsiteX8" fmla="*/ 53503 w 2504874"/>
                      <a:gd name="connsiteY8"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355060 w 2504874"/>
                      <a:gd name="connsiteY6" fmla="*/ 1425102 h 1532106"/>
                      <a:gd name="connsiteX7" fmla="*/ 0 w 2504874"/>
                      <a:gd name="connsiteY7" fmla="*/ 1532106 h 1532106"/>
                      <a:gd name="connsiteX8" fmla="*/ 53503 w 2504874"/>
                      <a:gd name="connsiteY8"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355060 w 2504874"/>
                      <a:gd name="connsiteY6" fmla="*/ 1118680 h 1532106"/>
                      <a:gd name="connsiteX7" fmla="*/ 0 w 2504874"/>
                      <a:gd name="connsiteY7" fmla="*/ 1532106 h 1532106"/>
                      <a:gd name="connsiteX8" fmla="*/ 53503 w 2504874"/>
                      <a:gd name="connsiteY8" fmla="*/ 982494 h 1532106"/>
                      <a:gd name="connsiteX0" fmla="*/ 93644 w 2545015"/>
                      <a:gd name="connsiteY0" fmla="*/ 982494 h 1532106"/>
                      <a:gd name="connsiteX1" fmla="*/ 983725 w 2545015"/>
                      <a:gd name="connsiteY1" fmla="*/ 9727 h 1532106"/>
                      <a:gd name="connsiteX2" fmla="*/ 1640342 w 2545015"/>
                      <a:gd name="connsiteY2" fmla="*/ 0 h 1532106"/>
                      <a:gd name="connsiteX3" fmla="*/ 2545015 w 2545015"/>
                      <a:gd name="connsiteY3" fmla="*/ 131323 h 1532106"/>
                      <a:gd name="connsiteX4" fmla="*/ 1543065 w 2545015"/>
                      <a:gd name="connsiteY4" fmla="*/ 355060 h 1532106"/>
                      <a:gd name="connsiteX5" fmla="*/ 1124775 w 2545015"/>
                      <a:gd name="connsiteY5" fmla="*/ 306422 h 1532106"/>
                      <a:gd name="connsiteX6" fmla="*/ 395201 w 2545015"/>
                      <a:gd name="connsiteY6" fmla="*/ 1118680 h 1532106"/>
                      <a:gd name="connsiteX7" fmla="*/ 40141 w 2545015"/>
                      <a:gd name="connsiteY7" fmla="*/ 1532106 h 1532106"/>
                      <a:gd name="connsiteX8" fmla="*/ 93644 w 2545015"/>
                      <a:gd name="connsiteY8" fmla="*/ 982494 h 1532106"/>
                      <a:gd name="connsiteX0" fmla="*/ 96072 w 2547443"/>
                      <a:gd name="connsiteY0" fmla="*/ 982494 h 1532106"/>
                      <a:gd name="connsiteX1" fmla="*/ 986153 w 2547443"/>
                      <a:gd name="connsiteY1" fmla="*/ 9727 h 1532106"/>
                      <a:gd name="connsiteX2" fmla="*/ 1642770 w 2547443"/>
                      <a:gd name="connsiteY2" fmla="*/ 0 h 1532106"/>
                      <a:gd name="connsiteX3" fmla="*/ 2547443 w 2547443"/>
                      <a:gd name="connsiteY3" fmla="*/ 131323 h 1532106"/>
                      <a:gd name="connsiteX4" fmla="*/ 1545493 w 2547443"/>
                      <a:gd name="connsiteY4" fmla="*/ 355060 h 1532106"/>
                      <a:gd name="connsiteX5" fmla="*/ 1127203 w 2547443"/>
                      <a:gd name="connsiteY5" fmla="*/ 306422 h 1532106"/>
                      <a:gd name="connsiteX6" fmla="*/ 397629 w 2547443"/>
                      <a:gd name="connsiteY6" fmla="*/ 1118680 h 1532106"/>
                      <a:gd name="connsiteX7" fmla="*/ 42569 w 2547443"/>
                      <a:gd name="connsiteY7" fmla="*/ 1532106 h 1532106"/>
                      <a:gd name="connsiteX8" fmla="*/ 96072 w 2547443"/>
                      <a:gd name="connsiteY8" fmla="*/ 982494 h 1532106"/>
                      <a:gd name="connsiteX0" fmla="*/ 96072 w 2547443"/>
                      <a:gd name="connsiteY0" fmla="*/ 982494 h 1677790"/>
                      <a:gd name="connsiteX1" fmla="*/ 986153 w 2547443"/>
                      <a:gd name="connsiteY1" fmla="*/ 9727 h 1677790"/>
                      <a:gd name="connsiteX2" fmla="*/ 1642770 w 2547443"/>
                      <a:gd name="connsiteY2" fmla="*/ 0 h 1677790"/>
                      <a:gd name="connsiteX3" fmla="*/ 2547443 w 2547443"/>
                      <a:gd name="connsiteY3" fmla="*/ 131323 h 1677790"/>
                      <a:gd name="connsiteX4" fmla="*/ 1545493 w 2547443"/>
                      <a:gd name="connsiteY4" fmla="*/ 355060 h 1677790"/>
                      <a:gd name="connsiteX5" fmla="*/ 1127203 w 2547443"/>
                      <a:gd name="connsiteY5" fmla="*/ 306422 h 1677790"/>
                      <a:gd name="connsiteX6" fmla="*/ 397629 w 2547443"/>
                      <a:gd name="connsiteY6" fmla="*/ 1118680 h 1677790"/>
                      <a:gd name="connsiteX7" fmla="*/ 42569 w 2547443"/>
                      <a:gd name="connsiteY7" fmla="*/ 1532106 h 1677790"/>
                      <a:gd name="connsiteX8" fmla="*/ 96072 w 2547443"/>
                      <a:gd name="connsiteY8" fmla="*/ 982494 h 1677790"/>
                      <a:gd name="connsiteX0" fmla="*/ 96072 w 2547443"/>
                      <a:gd name="connsiteY0" fmla="*/ 982494 h 1552660"/>
                      <a:gd name="connsiteX1" fmla="*/ 986153 w 2547443"/>
                      <a:gd name="connsiteY1" fmla="*/ 9727 h 1552660"/>
                      <a:gd name="connsiteX2" fmla="*/ 1642770 w 2547443"/>
                      <a:gd name="connsiteY2" fmla="*/ 0 h 1552660"/>
                      <a:gd name="connsiteX3" fmla="*/ 2547443 w 2547443"/>
                      <a:gd name="connsiteY3" fmla="*/ 131323 h 1552660"/>
                      <a:gd name="connsiteX4" fmla="*/ 1545493 w 2547443"/>
                      <a:gd name="connsiteY4" fmla="*/ 355060 h 1552660"/>
                      <a:gd name="connsiteX5" fmla="*/ 1127203 w 2547443"/>
                      <a:gd name="connsiteY5" fmla="*/ 306422 h 1552660"/>
                      <a:gd name="connsiteX6" fmla="*/ 397629 w 2547443"/>
                      <a:gd name="connsiteY6" fmla="*/ 1118680 h 1552660"/>
                      <a:gd name="connsiteX7" fmla="*/ 344128 w 2547443"/>
                      <a:gd name="connsiteY7" fmla="*/ 1405647 h 1552660"/>
                      <a:gd name="connsiteX8" fmla="*/ 42569 w 2547443"/>
                      <a:gd name="connsiteY8" fmla="*/ 1532106 h 1552660"/>
                      <a:gd name="connsiteX9" fmla="*/ 96072 w 2547443"/>
                      <a:gd name="connsiteY9" fmla="*/ 982494 h 155266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72098"/>
                      <a:gd name="connsiteX1" fmla="*/ 986153 w 2547443"/>
                      <a:gd name="connsiteY1" fmla="*/ 9727 h 1572098"/>
                      <a:gd name="connsiteX2" fmla="*/ 1642770 w 2547443"/>
                      <a:gd name="connsiteY2" fmla="*/ 0 h 1572098"/>
                      <a:gd name="connsiteX3" fmla="*/ 2547443 w 2547443"/>
                      <a:gd name="connsiteY3" fmla="*/ 131323 h 1572098"/>
                      <a:gd name="connsiteX4" fmla="*/ 1545493 w 2547443"/>
                      <a:gd name="connsiteY4" fmla="*/ 355060 h 1572098"/>
                      <a:gd name="connsiteX5" fmla="*/ 1127203 w 2547443"/>
                      <a:gd name="connsiteY5" fmla="*/ 306422 h 1572098"/>
                      <a:gd name="connsiteX6" fmla="*/ 397629 w 2547443"/>
                      <a:gd name="connsiteY6" fmla="*/ 1118680 h 1572098"/>
                      <a:gd name="connsiteX7" fmla="*/ 378175 w 2547443"/>
                      <a:gd name="connsiteY7" fmla="*/ 1420238 h 1572098"/>
                      <a:gd name="connsiteX8" fmla="*/ 246851 w 2547443"/>
                      <a:gd name="connsiteY8" fmla="*/ 1517516 h 1572098"/>
                      <a:gd name="connsiteX9" fmla="*/ 42569 w 2547443"/>
                      <a:gd name="connsiteY9" fmla="*/ 1532106 h 1572098"/>
                      <a:gd name="connsiteX10" fmla="*/ 96072 w 2547443"/>
                      <a:gd name="connsiteY10" fmla="*/ 982494 h 1572098"/>
                      <a:gd name="connsiteX0" fmla="*/ 96072 w 2547443"/>
                      <a:gd name="connsiteY0" fmla="*/ 982494 h 2135699"/>
                      <a:gd name="connsiteX1" fmla="*/ 986153 w 2547443"/>
                      <a:gd name="connsiteY1" fmla="*/ 9727 h 2135699"/>
                      <a:gd name="connsiteX2" fmla="*/ 1642770 w 2547443"/>
                      <a:gd name="connsiteY2" fmla="*/ 0 h 2135699"/>
                      <a:gd name="connsiteX3" fmla="*/ 2547443 w 2547443"/>
                      <a:gd name="connsiteY3" fmla="*/ 131323 h 2135699"/>
                      <a:gd name="connsiteX4" fmla="*/ 1545493 w 2547443"/>
                      <a:gd name="connsiteY4" fmla="*/ 355060 h 2135699"/>
                      <a:gd name="connsiteX5" fmla="*/ 1127203 w 2547443"/>
                      <a:gd name="connsiteY5" fmla="*/ 306422 h 2135699"/>
                      <a:gd name="connsiteX6" fmla="*/ 397629 w 2547443"/>
                      <a:gd name="connsiteY6" fmla="*/ 1118680 h 2135699"/>
                      <a:gd name="connsiteX7" fmla="*/ 378175 w 2547443"/>
                      <a:gd name="connsiteY7" fmla="*/ 1420238 h 2135699"/>
                      <a:gd name="connsiteX8" fmla="*/ 694323 w 2547443"/>
                      <a:gd name="connsiteY8" fmla="*/ 2135222 h 2135699"/>
                      <a:gd name="connsiteX9" fmla="*/ 42569 w 2547443"/>
                      <a:gd name="connsiteY9" fmla="*/ 1532106 h 2135699"/>
                      <a:gd name="connsiteX10" fmla="*/ 96072 w 2547443"/>
                      <a:gd name="connsiteY10" fmla="*/ 982494 h 2135699"/>
                      <a:gd name="connsiteX0" fmla="*/ 96072 w 2547443"/>
                      <a:gd name="connsiteY0" fmla="*/ 982494 h 2694798"/>
                      <a:gd name="connsiteX1" fmla="*/ 986153 w 2547443"/>
                      <a:gd name="connsiteY1" fmla="*/ 9727 h 2694798"/>
                      <a:gd name="connsiteX2" fmla="*/ 1642770 w 2547443"/>
                      <a:gd name="connsiteY2" fmla="*/ 0 h 2694798"/>
                      <a:gd name="connsiteX3" fmla="*/ 2547443 w 2547443"/>
                      <a:gd name="connsiteY3" fmla="*/ 131323 h 2694798"/>
                      <a:gd name="connsiteX4" fmla="*/ 1545493 w 2547443"/>
                      <a:gd name="connsiteY4" fmla="*/ 355060 h 2694798"/>
                      <a:gd name="connsiteX5" fmla="*/ 1127203 w 2547443"/>
                      <a:gd name="connsiteY5" fmla="*/ 306422 h 2694798"/>
                      <a:gd name="connsiteX6" fmla="*/ 397629 w 2547443"/>
                      <a:gd name="connsiteY6" fmla="*/ 1118680 h 2694798"/>
                      <a:gd name="connsiteX7" fmla="*/ 378175 w 2547443"/>
                      <a:gd name="connsiteY7" fmla="*/ 1420238 h 2694798"/>
                      <a:gd name="connsiteX8" fmla="*/ 694323 w 2547443"/>
                      <a:gd name="connsiteY8" fmla="*/ 2694562 h 2694798"/>
                      <a:gd name="connsiteX9" fmla="*/ 42569 w 2547443"/>
                      <a:gd name="connsiteY9" fmla="*/ 1532106 h 2694798"/>
                      <a:gd name="connsiteX10" fmla="*/ 96072 w 2547443"/>
                      <a:gd name="connsiteY10" fmla="*/ 982494 h 2694798"/>
                      <a:gd name="connsiteX0" fmla="*/ 96072 w 2547443"/>
                      <a:gd name="connsiteY0" fmla="*/ 982494 h 2765238"/>
                      <a:gd name="connsiteX1" fmla="*/ 986153 w 2547443"/>
                      <a:gd name="connsiteY1" fmla="*/ 9727 h 2765238"/>
                      <a:gd name="connsiteX2" fmla="*/ 1642770 w 2547443"/>
                      <a:gd name="connsiteY2" fmla="*/ 0 h 2765238"/>
                      <a:gd name="connsiteX3" fmla="*/ 2547443 w 2547443"/>
                      <a:gd name="connsiteY3" fmla="*/ 131323 h 2765238"/>
                      <a:gd name="connsiteX4" fmla="*/ 1545493 w 2547443"/>
                      <a:gd name="connsiteY4" fmla="*/ 355060 h 2765238"/>
                      <a:gd name="connsiteX5" fmla="*/ 1127203 w 2547443"/>
                      <a:gd name="connsiteY5" fmla="*/ 306422 h 2765238"/>
                      <a:gd name="connsiteX6" fmla="*/ 397629 w 2547443"/>
                      <a:gd name="connsiteY6" fmla="*/ 1118680 h 2765238"/>
                      <a:gd name="connsiteX7" fmla="*/ 378175 w 2547443"/>
                      <a:gd name="connsiteY7" fmla="*/ 1420238 h 2765238"/>
                      <a:gd name="connsiteX8" fmla="*/ 660277 w 2547443"/>
                      <a:gd name="connsiteY8" fmla="*/ 2504872 h 2765238"/>
                      <a:gd name="connsiteX9" fmla="*/ 694323 w 2547443"/>
                      <a:gd name="connsiteY9" fmla="*/ 2694562 h 2765238"/>
                      <a:gd name="connsiteX10" fmla="*/ 42569 w 2547443"/>
                      <a:gd name="connsiteY10" fmla="*/ 1532106 h 2765238"/>
                      <a:gd name="connsiteX11" fmla="*/ 96072 w 2547443"/>
                      <a:gd name="connsiteY11" fmla="*/ 982494 h 2765238"/>
                      <a:gd name="connsiteX0" fmla="*/ 96072 w 2547443"/>
                      <a:gd name="connsiteY0" fmla="*/ 982494 h 2765238"/>
                      <a:gd name="connsiteX1" fmla="*/ 986153 w 2547443"/>
                      <a:gd name="connsiteY1" fmla="*/ 9727 h 2765238"/>
                      <a:gd name="connsiteX2" fmla="*/ 1642770 w 2547443"/>
                      <a:gd name="connsiteY2" fmla="*/ 0 h 2765238"/>
                      <a:gd name="connsiteX3" fmla="*/ 2547443 w 2547443"/>
                      <a:gd name="connsiteY3" fmla="*/ 131323 h 2765238"/>
                      <a:gd name="connsiteX4" fmla="*/ 1545493 w 2547443"/>
                      <a:gd name="connsiteY4" fmla="*/ 355060 h 2765238"/>
                      <a:gd name="connsiteX5" fmla="*/ 1127203 w 2547443"/>
                      <a:gd name="connsiteY5" fmla="*/ 306422 h 2765238"/>
                      <a:gd name="connsiteX6" fmla="*/ 397629 w 2547443"/>
                      <a:gd name="connsiteY6" fmla="*/ 1118680 h 2765238"/>
                      <a:gd name="connsiteX7" fmla="*/ 378175 w 2547443"/>
                      <a:gd name="connsiteY7" fmla="*/ 1420238 h 2765238"/>
                      <a:gd name="connsiteX8" fmla="*/ 913196 w 2547443"/>
                      <a:gd name="connsiteY8" fmla="*/ 2504872 h 2765238"/>
                      <a:gd name="connsiteX9" fmla="*/ 694323 w 2547443"/>
                      <a:gd name="connsiteY9" fmla="*/ 2694562 h 2765238"/>
                      <a:gd name="connsiteX10" fmla="*/ 42569 w 2547443"/>
                      <a:gd name="connsiteY10" fmla="*/ 1532106 h 2765238"/>
                      <a:gd name="connsiteX11" fmla="*/ 96072 w 2547443"/>
                      <a:gd name="connsiteY11" fmla="*/ 982494 h 2765238"/>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621366 w 2547443"/>
                      <a:gd name="connsiteY8" fmla="*/ 192121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383039 w 2547443"/>
                      <a:gd name="connsiteY11" fmla="*/ 2178995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9995 w 2551366"/>
                      <a:gd name="connsiteY0" fmla="*/ 982494 h 2751446"/>
                      <a:gd name="connsiteX1" fmla="*/ 990076 w 2551366"/>
                      <a:gd name="connsiteY1" fmla="*/ 9727 h 2751446"/>
                      <a:gd name="connsiteX2" fmla="*/ 1646693 w 2551366"/>
                      <a:gd name="connsiteY2" fmla="*/ 0 h 2751446"/>
                      <a:gd name="connsiteX3" fmla="*/ 2551366 w 2551366"/>
                      <a:gd name="connsiteY3" fmla="*/ 131323 h 2751446"/>
                      <a:gd name="connsiteX4" fmla="*/ 1549416 w 2551366"/>
                      <a:gd name="connsiteY4" fmla="*/ 355060 h 2751446"/>
                      <a:gd name="connsiteX5" fmla="*/ 1131126 w 2551366"/>
                      <a:gd name="connsiteY5" fmla="*/ 306422 h 2751446"/>
                      <a:gd name="connsiteX6" fmla="*/ 401552 w 2551366"/>
                      <a:gd name="connsiteY6" fmla="*/ 1118680 h 2751446"/>
                      <a:gd name="connsiteX7" fmla="*/ 382098 w 2551366"/>
                      <a:gd name="connsiteY7" fmla="*/ 1420238 h 2751446"/>
                      <a:gd name="connsiteX8" fmla="*/ 742021 w 2551366"/>
                      <a:gd name="connsiteY8" fmla="*/ 1819072 h 2751446"/>
                      <a:gd name="connsiteX9" fmla="*/ 917119 w 2551366"/>
                      <a:gd name="connsiteY9" fmla="*/ 2504872 h 2751446"/>
                      <a:gd name="connsiteX10" fmla="*/ 698246 w 2551366"/>
                      <a:gd name="connsiteY10" fmla="*/ 2694562 h 2751446"/>
                      <a:gd name="connsiteX11" fmla="*/ 430737 w 2551366"/>
                      <a:gd name="connsiteY11" fmla="*/ 1969851 h 2751446"/>
                      <a:gd name="connsiteX12" fmla="*/ 41628 w 2551366"/>
                      <a:gd name="connsiteY12" fmla="*/ 1493195 h 2751446"/>
                      <a:gd name="connsiteX13" fmla="*/ 99995 w 2551366"/>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47743 w 2568372"/>
                      <a:gd name="connsiteY11" fmla="*/ 1969851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47743 w 2568372"/>
                      <a:gd name="connsiteY11" fmla="*/ 1969851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72062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72062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08634"/>
                      <a:gd name="connsiteX1" fmla="*/ 1007082 w 2568372"/>
                      <a:gd name="connsiteY1" fmla="*/ 9727 h 2708634"/>
                      <a:gd name="connsiteX2" fmla="*/ 1663699 w 2568372"/>
                      <a:gd name="connsiteY2" fmla="*/ 0 h 2708634"/>
                      <a:gd name="connsiteX3" fmla="*/ 2568372 w 2568372"/>
                      <a:gd name="connsiteY3" fmla="*/ 131323 h 2708634"/>
                      <a:gd name="connsiteX4" fmla="*/ 1566422 w 2568372"/>
                      <a:gd name="connsiteY4" fmla="*/ 355060 h 2708634"/>
                      <a:gd name="connsiteX5" fmla="*/ 1148132 w 2568372"/>
                      <a:gd name="connsiteY5" fmla="*/ 306422 h 2708634"/>
                      <a:gd name="connsiteX6" fmla="*/ 418558 w 2568372"/>
                      <a:gd name="connsiteY6" fmla="*/ 1118680 h 2708634"/>
                      <a:gd name="connsiteX7" fmla="*/ 399104 w 2568372"/>
                      <a:gd name="connsiteY7" fmla="*/ 1420238 h 2708634"/>
                      <a:gd name="connsiteX8" fmla="*/ 759027 w 2568372"/>
                      <a:gd name="connsiteY8" fmla="*/ 1819072 h 2708634"/>
                      <a:gd name="connsiteX9" fmla="*/ 934125 w 2568372"/>
                      <a:gd name="connsiteY9" fmla="*/ 2504872 h 2708634"/>
                      <a:gd name="connsiteX10" fmla="*/ 715252 w 2568372"/>
                      <a:gd name="connsiteY10" fmla="*/ 2694562 h 2708634"/>
                      <a:gd name="connsiteX11" fmla="*/ 452606 w 2568372"/>
                      <a:gd name="connsiteY11" fmla="*/ 1935804 h 2708634"/>
                      <a:gd name="connsiteX12" fmla="*/ 58634 w 2568372"/>
                      <a:gd name="connsiteY12" fmla="*/ 1493195 h 2708634"/>
                      <a:gd name="connsiteX13" fmla="*/ 117001 w 2568372"/>
                      <a:gd name="connsiteY13" fmla="*/ 982494 h 2708634"/>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59027 w 2568372"/>
                      <a:gd name="connsiteY8" fmla="*/ 1819072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1079805 h 2803189"/>
                      <a:gd name="connsiteX1" fmla="*/ 1007082 w 2568372"/>
                      <a:gd name="connsiteY1" fmla="*/ 107038 h 2803189"/>
                      <a:gd name="connsiteX2" fmla="*/ 1663699 w 2568372"/>
                      <a:gd name="connsiteY2" fmla="*/ 97311 h 2803189"/>
                      <a:gd name="connsiteX3" fmla="*/ 2568372 w 2568372"/>
                      <a:gd name="connsiteY3" fmla="*/ 228634 h 2803189"/>
                      <a:gd name="connsiteX4" fmla="*/ 1566422 w 2568372"/>
                      <a:gd name="connsiteY4" fmla="*/ 452371 h 2803189"/>
                      <a:gd name="connsiteX5" fmla="*/ 1148132 w 2568372"/>
                      <a:gd name="connsiteY5" fmla="*/ 403733 h 2803189"/>
                      <a:gd name="connsiteX6" fmla="*/ 418558 w 2568372"/>
                      <a:gd name="connsiteY6" fmla="*/ 1215991 h 2803189"/>
                      <a:gd name="connsiteX7" fmla="*/ 399104 w 2568372"/>
                      <a:gd name="connsiteY7" fmla="*/ 1517549 h 2803189"/>
                      <a:gd name="connsiteX8" fmla="*/ 768755 w 2568372"/>
                      <a:gd name="connsiteY8" fmla="*/ 1906655 h 2803189"/>
                      <a:gd name="connsiteX9" fmla="*/ 934125 w 2568372"/>
                      <a:gd name="connsiteY9" fmla="*/ 2602183 h 2803189"/>
                      <a:gd name="connsiteX10" fmla="*/ 715252 w 2568372"/>
                      <a:gd name="connsiteY10" fmla="*/ 2791873 h 2803189"/>
                      <a:gd name="connsiteX11" fmla="*/ 452606 w 2568372"/>
                      <a:gd name="connsiteY11" fmla="*/ 2033115 h 2803189"/>
                      <a:gd name="connsiteX12" fmla="*/ 58634 w 2568372"/>
                      <a:gd name="connsiteY12" fmla="*/ 1590506 h 2803189"/>
                      <a:gd name="connsiteX13" fmla="*/ 117001 w 2568372"/>
                      <a:gd name="connsiteY13" fmla="*/ 1079805 h 2803189"/>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603282"/>
                      <a:gd name="connsiteY0" fmla="*/ 1091839 h 2815223"/>
                      <a:gd name="connsiteX1" fmla="*/ 1007082 w 2603282"/>
                      <a:gd name="connsiteY1" fmla="*/ 119072 h 2815223"/>
                      <a:gd name="connsiteX2" fmla="*/ 1663699 w 2603282"/>
                      <a:gd name="connsiteY2" fmla="*/ 109345 h 2815223"/>
                      <a:gd name="connsiteX3" fmla="*/ 2568372 w 2603282"/>
                      <a:gd name="connsiteY3" fmla="*/ 240668 h 2815223"/>
                      <a:gd name="connsiteX4" fmla="*/ 2334908 w 2603282"/>
                      <a:gd name="connsiteY4" fmla="*/ 483861 h 2815223"/>
                      <a:gd name="connsiteX5" fmla="*/ 1566422 w 2603282"/>
                      <a:gd name="connsiteY5" fmla="*/ 464405 h 2815223"/>
                      <a:gd name="connsiteX6" fmla="*/ 1148132 w 2603282"/>
                      <a:gd name="connsiteY6" fmla="*/ 415767 h 2815223"/>
                      <a:gd name="connsiteX7" fmla="*/ 418558 w 2603282"/>
                      <a:gd name="connsiteY7" fmla="*/ 1228025 h 2815223"/>
                      <a:gd name="connsiteX8" fmla="*/ 399104 w 2603282"/>
                      <a:gd name="connsiteY8" fmla="*/ 1529583 h 2815223"/>
                      <a:gd name="connsiteX9" fmla="*/ 768755 w 2603282"/>
                      <a:gd name="connsiteY9" fmla="*/ 1918689 h 2815223"/>
                      <a:gd name="connsiteX10" fmla="*/ 934125 w 2603282"/>
                      <a:gd name="connsiteY10" fmla="*/ 2614217 h 2815223"/>
                      <a:gd name="connsiteX11" fmla="*/ 715252 w 2603282"/>
                      <a:gd name="connsiteY11" fmla="*/ 2803907 h 2815223"/>
                      <a:gd name="connsiteX12" fmla="*/ 452606 w 2603282"/>
                      <a:gd name="connsiteY12" fmla="*/ 2045149 h 2815223"/>
                      <a:gd name="connsiteX13" fmla="*/ 58634 w 2603282"/>
                      <a:gd name="connsiteY13" fmla="*/ 1602540 h 2815223"/>
                      <a:gd name="connsiteX14" fmla="*/ 117001 w 2603282"/>
                      <a:gd name="connsiteY14" fmla="*/ 1091839 h 2815223"/>
                      <a:gd name="connsiteX0" fmla="*/ 117001 w 2704505"/>
                      <a:gd name="connsiteY0" fmla="*/ 1091839 h 2815223"/>
                      <a:gd name="connsiteX1" fmla="*/ 1007082 w 2704505"/>
                      <a:gd name="connsiteY1" fmla="*/ 119072 h 2815223"/>
                      <a:gd name="connsiteX2" fmla="*/ 1663699 w 2704505"/>
                      <a:gd name="connsiteY2" fmla="*/ 109345 h 2815223"/>
                      <a:gd name="connsiteX3" fmla="*/ 2568372 w 2704505"/>
                      <a:gd name="connsiteY3" fmla="*/ 240668 h 2815223"/>
                      <a:gd name="connsiteX4" fmla="*/ 2617010 w 2704505"/>
                      <a:gd name="connsiteY4" fmla="*/ 381721 h 2815223"/>
                      <a:gd name="connsiteX5" fmla="*/ 1566422 w 2704505"/>
                      <a:gd name="connsiteY5" fmla="*/ 464405 h 2815223"/>
                      <a:gd name="connsiteX6" fmla="*/ 1148132 w 2704505"/>
                      <a:gd name="connsiteY6" fmla="*/ 415767 h 2815223"/>
                      <a:gd name="connsiteX7" fmla="*/ 418558 w 2704505"/>
                      <a:gd name="connsiteY7" fmla="*/ 1228025 h 2815223"/>
                      <a:gd name="connsiteX8" fmla="*/ 399104 w 2704505"/>
                      <a:gd name="connsiteY8" fmla="*/ 1529583 h 2815223"/>
                      <a:gd name="connsiteX9" fmla="*/ 768755 w 2704505"/>
                      <a:gd name="connsiteY9" fmla="*/ 1918689 h 2815223"/>
                      <a:gd name="connsiteX10" fmla="*/ 934125 w 2704505"/>
                      <a:gd name="connsiteY10" fmla="*/ 2614217 h 2815223"/>
                      <a:gd name="connsiteX11" fmla="*/ 715252 w 2704505"/>
                      <a:gd name="connsiteY11" fmla="*/ 2803907 h 2815223"/>
                      <a:gd name="connsiteX12" fmla="*/ 452606 w 2704505"/>
                      <a:gd name="connsiteY12" fmla="*/ 2045149 h 2815223"/>
                      <a:gd name="connsiteX13" fmla="*/ 58634 w 2704505"/>
                      <a:gd name="connsiteY13" fmla="*/ 1602540 h 2815223"/>
                      <a:gd name="connsiteX14" fmla="*/ 117001 w 2704505"/>
                      <a:gd name="connsiteY14" fmla="*/ 1091839 h 2815223"/>
                      <a:gd name="connsiteX0" fmla="*/ 117001 w 2832040"/>
                      <a:gd name="connsiteY0" fmla="*/ 1091839 h 2815223"/>
                      <a:gd name="connsiteX1" fmla="*/ 1007082 w 2832040"/>
                      <a:gd name="connsiteY1" fmla="*/ 119072 h 2815223"/>
                      <a:gd name="connsiteX2" fmla="*/ 1663699 w 2832040"/>
                      <a:gd name="connsiteY2" fmla="*/ 109345 h 2815223"/>
                      <a:gd name="connsiteX3" fmla="*/ 2568372 w 2832040"/>
                      <a:gd name="connsiteY3" fmla="*/ 240668 h 2815223"/>
                      <a:gd name="connsiteX4" fmla="*/ 2617010 w 2832040"/>
                      <a:gd name="connsiteY4" fmla="*/ 381721 h 2815223"/>
                      <a:gd name="connsiteX5" fmla="*/ 1566422 w 2832040"/>
                      <a:gd name="connsiteY5" fmla="*/ 464405 h 2815223"/>
                      <a:gd name="connsiteX6" fmla="*/ 1148132 w 2832040"/>
                      <a:gd name="connsiteY6" fmla="*/ 415767 h 2815223"/>
                      <a:gd name="connsiteX7" fmla="*/ 418558 w 2832040"/>
                      <a:gd name="connsiteY7" fmla="*/ 1228025 h 2815223"/>
                      <a:gd name="connsiteX8" fmla="*/ 399104 w 2832040"/>
                      <a:gd name="connsiteY8" fmla="*/ 1529583 h 2815223"/>
                      <a:gd name="connsiteX9" fmla="*/ 768755 w 2832040"/>
                      <a:gd name="connsiteY9" fmla="*/ 1918689 h 2815223"/>
                      <a:gd name="connsiteX10" fmla="*/ 934125 w 2832040"/>
                      <a:gd name="connsiteY10" fmla="*/ 2614217 h 2815223"/>
                      <a:gd name="connsiteX11" fmla="*/ 715252 w 2832040"/>
                      <a:gd name="connsiteY11" fmla="*/ 2803907 h 2815223"/>
                      <a:gd name="connsiteX12" fmla="*/ 452606 w 2832040"/>
                      <a:gd name="connsiteY12" fmla="*/ 2045149 h 2815223"/>
                      <a:gd name="connsiteX13" fmla="*/ 58634 w 2832040"/>
                      <a:gd name="connsiteY13" fmla="*/ 1602540 h 2815223"/>
                      <a:gd name="connsiteX14" fmla="*/ 117001 w 2832040"/>
                      <a:gd name="connsiteY14" fmla="*/ 1091839 h 2815223"/>
                      <a:gd name="connsiteX0" fmla="*/ 117001 w 2832040"/>
                      <a:gd name="connsiteY0" fmla="*/ 1091839 h 2815223"/>
                      <a:gd name="connsiteX1" fmla="*/ 1007082 w 2832040"/>
                      <a:gd name="connsiteY1" fmla="*/ 119072 h 2815223"/>
                      <a:gd name="connsiteX2" fmla="*/ 1663699 w 2832040"/>
                      <a:gd name="connsiteY2" fmla="*/ 109345 h 2815223"/>
                      <a:gd name="connsiteX3" fmla="*/ 2568372 w 2832040"/>
                      <a:gd name="connsiteY3" fmla="*/ 240668 h 2815223"/>
                      <a:gd name="connsiteX4" fmla="*/ 2617010 w 2832040"/>
                      <a:gd name="connsiteY4" fmla="*/ 381721 h 2815223"/>
                      <a:gd name="connsiteX5" fmla="*/ 1566422 w 2832040"/>
                      <a:gd name="connsiteY5" fmla="*/ 464405 h 2815223"/>
                      <a:gd name="connsiteX6" fmla="*/ 1148132 w 2832040"/>
                      <a:gd name="connsiteY6" fmla="*/ 415767 h 2815223"/>
                      <a:gd name="connsiteX7" fmla="*/ 418558 w 2832040"/>
                      <a:gd name="connsiteY7" fmla="*/ 1228025 h 2815223"/>
                      <a:gd name="connsiteX8" fmla="*/ 399104 w 2832040"/>
                      <a:gd name="connsiteY8" fmla="*/ 1529583 h 2815223"/>
                      <a:gd name="connsiteX9" fmla="*/ 768755 w 2832040"/>
                      <a:gd name="connsiteY9" fmla="*/ 1918689 h 2815223"/>
                      <a:gd name="connsiteX10" fmla="*/ 934125 w 2832040"/>
                      <a:gd name="connsiteY10" fmla="*/ 2614217 h 2815223"/>
                      <a:gd name="connsiteX11" fmla="*/ 715252 w 2832040"/>
                      <a:gd name="connsiteY11" fmla="*/ 2803907 h 2815223"/>
                      <a:gd name="connsiteX12" fmla="*/ 452606 w 2832040"/>
                      <a:gd name="connsiteY12" fmla="*/ 2045149 h 2815223"/>
                      <a:gd name="connsiteX13" fmla="*/ 58634 w 2832040"/>
                      <a:gd name="connsiteY13" fmla="*/ 1602540 h 2815223"/>
                      <a:gd name="connsiteX14" fmla="*/ 117001 w 283204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9926 h 2823310"/>
                      <a:gd name="connsiteX1" fmla="*/ 1007082 w 2846845"/>
                      <a:gd name="connsiteY1" fmla="*/ 127159 h 2823310"/>
                      <a:gd name="connsiteX2" fmla="*/ 1663699 w 2846845"/>
                      <a:gd name="connsiteY2" fmla="*/ 117432 h 2823310"/>
                      <a:gd name="connsiteX3" fmla="*/ 2568372 w 2846845"/>
                      <a:gd name="connsiteY3" fmla="*/ 248755 h 2823310"/>
                      <a:gd name="connsiteX4" fmla="*/ 2617010 w 2846845"/>
                      <a:gd name="connsiteY4" fmla="*/ 389808 h 2823310"/>
                      <a:gd name="connsiteX5" fmla="*/ 1566422 w 2846845"/>
                      <a:gd name="connsiteY5" fmla="*/ 472492 h 2823310"/>
                      <a:gd name="connsiteX6" fmla="*/ 1148132 w 2846845"/>
                      <a:gd name="connsiteY6" fmla="*/ 423854 h 2823310"/>
                      <a:gd name="connsiteX7" fmla="*/ 418558 w 2846845"/>
                      <a:gd name="connsiteY7" fmla="*/ 1236112 h 2823310"/>
                      <a:gd name="connsiteX8" fmla="*/ 399104 w 2846845"/>
                      <a:gd name="connsiteY8" fmla="*/ 1537670 h 2823310"/>
                      <a:gd name="connsiteX9" fmla="*/ 768755 w 2846845"/>
                      <a:gd name="connsiteY9" fmla="*/ 1926776 h 2823310"/>
                      <a:gd name="connsiteX10" fmla="*/ 934125 w 2846845"/>
                      <a:gd name="connsiteY10" fmla="*/ 2622304 h 2823310"/>
                      <a:gd name="connsiteX11" fmla="*/ 715252 w 2846845"/>
                      <a:gd name="connsiteY11" fmla="*/ 2811994 h 2823310"/>
                      <a:gd name="connsiteX12" fmla="*/ 452606 w 2846845"/>
                      <a:gd name="connsiteY12" fmla="*/ 2053236 h 2823310"/>
                      <a:gd name="connsiteX13" fmla="*/ 58634 w 2846845"/>
                      <a:gd name="connsiteY13" fmla="*/ 1610627 h 2823310"/>
                      <a:gd name="connsiteX14" fmla="*/ 117001 w 2846845"/>
                      <a:gd name="connsiteY14" fmla="*/ 1099926 h 2823310"/>
                      <a:gd name="connsiteX0" fmla="*/ 117001 w 2846845"/>
                      <a:gd name="connsiteY0" fmla="*/ 1095802 h 2819186"/>
                      <a:gd name="connsiteX1" fmla="*/ 1007082 w 2846845"/>
                      <a:gd name="connsiteY1" fmla="*/ 123035 h 2819186"/>
                      <a:gd name="connsiteX2" fmla="*/ 1663699 w 2846845"/>
                      <a:gd name="connsiteY2" fmla="*/ 113308 h 2819186"/>
                      <a:gd name="connsiteX3" fmla="*/ 2568372 w 2846845"/>
                      <a:gd name="connsiteY3" fmla="*/ 244631 h 2819186"/>
                      <a:gd name="connsiteX4" fmla="*/ 2617010 w 2846845"/>
                      <a:gd name="connsiteY4" fmla="*/ 385684 h 2819186"/>
                      <a:gd name="connsiteX5" fmla="*/ 1566422 w 2846845"/>
                      <a:gd name="connsiteY5" fmla="*/ 468368 h 2819186"/>
                      <a:gd name="connsiteX6" fmla="*/ 1148132 w 2846845"/>
                      <a:gd name="connsiteY6" fmla="*/ 419730 h 2819186"/>
                      <a:gd name="connsiteX7" fmla="*/ 418558 w 2846845"/>
                      <a:gd name="connsiteY7" fmla="*/ 1231988 h 2819186"/>
                      <a:gd name="connsiteX8" fmla="*/ 399104 w 2846845"/>
                      <a:gd name="connsiteY8" fmla="*/ 1533546 h 2819186"/>
                      <a:gd name="connsiteX9" fmla="*/ 768755 w 2846845"/>
                      <a:gd name="connsiteY9" fmla="*/ 1922652 h 2819186"/>
                      <a:gd name="connsiteX10" fmla="*/ 934125 w 2846845"/>
                      <a:gd name="connsiteY10" fmla="*/ 2618180 h 2819186"/>
                      <a:gd name="connsiteX11" fmla="*/ 715252 w 2846845"/>
                      <a:gd name="connsiteY11" fmla="*/ 2807870 h 2819186"/>
                      <a:gd name="connsiteX12" fmla="*/ 452606 w 2846845"/>
                      <a:gd name="connsiteY12" fmla="*/ 2049112 h 2819186"/>
                      <a:gd name="connsiteX13" fmla="*/ 58634 w 2846845"/>
                      <a:gd name="connsiteY13" fmla="*/ 1606503 h 2819186"/>
                      <a:gd name="connsiteX14" fmla="*/ 117001 w 2846845"/>
                      <a:gd name="connsiteY14" fmla="*/ 1095802 h 2819186"/>
                      <a:gd name="connsiteX0" fmla="*/ 117001 w 2846845"/>
                      <a:gd name="connsiteY0" fmla="*/ 1083122 h 2806506"/>
                      <a:gd name="connsiteX1" fmla="*/ 1007082 w 2846845"/>
                      <a:gd name="connsiteY1" fmla="*/ 110355 h 2806506"/>
                      <a:gd name="connsiteX2" fmla="*/ 1663699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3122 h 2806506"/>
                      <a:gd name="connsiteX1" fmla="*/ 1007082 w 2846845"/>
                      <a:gd name="connsiteY1" fmla="*/ 110355 h 2806506"/>
                      <a:gd name="connsiteX2" fmla="*/ 1639380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3122 h 2806506"/>
                      <a:gd name="connsiteX1" fmla="*/ 1007082 w 2846845"/>
                      <a:gd name="connsiteY1" fmla="*/ 110355 h 2806506"/>
                      <a:gd name="connsiteX2" fmla="*/ 1639380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934125 w 2846845"/>
                      <a:gd name="connsiteY10" fmla="*/ 2611211 h 2812217"/>
                      <a:gd name="connsiteX11" fmla="*/ 715252 w 2846845"/>
                      <a:gd name="connsiteY11" fmla="*/ 2800901 h 2812217"/>
                      <a:gd name="connsiteX12" fmla="*/ 452606 w 2846845"/>
                      <a:gd name="connsiteY12" fmla="*/ 2042143 h 2812217"/>
                      <a:gd name="connsiteX13" fmla="*/ 58634 w 2846845"/>
                      <a:gd name="connsiteY13" fmla="*/ 1599534 h 2812217"/>
                      <a:gd name="connsiteX14" fmla="*/ 117001 w 2846845"/>
                      <a:gd name="connsiteY14"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934125 w 2846845"/>
                      <a:gd name="connsiteY10" fmla="*/ 2611211 h 2812217"/>
                      <a:gd name="connsiteX11" fmla="*/ 715252 w 2846845"/>
                      <a:gd name="connsiteY11" fmla="*/ 2800901 h 2812217"/>
                      <a:gd name="connsiteX12" fmla="*/ 452606 w 2846845"/>
                      <a:gd name="connsiteY12" fmla="*/ 2042143 h 2812217"/>
                      <a:gd name="connsiteX13" fmla="*/ 58634 w 2846845"/>
                      <a:gd name="connsiteY13" fmla="*/ 1599534 h 2812217"/>
                      <a:gd name="connsiteX14" fmla="*/ 117001 w 2846845"/>
                      <a:gd name="connsiteY14"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452606 w 2846845"/>
                      <a:gd name="connsiteY14" fmla="*/ 2042143 h 2812217"/>
                      <a:gd name="connsiteX15" fmla="*/ 316418 w 2846845"/>
                      <a:gd name="connsiteY15" fmla="*/ 1891366 h 2812217"/>
                      <a:gd name="connsiteX16" fmla="*/ 58634 w 2846845"/>
                      <a:gd name="connsiteY16" fmla="*/ 1599534 h 2812217"/>
                      <a:gd name="connsiteX17" fmla="*/ 117001 w 2846845"/>
                      <a:gd name="connsiteY17"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296962 w 2846845"/>
                      <a:gd name="connsiteY14" fmla="*/ 1891366 h 2812217"/>
                      <a:gd name="connsiteX15" fmla="*/ 58634 w 2846845"/>
                      <a:gd name="connsiteY15" fmla="*/ 1599534 h 2812217"/>
                      <a:gd name="connsiteX16" fmla="*/ 117001 w 2846845"/>
                      <a:gd name="connsiteY16" fmla="*/ 1088833 h 2812217"/>
                      <a:gd name="connsiteX0" fmla="*/ 33194 w 2763038"/>
                      <a:gd name="connsiteY0" fmla="*/ 1088833 h 2812217"/>
                      <a:gd name="connsiteX1" fmla="*/ 923275 w 2763038"/>
                      <a:gd name="connsiteY1" fmla="*/ 116066 h 2812217"/>
                      <a:gd name="connsiteX2" fmla="*/ 1555573 w 2763038"/>
                      <a:gd name="connsiteY2" fmla="*/ 106339 h 2812217"/>
                      <a:gd name="connsiteX3" fmla="*/ 2484565 w 2763038"/>
                      <a:gd name="connsiteY3" fmla="*/ 237662 h 2812217"/>
                      <a:gd name="connsiteX4" fmla="*/ 2533203 w 2763038"/>
                      <a:gd name="connsiteY4" fmla="*/ 378715 h 2812217"/>
                      <a:gd name="connsiteX5" fmla="*/ 1482615 w 2763038"/>
                      <a:gd name="connsiteY5" fmla="*/ 461399 h 2812217"/>
                      <a:gd name="connsiteX6" fmla="*/ 1064325 w 2763038"/>
                      <a:gd name="connsiteY6" fmla="*/ 412761 h 2812217"/>
                      <a:gd name="connsiteX7" fmla="*/ 334751 w 2763038"/>
                      <a:gd name="connsiteY7" fmla="*/ 1225019 h 2812217"/>
                      <a:gd name="connsiteX8" fmla="*/ 315297 w 2763038"/>
                      <a:gd name="connsiteY8" fmla="*/ 1526577 h 2812217"/>
                      <a:gd name="connsiteX9" fmla="*/ 607127 w 2763038"/>
                      <a:gd name="connsiteY9" fmla="*/ 1832998 h 2812217"/>
                      <a:gd name="connsiteX10" fmla="*/ 743313 w 2763038"/>
                      <a:gd name="connsiteY10" fmla="*/ 2202651 h 2812217"/>
                      <a:gd name="connsiteX11" fmla="*/ 850318 w 2763038"/>
                      <a:gd name="connsiteY11" fmla="*/ 2611211 h 2812217"/>
                      <a:gd name="connsiteX12" fmla="*/ 631445 w 2763038"/>
                      <a:gd name="connsiteY12" fmla="*/ 2800901 h 2812217"/>
                      <a:gd name="connsiteX13" fmla="*/ 436892 w 2763038"/>
                      <a:gd name="connsiteY13" fmla="*/ 2304792 h 2812217"/>
                      <a:gd name="connsiteX14" fmla="*/ 213155 w 2763038"/>
                      <a:gd name="connsiteY14" fmla="*/ 1891366 h 2812217"/>
                      <a:gd name="connsiteX15" fmla="*/ 33194 w 2763038"/>
                      <a:gd name="connsiteY15" fmla="*/ 1088833 h 2812217"/>
                      <a:gd name="connsiteX0" fmla="*/ 95096 w 2824940"/>
                      <a:gd name="connsiteY0" fmla="*/ 1088833 h 2812217"/>
                      <a:gd name="connsiteX1" fmla="*/ 985177 w 2824940"/>
                      <a:gd name="connsiteY1" fmla="*/ 116066 h 2812217"/>
                      <a:gd name="connsiteX2" fmla="*/ 1617475 w 2824940"/>
                      <a:gd name="connsiteY2" fmla="*/ 106339 h 2812217"/>
                      <a:gd name="connsiteX3" fmla="*/ 2546467 w 2824940"/>
                      <a:gd name="connsiteY3" fmla="*/ 237662 h 2812217"/>
                      <a:gd name="connsiteX4" fmla="*/ 2595105 w 2824940"/>
                      <a:gd name="connsiteY4" fmla="*/ 378715 h 2812217"/>
                      <a:gd name="connsiteX5" fmla="*/ 1544517 w 2824940"/>
                      <a:gd name="connsiteY5" fmla="*/ 461399 h 2812217"/>
                      <a:gd name="connsiteX6" fmla="*/ 1126227 w 2824940"/>
                      <a:gd name="connsiteY6" fmla="*/ 412761 h 2812217"/>
                      <a:gd name="connsiteX7" fmla="*/ 396653 w 2824940"/>
                      <a:gd name="connsiteY7" fmla="*/ 1225019 h 2812217"/>
                      <a:gd name="connsiteX8" fmla="*/ 377199 w 2824940"/>
                      <a:gd name="connsiteY8" fmla="*/ 1526577 h 2812217"/>
                      <a:gd name="connsiteX9" fmla="*/ 669029 w 2824940"/>
                      <a:gd name="connsiteY9" fmla="*/ 1832998 h 2812217"/>
                      <a:gd name="connsiteX10" fmla="*/ 805215 w 2824940"/>
                      <a:gd name="connsiteY10" fmla="*/ 2202651 h 2812217"/>
                      <a:gd name="connsiteX11" fmla="*/ 912220 w 2824940"/>
                      <a:gd name="connsiteY11" fmla="*/ 2611211 h 2812217"/>
                      <a:gd name="connsiteX12" fmla="*/ 693347 w 2824940"/>
                      <a:gd name="connsiteY12" fmla="*/ 2800901 h 2812217"/>
                      <a:gd name="connsiteX13" fmla="*/ 498794 w 2824940"/>
                      <a:gd name="connsiteY13" fmla="*/ 2304792 h 2812217"/>
                      <a:gd name="connsiteX14" fmla="*/ 275057 w 2824940"/>
                      <a:gd name="connsiteY14" fmla="*/ 1891366 h 2812217"/>
                      <a:gd name="connsiteX15" fmla="*/ 95096 w 2824940"/>
                      <a:gd name="connsiteY15" fmla="*/ 1088833 h 2812217"/>
                      <a:gd name="connsiteX0" fmla="*/ 121910 w 2851754"/>
                      <a:gd name="connsiteY0" fmla="*/ 1088833 h 2812217"/>
                      <a:gd name="connsiteX1" fmla="*/ 1011991 w 2851754"/>
                      <a:gd name="connsiteY1" fmla="*/ 116066 h 2812217"/>
                      <a:gd name="connsiteX2" fmla="*/ 1644289 w 2851754"/>
                      <a:gd name="connsiteY2" fmla="*/ 106339 h 2812217"/>
                      <a:gd name="connsiteX3" fmla="*/ 2573281 w 2851754"/>
                      <a:gd name="connsiteY3" fmla="*/ 237662 h 2812217"/>
                      <a:gd name="connsiteX4" fmla="*/ 2621919 w 2851754"/>
                      <a:gd name="connsiteY4" fmla="*/ 378715 h 2812217"/>
                      <a:gd name="connsiteX5" fmla="*/ 1571331 w 2851754"/>
                      <a:gd name="connsiteY5" fmla="*/ 461399 h 2812217"/>
                      <a:gd name="connsiteX6" fmla="*/ 1153041 w 2851754"/>
                      <a:gd name="connsiteY6" fmla="*/ 412761 h 2812217"/>
                      <a:gd name="connsiteX7" fmla="*/ 423467 w 2851754"/>
                      <a:gd name="connsiteY7" fmla="*/ 1225019 h 2812217"/>
                      <a:gd name="connsiteX8" fmla="*/ 404013 w 2851754"/>
                      <a:gd name="connsiteY8" fmla="*/ 1526577 h 2812217"/>
                      <a:gd name="connsiteX9" fmla="*/ 695843 w 2851754"/>
                      <a:gd name="connsiteY9" fmla="*/ 1832998 h 2812217"/>
                      <a:gd name="connsiteX10" fmla="*/ 832029 w 2851754"/>
                      <a:gd name="connsiteY10" fmla="*/ 2202651 h 2812217"/>
                      <a:gd name="connsiteX11" fmla="*/ 939034 w 2851754"/>
                      <a:gd name="connsiteY11" fmla="*/ 2611211 h 2812217"/>
                      <a:gd name="connsiteX12" fmla="*/ 720161 w 2851754"/>
                      <a:gd name="connsiteY12" fmla="*/ 2800901 h 2812217"/>
                      <a:gd name="connsiteX13" fmla="*/ 525608 w 2851754"/>
                      <a:gd name="connsiteY13" fmla="*/ 2304792 h 2812217"/>
                      <a:gd name="connsiteX14" fmla="*/ 243505 w 2851754"/>
                      <a:gd name="connsiteY14" fmla="*/ 1842728 h 2812217"/>
                      <a:gd name="connsiteX15" fmla="*/ 121910 w 2851754"/>
                      <a:gd name="connsiteY15" fmla="*/ 1088833 h 2812217"/>
                      <a:gd name="connsiteX0" fmla="*/ 121910 w 2851754"/>
                      <a:gd name="connsiteY0" fmla="*/ 1088833 h 2812217"/>
                      <a:gd name="connsiteX1" fmla="*/ 1011991 w 2851754"/>
                      <a:gd name="connsiteY1" fmla="*/ 116066 h 2812217"/>
                      <a:gd name="connsiteX2" fmla="*/ 1644289 w 2851754"/>
                      <a:gd name="connsiteY2" fmla="*/ 106339 h 2812217"/>
                      <a:gd name="connsiteX3" fmla="*/ 2573281 w 2851754"/>
                      <a:gd name="connsiteY3" fmla="*/ 237662 h 2812217"/>
                      <a:gd name="connsiteX4" fmla="*/ 2621919 w 2851754"/>
                      <a:gd name="connsiteY4" fmla="*/ 378715 h 2812217"/>
                      <a:gd name="connsiteX5" fmla="*/ 1571331 w 2851754"/>
                      <a:gd name="connsiteY5" fmla="*/ 461399 h 2812217"/>
                      <a:gd name="connsiteX6" fmla="*/ 1153041 w 2851754"/>
                      <a:gd name="connsiteY6" fmla="*/ 412761 h 2812217"/>
                      <a:gd name="connsiteX7" fmla="*/ 423467 w 2851754"/>
                      <a:gd name="connsiteY7" fmla="*/ 1225019 h 2812217"/>
                      <a:gd name="connsiteX8" fmla="*/ 404013 w 2851754"/>
                      <a:gd name="connsiteY8" fmla="*/ 1526577 h 2812217"/>
                      <a:gd name="connsiteX9" fmla="*/ 695843 w 2851754"/>
                      <a:gd name="connsiteY9" fmla="*/ 1832998 h 2812217"/>
                      <a:gd name="connsiteX10" fmla="*/ 832029 w 2851754"/>
                      <a:gd name="connsiteY10" fmla="*/ 2202651 h 2812217"/>
                      <a:gd name="connsiteX11" fmla="*/ 939034 w 2851754"/>
                      <a:gd name="connsiteY11" fmla="*/ 2611211 h 2812217"/>
                      <a:gd name="connsiteX12" fmla="*/ 720161 w 2851754"/>
                      <a:gd name="connsiteY12" fmla="*/ 2800901 h 2812217"/>
                      <a:gd name="connsiteX13" fmla="*/ 525608 w 2851754"/>
                      <a:gd name="connsiteY13" fmla="*/ 2304792 h 2812217"/>
                      <a:gd name="connsiteX14" fmla="*/ 243505 w 2851754"/>
                      <a:gd name="connsiteY14" fmla="*/ 1823273 h 2812217"/>
                      <a:gd name="connsiteX15" fmla="*/ 121910 w 2851754"/>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28737" h="2812217">
                        <a:moveTo>
                          <a:pt x="98893" y="1088833"/>
                        </a:moveTo>
                        <a:lnTo>
                          <a:pt x="988974" y="116066"/>
                        </a:lnTo>
                        <a:cubicBezTo>
                          <a:pt x="1237028" y="-91457"/>
                          <a:pt x="1475359" y="26896"/>
                          <a:pt x="1621272" y="106339"/>
                        </a:cubicBezTo>
                        <a:cubicBezTo>
                          <a:pt x="1810961" y="223070"/>
                          <a:pt x="1859599" y="480854"/>
                          <a:pt x="2550264" y="237662"/>
                        </a:cubicBezTo>
                        <a:cubicBezTo>
                          <a:pt x="3031783" y="163893"/>
                          <a:pt x="2780485" y="263604"/>
                          <a:pt x="2598902" y="378715"/>
                        </a:cubicBezTo>
                        <a:cubicBezTo>
                          <a:pt x="2388135" y="493827"/>
                          <a:pt x="2276268" y="900764"/>
                          <a:pt x="1548314" y="461399"/>
                        </a:cubicBezTo>
                        <a:cubicBezTo>
                          <a:pt x="1345654" y="231178"/>
                          <a:pt x="1191633" y="331698"/>
                          <a:pt x="1130024" y="412761"/>
                        </a:cubicBezTo>
                        <a:lnTo>
                          <a:pt x="400450" y="1225019"/>
                        </a:lnTo>
                        <a:cubicBezTo>
                          <a:pt x="269938" y="1340129"/>
                          <a:pt x="328305" y="1447946"/>
                          <a:pt x="380996" y="1526577"/>
                        </a:cubicBezTo>
                        <a:cubicBezTo>
                          <a:pt x="462061" y="1650605"/>
                          <a:pt x="544746" y="1661953"/>
                          <a:pt x="672826" y="1832998"/>
                        </a:cubicBezTo>
                        <a:cubicBezTo>
                          <a:pt x="812256" y="1950541"/>
                          <a:pt x="781450" y="2086730"/>
                          <a:pt x="809012" y="2202651"/>
                        </a:cubicBezTo>
                        <a:cubicBezTo>
                          <a:pt x="831709" y="2401257"/>
                          <a:pt x="895751" y="2530959"/>
                          <a:pt x="916017" y="2611211"/>
                        </a:cubicBezTo>
                        <a:cubicBezTo>
                          <a:pt x="821171" y="2696329"/>
                          <a:pt x="678499" y="2856024"/>
                          <a:pt x="697144" y="2800901"/>
                        </a:cubicBezTo>
                        <a:cubicBezTo>
                          <a:pt x="628240" y="2749831"/>
                          <a:pt x="554471" y="2548794"/>
                          <a:pt x="502591" y="2304792"/>
                        </a:cubicBezTo>
                        <a:cubicBezTo>
                          <a:pt x="513940" y="1968378"/>
                          <a:pt x="326682" y="1955407"/>
                          <a:pt x="220488" y="1823273"/>
                        </a:cubicBezTo>
                        <a:cubicBezTo>
                          <a:pt x="-85124" y="1523337"/>
                          <a:pt x="-19460" y="1384716"/>
                          <a:pt x="98893" y="1088833"/>
                        </a:cubicBez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Freeform 63"/>
                  <p:cNvSpPr/>
                  <p:nvPr/>
                </p:nvSpPr>
                <p:spPr>
                  <a:xfrm rot="13561719">
                    <a:off x="7418586" y="1869442"/>
                    <a:ext cx="413362" cy="187108"/>
                  </a:xfrm>
                  <a:custGeom>
                    <a:avLst/>
                    <a:gdLst>
                      <a:gd name="connsiteX0" fmla="*/ 2919340 w 3034342"/>
                      <a:gd name="connsiteY0" fmla="*/ 983691 h 1373490"/>
                      <a:gd name="connsiteX1" fmla="*/ 2641702 w 3034342"/>
                      <a:gd name="connsiteY1" fmla="*/ 1098692 h 1373490"/>
                      <a:gd name="connsiteX2" fmla="*/ 2641703 w 3034342"/>
                      <a:gd name="connsiteY2" fmla="*/ 1098691 h 1373490"/>
                      <a:gd name="connsiteX3" fmla="*/ 2279920 w 3034342"/>
                      <a:gd name="connsiteY3" fmla="*/ 858885 h 1373490"/>
                      <a:gd name="connsiteX4" fmla="*/ 2265342 w 3034342"/>
                      <a:gd name="connsiteY4" fmla="*/ 811923 h 1373490"/>
                      <a:gd name="connsiteX5" fmla="*/ 2261956 w 3034342"/>
                      <a:gd name="connsiteY5" fmla="*/ 822831 h 1373490"/>
                      <a:gd name="connsiteX6" fmla="*/ 2174458 w 3034342"/>
                      <a:gd name="connsiteY6" fmla="*/ 952607 h 1373490"/>
                      <a:gd name="connsiteX7" fmla="*/ 1885762 w 3034342"/>
                      <a:gd name="connsiteY7" fmla="*/ 1072190 h 1373490"/>
                      <a:gd name="connsiteX8" fmla="*/ 1885762 w 3034342"/>
                      <a:gd name="connsiteY8" fmla="*/ 1072189 h 1373490"/>
                      <a:gd name="connsiteX9" fmla="*/ 1547211 w 3034342"/>
                      <a:gd name="connsiteY9" fmla="*/ 892182 h 1373490"/>
                      <a:gd name="connsiteX10" fmla="*/ 1543596 w 3034342"/>
                      <a:gd name="connsiteY10" fmla="*/ 885521 h 1373490"/>
                      <a:gd name="connsiteX11" fmla="*/ 1540499 w 3034342"/>
                      <a:gd name="connsiteY11" fmla="*/ 916235 h 1373490"/>
                      <a:gd name="connsiteX12" fmla="*/ 1433405 w 3034342"/>
                      <a:gd name="connsiteY12" fmla="*/ 1114872 h 1373490"/>
                      <a:gd name="connsiteX13" fmla="*/ 1155585 w 3034342"/>
                      <a:gd name="connsiteY13" fmla="*/ 1229949 h 1373490"/>
                      <a:gd name="connsiteX14" fmla="*/ 1114820 w 3034342"/>
                      <a:gd name="connsiteY14" fmla="*/ 1229949 h 1373490"/>
                      <a:gd name="connsiteX15" fmla="*/ 789023 w 3034342"/>
                      <a:gd name="connsiteY15" fmla="*/ 1056724 h 1373490"/>
                      <a:gd name="connsiteX16" fmla="*/ 787530 w 3034342"/>
                      <a:gd name="connsiteY16" fmla="*/ 1053973 h 1373490"/>
                      <a:gd name="connsiteX17" fmla="*/ 768370 w 3034342"/>
                      <a:gd name="connsiteY17" fmla="*/ 1118431 h 1373490"/>
                      <a:gd name="connsiteX18" fmla="*/ 399898 w 3034342"/>
                      <a:gd name="connsiteY18" fmla="*/ 1373490 h 1373490"/>
                      <a:gd name="connsiteX19" fmla="*/ 0 w 3034342"/>
                      <a:gd name="connsiteY19" fmla="*/ 955877 h 1373490"/>
                      <a:gd name="connsiteX20" fmla="*/ 399898 w 3034342"/>
                      <a:gd name="connsiteY20" fmla="*/ 538264 h 1373490"/>
                      <a:gd name="connsiteX21" fmla="*/ 682669 w 3034342"/>
                      <a:gd name="connsiteY21" fmla="*/ 660580 h 1373490"/>
                      <a:gd name="connsiteX22" fmla="*/ 721923 w 3034342"/>
                      <a:gd name="connsiteY22" fmla="*/ 710264 h 1373490"/>
                      <a:gd name="connsiteX23" fmla="*/ 721923 w 3034342"/>
                      <a:gd name="connsiteY23" fmla="*/ 662287 h 1373490"/>
                      <a:gd name="connsiteX24" fmla="*/ 1114820 w 3034342"/>
                      <a:gd name="connsiteY24" fmla="*/ 269390 h 1373490"/>
                      <a:gd name="connsiteX25" fmla="*/ 1155585 w 3034342"/>
                      <a:gd name="connsiteY25" fmla="*/ 269390 h 1373490"/>
                      <a:gd name="connsiteX26" fmla="*/ 1433405 w 3034342"/>
                      <a:gd name="connsiteY26" fmla="*/ 384467 h 1373490"/>
                      <a:gd name="connsiteX27" fmla="*/ 1477483 w 3034342"/>
                      <a:gd name="connsiteY27" fmla="*/ 437891 h 1373490"/>
                      <a:gd name="connsiteX28" fmla="*/ 1477483 w 3034342"/>
                      <a:gd name="connsiteY28" fmla="*/ 408279 h 1373490"/>
                      <a:gd name="connsiteX29" fmla="*/ 1885762 w 3034342"/>
                      <a:gd name="connsiteY29" fmla="*/ 0 h 1373490"/>
                      <a:gd name="connsiteX30" fmla="*/ 2285747 w 3034342"/>
                      <a:gd name="connsiteY30" fmla="*/ 325996 h 1373490"/>
                      <a:gd name="connsiteX31" fmla="*/ 2290609 w 3034342"/>
                      <a:gd name="connsiteY31" fmla="*/ 374229 h 1373490"/>
                      <a:gd name="connsiteX32" fmla="*/ 2316121 w 3034342"/>
                      <a:gd name="connsiteY32" fmla="*/ 327227 h 1373490"/>
                      <a:gd name="connsiteX33" fmla="*/ 2641703 w 3034342"/>
                      <a:gd name="connsiteY33" fmla="*/ 154117 h 1373490"/>
                      <a:gd name="connsiteX34" fmla="*/ 3034342 w 3034342"/>
                      <a:gd name="connsiteY34" fmla="*/ 546756 h 1373490"/>
                      <a:gd name="connsiteX35" fmla="*/ 3034341 w 3034342"/>
                      <a:gd name="connsiteY35" fmla="*/ 706053 h 1373490"/>
                      <a:gd name="connsiteX36" fmla="*/ 2919340 w 3034342"/>
                      <a:gd name="connsiteY36" fmla="*/ 983691 h 137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34342" h="1373490">
                        <a:moveTo>
                          <a:pt x="2919340" y="983691"/>
                        </a:moveTo>
                        <a:cubicBezTo>
                          <a:pt x="2848286" y="1054744"/>
                          <a:pt x="2750127" y="1098692"/>
                          <a:pt x="2641702" y="1098692"/>
                        </a:cubicBezTo>
                        <a:lnTo>
                          <a:pt x="2641703" y="1098691"/>
                        </a:lnTo>
                        <a:cubicBezTo>
                          <a:pt x="2479067" y="1098691"/>
                          <a:pt x="2339525" y="999809"/>
                          <a:pt x="2279920" y="858885"/>
                        </a:cubicBezTo>
                        <a:lnTo>
                          <a:pt x="2265342" y="811923"/>
                        </a:lnTo>
                        <a:lnTo>
                          <a:pt x="2261956" y="822831"/>
                        </a:lnTo>
                        <a:cubicBezTo>
                          <a:pt x="2241296" y="871677"/>
                          <a:pt x="2211400" y="915665"/>
                          <a:pt x="2174458" y="952607"/>
                        </a:cubicBezTo>
                        <a:cubicBezTo>
                          <a:pt x="2100574" y="1026491"/>
                          <a:pt x="1998504" y="1072190"/>
                          <a:pt x="1885762" y="1072190"/>
                        </a:cubicBezTo>
                        <a:lnTo>
                          <a:pt x="1885762" y="1072189"/>
                        </a:lnTo>
                        <a:cubicBezTo>
                          <a:pt x="1744834" y="1072189"/>
                          <a:pt x="1620582" y="1000785"/>
                          <a:pt x="1547211" y="892182"/>
                        </a:cubicBezTo>
                        <a:lnTo>
                          <a:pt x="1543596" y="885521"/>
                        </a:lnTo>
                        <a:lnTo>
                          <a:pt x="1540499" y="916235"/>
                        </a:lnTo>
                        <a:cubicBezTo>
                          <a:pt x="1524798" y="992965"/>
                          <a:pt x="1486730" y="1061547"/>
                          <a:pt x="1433405" y="1114872"/>
                        </a:cubicBezTo>
                        <a:cubicBezTo>
                          <a:pt x="1362305" y="1185973"/>
                          <a:pt x="1264080" y="1229949"/>
                          <a:pt x="1155585" y="1229949"/>
                        </a:cubicBezTo>
                        <a:lnTo>
                          <a:pt x="1114820" y="1229949"/>
                        </a:lnTo>
                        <a:cubicBezTo>
                          <a:pt x="979200" y="1229949"/>
                          <a:pt x="859630" y="1161236"/>
                          <a:pt x="789023" y="1056724"/>
                        </a:cubicBezTo>
                        <a:lnTo>
                          <a:pt x="787530" y="1053973"/>
                        </a:lnTo>
                        <a:lnTo>
                          <a:pt x="768370" y="1118431"/>
                        </a:lnTo>
                        <a:cubicBezTo>
                          <a:pt x="707662" y="1268318"/>
                          <a:pt x="565541" y="1373490"/>
                          <a:pt x="399898" y="1373490"/>
                        </a:cubicBezTo>
                        <a:cubicBezTo>
                          <a:pt x="179040" y="1373490"/>
                          <a:pt x="0" y="1186518"/>
                          <a:pt x="0" y="955877"/>
                        </a:cubicBezTo>
                        <a:cubicBezTo>
                          <a:pt x="0" y="725236"/>
                          <a:pt x="179040" y="538264"/>
                          <a:pt x="399898" y="538264"/>
                        </a:cubicBezTo>
                        <a:cubicBezTo>
                          <a:pt x="510327" y="538264"/>
                          <a:pt x="610301" y="585007"/>
                          <a:pt x="682669" y="660580"/>
                        </a:cubicBezTo>
                        <a:lnTo>
                          <a:pt x="721923" y="710264"/>
                        </a:lnTo>
                        <a:lnTo>
                          <a:pt x="721923" y="662287"/>
                        </a:lnTo>
                        <a:cubicBezTo>
                          <a:pt x="721923" y="445296"/>
                          <a:pt x="897829" y="269390"/>
                          <a:pt x="1114820" y="269390"/>
                        </a:cubicBezTo>
                        <a:lnTo>
                          <a:pt x="1155585" y="269390"/>
                        </a:lnTo>
                        <a:cubicBezTo>
                          <a:pt x="1264080" y="269390"/>
                          <a:pt x="1362304" y="313367"/>
                          <a:pt x="1433405" y="384467"/>
                        </a:cubicBezTo>
                        <a:lnTo>
                          <a:pt x="1477483" y="437891"/>
                        </a:lnTo>
                        <a:lnTo>
                          <a:pt x="1477483" y="408279"/>
                        </a:lnTo>
                        <a:cubicBezTo>
                          <a:pt x="1477483" y="182793"/>
                          <a:pt x="1660277" y="0"/>
                          <a:pt x="1885762" y="0"/>
                        </a:cubicBezTo>
                        <a:cubicBezTo>
                          <a:pt x="2083063" y="0"/>
                          <a:pt x="2247676" y="139951"/>
                          <a:pt x="2285747" y="325996"/>
                        </a:cubicBezTo>
                        <a:lnTo>
                          <a:pt x="2290609" y="374229"/>
                        </a:lnTo>
                        <a:lnTo>
                          <a:pt x="2316121" y="327227"/>
                        </a:lnTo>
                        <a:cubicBezTo>
                          <a:pt x="2386681" y="222784"/>
                          <a:pt x="2506173" y="154117"/>
                          <a:pt x="2641703" y="154117"/>
                        </a:cubicBezTo>
                        <a:cubicBezTo>
                          <a:pt x="2858552" y="154117"/>
                          <a:pt x="3034342" y="329907"/>
                          <a:pt x="3034342" y="546756"/>
                        </a:cubicBezTo>
                        <a:cubicBezTo>
                          <a:pt x="3034342" y="599855"/>
                          <a:pt x="3034341" y="652954"/>
                          <a:pt x="3034341" y="706053"/>
                        </a:cubicBezTo>
                        <a:cubicBezTo>
                          <a:pt x="3034341" y="814477"/>
                          <a:pt x="2990394" y="912637"/>
                          <a:pt x="2919340" y="983691"/>
                        </a:cubicBez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ectangle 4"/>
                  <p:cNvSpPr/>
                  <p:nvPr/>
                </p:nvSpPr>
                <p:spPr>
                  <a:xfrm>
                    <a:off x="7828881" y="1621427"/>
                    <a:ext cx="302420" cy="494280"/>
                  </a:xfrm>
                  <a:custGeom>
                    <a:avLst/>
                    <a:gdLst>
                      <a:gd name="connsiteX0" fmla="*/ 0 w 1431890"/>
                      <a:gd name="connsiteY0" fmla="*/ 0 h 2160396"/>
                      <a:gd name="connsiteX1" fmla="*/ 1431890 w 1431890"/>
                      <a:gd name="connsiteY1" fmla="*/ 0 h 2160396"/>
                      <a:gd name="connsiteX2" fmla="*/ 1431890 w 1431890"/>
                      <a:gd name="connsiteY2" fmla="*/ 2160396 h 2160396"/>
                      <a:gd name="connsiteX3" fmla="*/ 0 w 1431890"/>
                      <a:gd name="connsiteY3" fmla="*/ 2160396 h 2160396"/>
                      <a:gd name="connsiteX4" fmla="*/ 0 w 1431890"/>
                      <a:gd name="connsiteY4" fmla="*/ 0 h 2160396"/>
                      <a:gd name="connsiteX0" fmla="*/ 266282 w 1698172"/>
                      <a:gd name="connsiteY0" fmla="*/ 0 h 2356338"/>
                      <a:gd name="connsiteX1" fmla="*/ 1698172 w 1698172"/>
                      <a:gd name="connsiteY1" fmla="*/ 0 h 2356338"/>
                      <a:gd name="connsiteX2" fmla="*/ 1698172 w 1698172"/>
                      <a:gd name="connsiteY2" fmla="*/ 2160396 h 2356338"/>
                      <a:gd name="connsiteX3" fmla="*/ 0 w 1698172"/>
                      <a:gd name="connsiteY3" fmla="*/ 2356338 h 2356338"/>
                      <a:gd name="connsiteX4" fmla="*/ 266282 w 1698172"/>
                      <a:gd name="connsiteY4" fmla="*/ 0 h 2356338"/>
                      <a:gd name="connsiteX0" fmla="*/ 266282 w 1698172"/>
                      <a:gd name="connsiteY0" fmla="*/ 0 h 2356338"/>
                      <a:gd name="connsiteX1" fmla="*/ 1698172 w 1698172"/>
                      <a:gd name="connsiteY1" fmla="*/ 0 h 2356338"/>
                      <a:gd name="connsiteX2" fmla="*/ 839038 w 1698172"/>
                      <a:gd name="connsiteY2" fmla="*/ 2105130 h 2356338"/>
                      <a:gd name="connsiteX3" fmla="*/ 0 w 1698172"/>
                      <a:gd name="connsiteY3" fmla="*/ 2356338 h 2356338"/>
                      <a:gd name="connsiteX4" fmla="*/ 266282 w 1698172"/>
                      <a:gd name="connsiteY4" fmla="*/ 0 h 2356338"/>
                      <a:gd name="connsiteX0" fmla="*/ 266282 w 1698172"/>
                      <a:gd name="connsiteY0" fmla="*/ 0 h 2392578"/>
                      <a:gd name="connsiteX1" fmla="*/ 1698172 w 1698172"/>
                      <a:gd name="connsiteY1" fmla="*/ 0 h 2392578"/>
                      <a:gd name="connsiteX2" fmla="*/ 839038 w 1698172"/>
                      <a:gd name="connsiteY2" fmla="*/ 2105130 h 2392578"/>
                      <a:gd name="connsiteX3" fmla="*/ 0 w 1698172"/>
                      <a:gd name="connsiteY3" fmla="*/ 2356338 h 2392578"/>
                      <a:gd name="connsiteX4" fmla="*/ 266282 w 1698172"/>
                      <a:gd name="connsiteY4" fmla="*/ 0 h 2392578"/>
                      <a:gd name="connsiteX0" fmla="*/ 266282 w 1698172"/>
                      <a:gd name="connsiteY0" fmla="*/ 0 h 2464004"/>
                      <a:gd name="connsiteX1" fmla="*/ 1698172 w 1698172"/>
                      <a:gd name="connsiteY1" fmla="*/ 0 h 2464004"/>
                      <a:gd name="connsiteX2" fmla="*/ 839038 w 1698172"/>
                      <a:gd name="connsiteY2" fmla="*/ 2105130 h 2464004"/>
                      <a:gd name="connsiteX3" fmla="*/ 0 w 1698172"/>
                      <a:gd name="connsiteY3" fmla="*/ 2356338 h 2464004"/>
                      <a:gd name="connsiteX4" fmla="*/ 266282 w 1698172"/>
                      <a:gd name="connsiteY4" fmla="*/ 0 h 246400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266282 w 1698172"/>
                      <a:gd name="connsiteY4"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90436 w 1698172"/>
                      <a:gd name="connsiteY4" fmla="*/ 1502229 h 2458914"/>
                      <a:gd name="connsiteX5" fmla="*/ 266282 w 1698172"/>
                      <a:gd name="connsiteY5"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542612 w 1698172"/>
                      <a:gd name="connsiteY4" fmla="*/ 1924260 h 2458914"/>
                      <a:gd name="connsiteX5" fmla="*/ 266282 w 1698172"/>
                      <a:gd name="connsiteY5"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226089 w 1698172"/>
                      <a:gd name="connsiteY4" fmla="*/ 2170444 h 2458914"/>
                      <a:gd name="connsiteX5" fmla="*/ 542612 w 1698172"/>
                      <a:gd name="connsiteY5" fmla="*/ 1924260 h 2458914"/>
                      <a:gd name="connsiteX6" fmla="*/ 266282 w 1698172"/>
                      <a:gd name="connsiteY6"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110533 w 1698172"/>
                      <a:gd name="connsiteY4" fmla="*/ 2044840 h 2458914"/>
                      <a:gd name="connsiteX5" fmla="*/ 542612 w 1698172"/>
                      <a:gd name="connsiteY5" fmla="*/ 1924260 h 2458914"/>
                      <a:gd name="connsiteX6" fmla="*/ 266282 w 1698172"/>
                      <a:gd name="connsiteY6" fmla="*/ 0 h 2458914"/>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1085224 w 1723293"/>
                      <a:gd name="connsiteY2" fmla="*/ 1542422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698172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577593 w 1723293"/>
                      <a:gd name="connsiteY2" fmla="*/ 1833824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552473 w 1723293"/>
                      <a:gd name="connsiteY2" fmla="*/ 1034980 h 2453208"/>
                      <a:gd name="connsiteX3" fmla="*/ 1462037 w 1723293"/>
                      <a:gd name="connsiteY3" fmla="*/ 1703195 h 2453208"/>
                      <a:gd name="connsiteX4" fmla="*/ 864159 w 1723293"/>
                      <a:gd name="connsiteY4" fmla="*/ 2105130 h 2453208"/>
                      <a:gd name="connsiteX5" fmla="*/ 0 w 1723293"/>
                      <a:gd name="connsiteY5" fmla="*/ 2346290 h 2453208"/>
                      <a:gd name="connsiteX6" fmla="*/ 135654 w 1723293"/>
                      <a:gd name="connsiteY6" fmla="*/ 2044840 h 2453208"/>
                      <a:gd name="connsiteX7" fmla="*/ 567733 w 1723293"/>
                      <a:gd name="connsiteY7" fmla="*/ 1924260 h 2453208"/>
                      <a:gd name="connsiteX8" fmla="*/ 291403 w 1723293"/>
                      <a:gd name="connsiteY8" fmla="*/ 0 h 2453208"/>
                      <a:gd name="connsiteX0" fmla="*/ 291403 w 1919238"/>
                      <a:gd name="connsiteY0" fmla="*/ 0 h 2453208"/>
                      <a:gd name="connsiteX1" fmla="*/ 1723293 w 1919238"/>
                      <a:gd name="connsiteY1" fmla="*/ 0 h 2453208"/>
                      <a:gd name="connsiteX2" fmla="*/ 1919238 w 1919238"/>
                      <a:gd name="connsiteY2" fmla="*/ 1065125 h 2453208"/>
                      <a:gd name="connsiteX3" fmla="*/ 1462037 w 1919238"/>
                      <a:gd name="connsiteY3" fmla="*/ 1703195 h 2453208"/>
                      <a:gd name="connsiteX4" fmla="*/ 864159 w 1919238"/>
                      <a:gd name="connsiteY4" fmla="*/ 2105130 h 2453208"/>
                      <a:gd name="connsiteX5" fmla="*/ 0 w 1919238"/>
                      <a:gd name="connsiteY5" fmla="*/ 2346290 h 2453208"/>
                      <a:gd name="connsiteX6" fmla="*/ 135654 w 1919238"/>
                      <a:gd name="connsiteY6" fmla="*/ 2044840 h 2453208"/>
                      <a:gd name="connsiteX7" fmla="*/ 567733 w 1919238"/>
                      <a:gd name="connsiteY7" fmla="*/ 1924260 h 2453208"/>
                      <a:gd name="connsiteX8" fmla="*/ 291403 w 1919238"/>
                      <a:gd name="connsiteY8" fmla="*/ 0 h 2453208"/>
                      <a:gd name="connsiteX0" fmla="*/ 291403 w 1940010"/>
                      <a:gd name="connsiteY0" fmla="*/ 0 h 2453208"/>
                      <a:gd name="connsiteX1" fmla="*/ 1723293 w 1940010"/>
                      <a:gd name="connsiteY1" fmla="*/ 0 h 2453208"/>
                      <a:gd name="connsiteX2" fmla="*/ 1919238 w 1940010"/>
                      <a:gd name="connsiteY2" fmla="*/ 1065125 h 2453208"/>
                      <a:gd name="connsiteX3" fmla="*/ 1462037 w 1940010"/>
                      <a:gd name="connsiteY3" fmla="*/ 1703195 h 2453208"/>
                      <a:gd name="connsiteX4" fmla="*/ 864159 w 1940010"/>
                      <a:gd name="connsiteY4" fmla="*/ 2105130 h 2453208"/>
                      <a:gd name="connsiteX5" fmla="*/ 0 w 1940010"/>
                      <a:gd name="connsiteY5" fmla="*/ 2346290 h 2453208"/>
                      <a:gd name="connsiteX6" fmla="*/ 135654 w 1940010"/>
                      <a:gd name="connsiteY6" fmla="*/ 2044840 h 2453208"/>
                      <a:gd name="connsiteX7" fmla="*/ 567733 w 1940010"/>
                      <a:gd name="connsiteY7" fmla="*/ 1924260 h 2453208"/>
                      <a:gd name="connsiteX8" fmla="*/ 291403 w 1940010"/>
                      <a:gd name="connsiteY8" fmla="*/ 0 h 2453208"/>
                      <a:gd name="connsiteX0" fmla="*/ 291403 w 1939235"/>
                      <a:gd name="connsiteY0" fmla="*/ 0 h 2453208"/>
                      <a:gd name="connsiteX1" fmla="*/ 1723293 w 1939235"/>
                      <a:gd name="connsiteY1" fmla="*/ 0 h 2453208"/>
                      <a:gd name="connsiteX2" fmla="*/ 1919238 w 1939235"/>
                      <a:gd name="connsiteY2" fmla="*/ 1065125 h 2453208"/>
                      <a:gd name="connsiteX3" fmla="*/ 1441941 w 1939235"/>
                      <a:gd name="connsiteY3" fmla="*/ 1713244 h 2453208"/>
                      <a:gd name="connsiteX4" fmla="*/ 864159 w 1939235"/>
                      <a:gd name="connsiteY4" fmla="*/ 2105130 h 2453208"/>
                      <a:gd name="connsiteX5" fmla="*/ 0 w 1939235"/>
                      <a:gd name="connsiteY5" fmla="*/ 2346290 h 2453208"/>
                      <a:gd name="connsiteX6" fmla="*/ 135654 w 1939235"/>
                      <a:gd name="connsiteY6" fmla="*/ 2044840 h 2453208"/>
                      <a:gd name="connsiteX7" fmla="*/ 567733 w 1939235"/>
                      <a:gd name="connsiteY7" fmla="*/ 1924260 h 2453208"/>
                      <a:gd name="connsiteX8" fmla="*/ 291403 w 1939235"/>
                      <a:gd name="connsiteY8" fmla="*/ 0 h 2453208"/>
                      <a:gd name="connsiteX0" fmla="*/ 291403 w 1938883"/>
                      <a:gd name="connsiteY0" fmla="*/ 0 h 2453208"/>
                      <a:gd name="connsiteX1" fmla="*/ 1723293 w 1938883"/>
                      <a:gd name="connsiteY1" fmla="*/ 0 h 2453208"/>
                      <a:gd name="connsiteX2" fmla="*/ 1919238 w 1938883"/>
                      <a:gd name="connsiteY2" fmla="*/ 1065125 h 2453208"/>
                      <a:gd name="connsiteX3" fmla="*/ 1441941 w 1938883"/>
                      <a:gd name="connsiteY3" fmla="*/ 1713244 h 2453208"/>
                      <a:gd name="connsiteX4" fmla="*/ 864159 w 1938883"/>
                      <a:gd name="connsiteY4" fmla="*/ 2105130 h 2453208"/>
                      <a:gd name="connsiteX5" fmla="*/ 0 w 1938883"/>
                      <a:gd name="connsiteY5" fmla="*/ 2346290 h 2453208"/>
                      <a:gd name="connsiteX6" fmla="*/ 135654 w 1938883"/>
                      <a:gd name="connsiteY6" fmla="*/ 2044840 h 2453208"/>
                      <a:gd name="connsiteX7" fmla="*/ 567733 w 1938883"/>
                      <a:gd name="connsiteY7" fmla="*/ 1924260 h 2453208"/>
                      <a:gd name="connsiteX8" fmla="*/ 291403 w 1938883"/>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2387"/>
                      <a:gd name="connsiteY0" fmla="*/ 0 h 2453208"/>
                      <a:gd name="connsiteX1" fmla="*/ 1723293 w 1932387"/>
                      <a:gd name="connsiteY1" fmla="*/ 0 h 2453208"/>
                      <a:gd name="connsiteX2" fmla="*/ 1919238 w 1932387"/>
                      <a:gd name="connsiteY2" fmla="*/ 1065125 h 2453208"/>
                      <a:gd name="connsiteX3" fmla="*/ 1436916 w 1932387"/>
                      <a:gd name="connsiteY3" fmla="*/ 1693147 h 2453208"/>
                      <a:gd name="connsiteX4" fmla="*/ 864159 w 1932387"/>
                      <a:gd name="connsiteY4" fmla="*/ 2105130 h 2453208"/>
                      <a:gd name="connsiteX5" fmla="*/ 0 w 1932387"/>
                      <a:gd name="connsiteY5" fmla="*/ 2346290 h 2453208"/>
                      <a:gd name="connsiteX6" fmla="*/ 135654 w 1932387"/>
                      <a:gd name="connsiteY6" fmla="*/ 2044840 h 2453208"/>
                      <a:gd name="connsiteX7" fmla="*/ 567733 w 1932387"/>
                      <a:gd name="connsiteY7" fmla="*/ 1924260 h 2453208"/>
                      <a:gd name="connsiteX8" fmla="*/ 291403 w 1932387"/>
                      <a:gd name="connsiteY8" fmla="*/ 0 h 2453208"/>
                      <a:gd name="connsiteX0" fmla="*/ 291403 w 1932262"/>
                      <a:gd name="connsiteY0" fmla="*/ 0 h 2453208"/>
                      <a:gd name="connsiteX1" fmla="*/ 1723293 w 1932262"/>
                      <a:gd name="connsiteY1" fmla="*/ 0 h 2453208"/>
                      <a:gd name="connsiteX2" fmla="*/ 1919238 w 1932262"/>
                      <a:gd name="connsiteY2" fmla="*/ 1065125 h 2453208"/>
                      <a:gd name="connsiteX3" fmla="*/ 1436916 w 1932262"/>
                      <a:gd name="connsiteY3" fmla="*/ 1693147 h 2453208"/>
                      <a:gd name="connsiteX4" fmla="*/ 864159 w 1932262"/>
                      <a:gd name="connsiteY4" fmla="*/ 2105130 h 2453208"/>
                      <a:gd name="connsiteX5" fmla="*/ 0 w 1932262"/>
                      <a:gd name="connsiteY5" fmla="*/ 2346290 h 2453208"/>
                      <a:gd name="connsiteX6" fmla="*/ 135654 w 1932262"/>
                      <a:gd name="connsiteY6" fmla="*/ 2044840 h 2453208"/>
                      <a:gd name="connsiteX7" fmla="*/ 567733 w 1932262"/>
                      <a:gd name="connsiteY7" fmla="*/ 1924260 h 2453208"/>
                      <a:gd name="connsiteX8" fmla="*/ 291403 w 1932262"/>
                      <a:gd name="connsiteY8" fmla="*/ 0 h 2453208"/>
                      <a:gd name="connsiteX0" fmla="*/ 291403 w 2175469"/>
                      <a:gd name="connsiteY0" fmla="*/ 0 h 2453208"/>
                      <a:gd name="connsiteX1" fmla="*/ 2175469 w 2175469"/>
                      <a:gd name="connsiteY1" fmla="*/ 356716 h 2453208"/>
                      <a:gd name="connsiteX2" fmla="*/ 1919238 w 2175469"/>
                      <a:gd name="connsiteY2" fmla="*/ 1065125 h 2453208"/>
                      <a:gd name="connsiteX3" fmla="*/ 1436916 w 2175469"/>
                      <a:gd name="connsiteY3" fmla="*/ 1693147 h 2453208"/>
                      <a:gd name="connsiteX4" fmla="*/ 864159 w 2175469"/>
                      <a:gd name="connsiteY4" fmla="*/ 2105130 h 2453208"/>
                      <a:gd name="connsiteX5" fmla="*/ 0 w 2175469"/>
                      <a:gd name="connsiteY5" fmla="*/ 2346290 h 2453208"/>
                      <a:gd name="connsiteX6" fmla="*/ 135654 w 2175469"/>
                      <a:gd name="connsiteY6" fmla="*/ 2044840 h 2453208"/>
                      <a:gd name="connsiteX7" fmla="*/ 567733 w 2175469"/>
                      <a:gd name="connsiteY7" fmla="*/ 1924260 h 2453208"/>
                      <a:gd name="connsiteX8" fmla="*/ 291403 w 2175469"/>
                      <a:gd name="connsiteY8" fmla="*/ 0 h 2453208"/>
                      <a:gd name="connsiteX0" fmla="*/ 291403 w 2215117"/>
                      <a:gd name="connsiteY0" fmla="*/ 0 h 2453208"/>
                      <a:gd name="connsiteX1" fmla="*/ 2175469 w 2215117"/>
                      <a:gd name="connsiteY1" fmla="*/ 356716 h 2453208"/>
                      <a:gd name="connsiteX2" fmla="*/ 1919238 w 2215117"/>
                      <a:gd name="connsiteY2" fmla="*/ 1065125 h 2453208"/>
                      <a:gd name="connsiteX3" fmla="*/ 1436916 w 2215117"/>
                      <a:gd name="connsiteY3" fmla="*/ 1693147 h 2453208"/>
                      <a:gd name="connsiteX4" fmla="*/ 864159 w 2215117"/>
                      <a:gd name="connsiteY4" fmla="*/ 2105130 h 2453208"/>
                      <a:gd name="connsiteX5" fmla="*/ 0 w 2215117"/>
                      <a:gd name="connsiteY5" fmla="*/ 2346290 h 2453208"/>
                      <a:gd name="connsiteX6" fmla="*/ 135654 w 2215117"/>
                      <a:gd name="connsiteY6" fmla="*/ 2044840 h 2453208"/>
                      <a:gd name="connsiteX7" fmla="*/ 567733 w 2215117"/>
                      <a:gd name="connsiteY7" fmla="*/ 1924260 h 2453208"/>
                      <a:gd name="connsiteX8" fmla="*/ 291403 w 2215117"/>
                      <a:gd name="connsiteY8" fmla="*/ 0 h 2453208"/>
                      <a:gd name="connsiteX0" fmla="*/ 291403 w 2217798"/>
                      <a:gd name="connsiteY0" fmla="*/ 0 h 2453208"/>
                      <a:gd name="connsiteX1" fmla="*/ 2175469 w 2217798"/>
                      <a:gd name="connsiteY1" fmla="*/ 356716 h 2453208"/>
                      <a:gd name="connsiteX2" fmla="*/ 1919238 w 2217798"/>
                      <a:gd name="connsiteY2" fmla="*/ 1065125 h 2453208"/>
                      <a:gd name="connsiteX3" fmla="*/ 1436916 w 2217798"/>
                      <a:gd name="connsiteY3" fmla="*/ 1693147 h 2453208"/>
                      <a:gd name="connsiteX4" fmla="*/ 864159 w 2217798"/>
                      <a:gd name="connsiteY4" fmla="*/ 2105130 h 2453208"/>
                      <a:gd name="connsiteX5" fmla="*/ 0 w 2217798"/>
                      <a:gd name="connsiteY5" fmla="*/ 2346290 h 2453208"/>
                      <a:gd name="connsiteX6" fmla="*/ 135654 w 2217798"/>
                      <a:gd name="connsiteY6" fmla="*/ 2044840 h 2453208"/>
                      <a:gd name="connsiteX7" fmla="*/ 567733 w 2217798"/>
                      <a:gd name="connsiteY7" fmla="*/ 1924260 h 2453208"/>
                      <a:gd name="connsiteX8" fmla="*/ 291403 w 2217798"/>
                      <a:gd name="connsiteY8" fmla="*/ 0 h 2453208"/>
                      <a:gd name="connsiteX0" fmla="*/ 291403 w 2217798"/>
                      <a:gd name="connsiteY0" fmla="*/ 0 h 2453208"/>
                      <a:gd name="connsiteX1" fmla="*/ 1165611 w 2217798"/>
                      <a:gd name="connsiteY1" fmla="*/ 165798 h 2453208"/>
                      <a:gd name="connsiteX2" fmla="*/ 2175469 w 2217798"/>
                      <a:gd name="connsiteY2" fmla="*/ 356716 h 2453208"/>
                      <a:gd name="connsiteX3" fmla="*/ 1919238 w 2217798"/>
                      <a:gd name="connsiteY3" fmla="*/ 1065125 h 2453208"/>
                      <a:gd name="connsiteX4" fmla="*/ 1436916 w 2217798"/>
                      <a:gd name="connsiteY4" fmla="*/ 1693147 h 2453208"/>
                      <a:gd name="connsiteX5" fmla="*/ 864159 w 2217798"/>
                      <a:gd name="connsiteY5" fmla="*/ 2105130 h 2453208"/>
                      <a:gd name="connsiteX6" fmla="*/ 0 w 2217798"/>
                      <a:gd name="connsiteY6" fmla="*/ 2346290 h 2453208"/>
                      <a:gd name="connsiteX7" fmla="*/ 135654 w 2217798"/>
                      <a:gd name="connsiteY7" fmla="*/ 2044840 h 2453208"/>
                      <a:gd name="connsiteX8" fmla="*/ 567733 w 2217798"/>
                      <a:gd name="connsiteY8" fmla="*/ 1924260 h 2453208"/>
                      <a:gd name="connsiteX9" fmla="*/ 291403 w 2217798"/>
                      <a:gd name="connsiteY9" fmla="*/ 0 h 2453208"/>
                      <a:gd name="connsiteX0" fmla="*/ 291403 w 2217798"/>
                      <a:gd name="connsiteY0" fmla="*/ 1170633 h 3623841"/>
                      <a:gd name="connsiteX1" fmla="*/ 532565 w 2217798"/>
                      <a:gd name="connsiteY1" fmla="*/ 0 h 3623841"/>
                      <a:gd name="connsiteX2" fmla="*/ 2175469 w 2217798"/>
                      <a:gd name="connsiteY2" fmla="*/ 1527349 h 3623841"/>
                      <a:gd name="connsiteX3" fmla="*/ 1919238 w 2217798"/>
                      <a:gd name="connsiteY3" fmla="*/ 2235758 h 3623841"/>
                      <a:gd name="connsiteX4" fmla="*/ 1436916 w 2217798"/>
                      <a:gd name="connsiteY4" fmla="*/ 2863780 h 3623841"/>
                      <a:gd name="connsiteX5" fmla="*/ 864159 w 2217798"/>
                      <a:gd name="connsiteY5" fmla="*/ 3275763 h 3623841"/>
                      <a:gd name="connsiteX6" fmla="*/ 0 w 2217798"/>
                      <a:gd name="connsiteY6" fmla="*/ 3516923 h 3623841"/>
                      <a:gd name="connsiteX7" fmla="*/ 135654 w 2217798"/>
                      <a:gd name="connsiteY7" fmla="*/ 3215473 h 3623841"/>
                      <a:gd name="connsiteX8" fmla="*/ 567733 w 2217798"/>
                      <a:gd name="connsiteY8" fmla="*/ 3094893 h 3623841"/>
                      <a:gd name="connsiteX9" fmla="*/ 291403 w 2217798"/>
                      <a:gd name="connsiteY9" fmla="*/ 1170633 h 3623841"/>
                      <a:gd name="connsiteX0" fmla="*/ 291403 w 2217798"/>
                      <a:gd name="connsiteY0" fmla="*/ 1170633 h 3623841"/>
                      <a:gd name="connsiteX1" fmla="*/ 532565 w 2217798"/>
                      <a:gd name="connsiteY1" fmla="*/ 0 h 3623841"/>
                      <a:gd name="connsiteX2" fmla="*/ 2175469 w 2217798"/>
                      <a:gd name="connsiteY2" fmla="*/ 1527349 h 3623841"/>
                      <a:gd name="connsiteX3" fmla="*/ 1919238 w 2217798"/>
                      <a:gd name="connsiteY3" fmla="*/ 2235758 h 3623841"/>
                      <a:gd name="connsiteX4" fmla="*/ 1436916 w 2217798"/>
                      <a:gd name="connsiteY4" fmla="*/ 2863780 h 3623841"/>
                      <a:gd name="connsiteX5" fmla="*/ 864159 w 2217798"/>
                      <a:gd name="connsiteY5" fmla="*/ 3275763 h 3623841"/>
                      <a:gd name="connsiteX6" fmla="*/ 0 w 2217798"/>
                      <a:gd name="connsiteY6" fmla="*/ 3516923 h 3623841"/>
                      <a:gd name="connsiteX7" fmla="*/ 135654 w 2217798"/>
                      <a:gd name="connsiteY7" fmla="*/ 3215473 h 3623841"/>
                      <a:gd name="connsiteX8" fmla="*/ 567733 w 2217798"/>
                      <a:gd name="connsiteY8" fmla="*/ 3094893 h 3623841"/>
                      <a:gd name="connsiteX9" fmla="*/ 291403 w 2217798"/>
                      <a:gd name="connsiteY9" fmla="*/ 1170633 h 3623841"/>
                      <a:gd name="connsiteX0" fmla="*/ 291403 w 2213292"/>
                      <a:gd name="connsiteY0" fmla="*/ 1170633 h 3623841"/>
                      <a:gd name="connsiteX1" fmla="*/ 532565 w 2213292"/>
                      <a:gd name="connsiteY1" fmla="*/ 0 h 3623841"/>
                      <a:gd name="connsiteX2" fmla="*/ 2170445 w 2213292"/>
                      <a:gd name="connsiteY2" fmla="*/ 1507252 h 3623841"/>
                      <a:gd name="connsiteX3" fmla="*/ 1919238 w 2213292"/>
                      <a:gd name="connsiteY3" fmla="*/ 2235758 h 3623841"/>
                      <a:gd name="connsiteX4" fmla="*/ 1436916 w 2213292"/>
                      <a:gd name="connsiteY4" fmla="*/ 2863780 h 3623841"/>
                      <a:gd name="connsiteX5" fmla="*/ 864159 w 2213292"/>
                      <a:gd name="connsiteY5" fmla="*/ 3275763 h 3623841"/>
                      <a:gd name="connsiteX6" fmla="*/ 0 w 2213292"/>
                      <a:gd name="connsiteY6" fmla="*/ 3516923 h 3623841"/>
                      <a:gd name="connsiteX7" fmla="*/ 135654 w 2213292"/>
                      <a:gd name="connsiteY7" fmla="*/ 3215473 h 3623841"/>
                      <a:gd name="connsiteX8" fmla="*/ 567733 w 2213292"/>
                      <a:gd name="connsiteY8" fmla="*/ 3094893 h 3623841"/>
                      <a:gd name="connsiteX9" fmla="*/ 291403 w 2213292"/>
                      <a:gd name="connsiteY9" fmla="*/ 1170633 h 3623841"/>
                      <a:gd name="connsiteX0" fmla="*/ 291403 w 2114143"/>
                      <a:gd name="connsiteY0" fmla="*/ 1170633 h 3623841"/>
                      <a:gd name="connsiteX1" fmla="*/ 532565 w 2114143"/>
                      <a:gd name="connsiteY1" fmla="*/ 0 h 3623841"/>
                      <a:gd name="connsiteX2" fmla="*/ 2054889 w 2114143"/>
                      <a:gd name="connsiteY2" fmla="*/ 1381647 h 3623841"/>
                      <a:gd name="connsiteX3" fmla="*/ 1919238 w 2114143"/>
                      <a:gd name="connsiteY3" fmla="*/ 2235758 h 3623841"/>
                      <a:gd name="connsiteX4" fmla="*/ 1436916 w 2114143"/>
                      <a:gd name="connsiteY4" fmla="*/ 2863780 h 3623841"/>
                      <a:gd name="connsiteX5" fmla="*/ 864159 w 2114143"/>
                      <a:gd name="connsiteY5" fmla="*/ 3275763 h 3623841"/>
                      <a:gd name="connsiteX6" fmla="*/ 0 w 2114143"/>
                      <a:gd name="connsiteY6" fmla="*/ 3516923 h 3623841"/>
                      <a:gd name="connsiteX7" fmla="*/ 135654 w 2114143"/>
                      <a:gd name="connsiteY7" fmla="*/ 3215473 h 3623841"/>
                      <a:gd name="connsiteX8" fmla="*/ 567733 w 2114143"/>
                      <a:gd name="connsiteY8" fmla="*/ 3094893 h 3623841"/>
                      <a:gd name="connsiteX9" fmla="*/ 291403 w 2114143"/>
                      <a:gd name="connsiteY9" fmla="*/ 1170633 h 3623841"/>
                      <a:gd name="connsiteX0" fmla="*/ 291403 w 2209251"/>
                      <a:gd name="connsiteY0" fmla="*/ 1170633 h 3623841"/>
                      <a:gd name="connsiteX1" fmla="*/ 532565 w 2209251"/>
                      <a:gd name="connsiteY1" fmla="*/ 0 h 3623841"/>
                      <a:gd name="connsiteX2" fmla="*/ 2054889 w 2209251"/>
                      <a:gd name="connsiteY2" fmla="*/ 1381647 h 3623841"/>
                      <a:gd name="connsiteX3" fmla="*/ 1919238 w 2209251"/>
                      <a:gd name="connsiteY3" fmla="*/ 2235758 h 3623841"/>
                      <a:gd name="connsiteX4" fmla="*/ 1436916 w 2209251"/>
                      <a:gd name="connsiteY4" fmla="*/ 2863780 h 3623841"/>
                      <a:gd name="connsiteX5" fmla="*/ 864159 w 2209251"/>
                      <a:gd name="connsiteY5" fmla="*/ 3275763 h 3623841"/>
                      <a:gd name="connsiteX6" fmla="*/ 0 w 2209251"/>
                      <a:gd name="connsiteY6" fmla="*/ 3516923 h 3623841"/>
                      <a:gd name="connsiteX7" fmla="*/ 135654 w 2209251"/>
                      <a:gd name="connsiteY7" fmla="*/ 3215473 h 3623841"/>
                      <a:gd name="connsiteX8" fmla="*/ 567733 w 2209251"/>
                      <a:gd name="connsiteY8" fmla="*/ 3094893 h 3623841"/>
                      <a:gd name="connsiteX9" fmla="*/ 291403 w 2209251"/>
                      <a:gd name="connsiteY9" fmla="*/ 1170633 h 3623841"/>
                      <a:gd name="connsiteX0" fmla="*/ 291403 w 2215920"/>
                      <a:gd name="connsiteY0" fmla="*/ 1170633 h 3623841"/>
                      <a:gd name="connsiteX1" fmla="*/ 532565 w 2215920"/>
                      <a:gd name="connsiteY1" fmla="*/ 0 h 3623841"/>
                      <a:gd name="connsiteX2" fmla="*/ 2054889 w 2215920"/>
                      <a:gd name="connsiteY2" fmla="*/ 1381647 h 3623841"/>
                      <a:gd name="connsiteX3" fmla="*/ 1919238 w 2215920"/>
                      <a:gd name="connsiteY3" fmla="*/ 2235758 h 3623841"/>
                      <a:gd name="connsiteX4" fmla="*/ 1436916 w 2215920"/>
                      <a:gd name="connsiteY4" fmla="*/ 2863780 h 3623841"/>
                      <a:gd name="connsiteX5" fmla="*/ 864159 w 2215920"/>
                      <a:gd name="connsiteY5" fmla="*/ 3275763 h 3623841"/>
                      <a:gd name="connsiteX6" fmla="*/ 0 w 2215920"/>
                      <a:gd name="connsiteY6" fmla="*/ 3516923 h 3623841"/>
                      <a:gd name="connsiteX7" fmla="*/ 135654 w 2215920"/>
                      <a:gd name="connsiteY7" fmla="*/ 3215473 h 3623841"/>
                      <a:gd name="connsiteX8" fmla="*/ 567733 w 2215920"/>
                      <a:gd name="connsiteY8" fmla="*/ 3094893 h 3623841"/>
                      <a:gd name="connsiteX9" fmla="*/ 291403 w 2215920"/>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38966 h 3642227"/>
                      <a:gd name="connsiteX1" fmla="*/ 532565 w 2219964"/>
                      <a:gd name="connsiteY1" fmla="*/ 18386 h 3642227"/>
                      <a:gd name="connsiteX2" fmla="*/ 2054889 w 2219964"/>
                      <a:gd name="connsiteY2" fmla="*/ 1400033 h 3642227"/>
                      <a:gd name="connsiteX3" fmla="*/ 1919238 w 2219964"/>
                      <a:gd name="connsiteY3" fmla="*/ 2254144 h 3642227"/>
                      <a:gd name="connsiteX4" fmla="*/ 1436916 w 2219964"/>
                      <a:gd name="connsiteY4" fmla="*/ 2882166 h 3642227"/>
                      <a:gd name="connsiteX5" fmla="*/ 864159 w 2219964"/>
                      <a:gd name="connsiteY5" fmla="*/ 3294149 h 3642227"/>
                      <a:gd name="connsiteX6" fmla="*/ 0 w 2219964"/>
                      <a:gd name="connsiteY6" fmla="*/ 3535309 h 3642227"/>
                      <a:gd name="connsiteX7" fmla="*/ 135654 w 2219964"/>
                      <a:gd name="connsiteY7" fmla="*/ 3233859 h 3642227"/>
                      <a:gd name="connsiteX8" fmla="*/ 567733 w 2219964"/>
                      <a:gd name="connsiteY8" fmla="*/ 3113279 h 3642227"/>
                      <a:gd name="connsiteX9" fmla="*/ 211016 w 2219964"/>
                      <a:gd name="connsiteY9" fmla="*/ 138966 h 3642227"/>
                      <a:gd name="connsiteX0" fmla="*/ 211016 w 2219964"/>
                      <a:gd name="connsiteY0" fmla="*/ 134584 h 3637845"/>
                      <a:gd name="connsiteX1" fmla="*/ 532565 w 2219964"/>
                      <a:gd name="connsiteY1" fmla="*/ 14004 h 3637845"/>
                      <a:gd name="connsiteX2" fmla="*/ 2054889 w 2219964"/>
                      <a:gd name="connsiteY2" fmla="*/ 1395651 h 3637845"/>
                      <a:gd name="connsiteX3" fmla="*/ 1919238 w 2219964"/>
                      <a:gd name="connsiteY3" fmla="*/ 2249762 h 3637845"/>
                      <a:gd name="connsiteX4" fmla="*/ 1436916 w 2219964"/>
                      <a:gd name="connsiteY4" fmla="*/ 2877784 h 3637845"/>
                      <a:gd name="connsiteX5" fmla="*/ 864159 w 2219964"/>
                      <a:gd name="connsiteY5" fmla="*/ 3289767 h 3637845"/>
                      <a:gd name="connsiteX6" fmla="*/ 0 w 2219964"/>
                      <a:gd name="connsiteY6" fmla="*/ 3530927 h 3637845"/>
                      <a:gd name="connsiteX7" fmla="*/ 135654 w 2219964"/>
                      <a:gd name="connsiteY7" fmla="*/ 3229477 h 3637845"/>
                      <a:gd name="connsiteX8" fmla="*/ 567733 w 2219964"/>
                      <a:gd name="connsiteY8" fmla="*/ 3108897 h 3637845"/>
                      <a:gd name="connsiteX9" fmla="*/ 211016 w 2219964"/>
                      <a:gd name="connsiteY9" fmla="*/ 134584 h 3637845"/>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211016 w 2219964"/>
                      <a:gd name="connsiteY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86864 w 2219964"/>
                      <a:gd name="connsiteY9" fmla="*/ 1692616 h 3628333"/>
                      <a:gd name="connsiteX10" fmla="*/ 211016 w 2219964"/>
                      <a:gd name="connsiteY1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58464 w 2219964"/>
                      <a:gd name="connsiteY9" fmla="*/ 1531842 h 3628333"/>
                      <a:gd name="connsiteX10" fmla="*/ 211016 w 2219964"/>
                      <a:gd name="connsiteY1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421844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306288 w 2219964"/>
                      <a:gd name="connsiteY9" fmla="*/ 2380928 h 3628333"/>
                      <a:gd name="connsiteX10" fmla="*/ 1748416 w 2219964"/>
                      <a:gd name="connsiteY10" fmla="*/ 1958897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748416 w 2219964"/>
                      <a:gd name="connsiteY10" fmla="*/ 1958897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813919 w 2219964"/>
                      <a:gd name="connsiteY9" fmla="*/ 2325662 h 3628333"/>
                      <a:gd name="connsiteX10" fmla="*/ 1085224 w 2219964"/>
                      <a:gd name="connsiteY10" fmla="*/ 1501697 h 3628333"/>
                      <a:gd name="connsiteX11" fmla="*/ 1607739 w 2219964"/>
                      <a:gd name="connsiteY11" fmla="*/ 1873486 h 3628333"/>
                      <a:gd name="connsiteX12" fmla="*/ 1808706 w 2219964"/>
                      <a:gd name="connsiteY12" fmla="*/ 1592132 h 3628333"/>
                      <a:gd name="connsiteX13" fmla="*/ 211016 w 2219964"/>
                      <a:gd name="connsiteY13"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1085224 w 2219964"/>
                      <a:gd name="connsiteY10" fmla="*/ 1501697 h 3628333"/>
                      <a:gd name="connsiteX11" fmla="*/ 1607739 w 2219964"/>
                      <a:gd name="connsiteY11" fmla="*/ 1873486 h 3628333"/>
                      <a:gd name="connsiteX12" fmla="*/ 1808706 w 2219964"/>
                      <a:gd name="connsiteY12" fmla="*/ 1592132 h 3628333"/>
                      <a:gd name="connsiteX13" fmla="*/ 211016 w 2219964"/>
                      <a:gd name="connsiteY13"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813919 w 2219964"/>
                      <a:gd name="connsiteY10" fmla="*/ 1883535 h 3628333"/>
                      <a:gd name="connsiteX11" fmla="*/ 1085224 w 2219964"/>
                      <a:gd name="connsiteY11" fmla="*/ 1501697 h 3628333"/>
                      <a:gd name="connsiteX12" fmla="*/ 1607739 w 2219964"/>
                      <a:gd name="connsiteY12" fmla="*/ 1873486 h 3628333"/>
                      <a:gd name="connsiteX13" fmla="*/ 1808706 w 2219964"/>
                      <a:gd name="connsiteY13" fmla="*/ 1592132 h 3628333"/>
                      <a:gd name="connsiteX14" fmla="*/ 211016 w 2219964"/>
                      <a:gd name="connsiteY14"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944547 w 2219964"/>
                      <a:gd name="connsiteY10" fmla="*/ 1767979 h 3628333"/>
                      <a:gd name="connsiteX11" fmla="*/ 1085224 w 2219964"/>
                      <a:gd name="connsiteY11" fmla="*/ 1501697 h 3628333"/>
                      <a:gd name="connsiteX12" fmla="*/ 1607739 w 2219964"/>
                      <a:gd name="connsiteY12" fmla="*/ 1873486 h 3628333"/>
                      <a:gd name="connsiteX13" fmla="*/ 1808706 w 2219964"/>
                      <a:gd name="connsiteY13" fmla="*/ 1592132 h 3628333"/>
                      <a:gd name="connsiteX14" fmla="*/ 211016 w 2219964"/>
                      <a:gd name="connsiteY14"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73725 w 2219964"/>
                      <a:gd name="connsiteY10" fmla="*/ 2009139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090248 w 2219964"/>
                      <a:gd name="connsiteY11" fmla="*/ 2024212 h 3628333"/>
                      <a:gd name="connsiteX12" fmla="*/ 944547 w 2219964"/>
                      <a:gd name="connsiteY12" fmla="*/ 1767979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44547 w 2219964"/>
                      <a:gd name="connsiteY12" fmla="*/ 1767979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245998 w 2219964"/>
                      <a:gd name="connsiteY11" fmla="*/ 2190010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713435 w 2219964"/>
                      <a:gd name="connsiteY9" fmla="*/ 269242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874209 w 2219964"/>
                      <a:gd name="connsiteY9" fmla="*/ 2988853 h 3628333"/>
                      <a:gd name="connsiteX10" fmla="*/ 1080199 w 2219964"/>
                      <a:gd name="connsiteY10" fmla="*/ 2702476 h 3628333"/>
                      <a:gd name="connsiteX11" fmla="*/ 567735 w 2219964"/>
                      <a:gd name="connsiteY11" fmla="*/ 2290493 h 3628333"/>
                      <a:gd name="connsiteX12" fmla="*/ 763677 w 2219964"/>
                      <a:gd name="connsiteY12" fmla="*/ 2049333 h 3628333"/>
                      <a:gd name="connsiteX13" fmla="*/ 1381651 w 2219964"/>
                      <a:gd name="connsiteY13" fmla="*/ 2521605 h 3628333"/>
                      <a:gd name="connsiteX14" fmla="*/ 1577593 w 2219964"/>
                      <a:gd name="connsiteY14" fmla="*/ 2280445 h 3628333"/>
                      <a:gd name="connsiteX15" fmla="*/ 929475 w 2219964"/>
                      <a:gd name="connsiteY15" fmla="*/ 1762955 h 3628333"/>
                      <a:gd name="connsiteX16" fmla="*/ 1085224 w 2219964"/>
                      <a:gd name="connsiteY16" fmla="*/ 1501697 h 3628333"/>
                      <a:gd name="connsiteX17" fmla="*/ 1607739 w 2219964"/>
                      <a:gd name="connsiteY17" fmla="*/ 1873486 h 3628333"/>
                      <a:gd name="connsiteX18" fmla="*/ 1808706 w 2219964"/>
                      <a:gd name="connsiteY18" fmla="*/ 1592132 h 3628333"/>
                      <a:gd name="connsiteX19" fmla="*/ 211016 w 2219964"/>
                      <a:gd name="connsiteY1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16525 w 2219964"/>
                      <a:gd name="connsiteY9" fmla="*/ 2506532 h 3628333"/>
                      <a:gd name="connsiteX10" fmla="*/ 1080199 w 2219964"/>
                      <a:gd name="connsiteY10" fmla="*/ 2702476 h 3628333"/>
                      <a:gd name="connsiteX11" fmla="*/ 567735 w 2219964"/>
                      <a:gd name="connsiteY11" fmla="*/ 2290493 h 3628333"/>
                      <a:gd name="connsiteX12" fmla="*/ 763677 w 2219964"/>
                      <a:gd name="connsiteY12" fmla="*/ 2049333 h 3628333"/>
                      <a:gd name="connsiteX13" fmla="*/ 1381651 w 2219964"/>
                      <a:gd name="connsiteY13" fmla="*/ 2521605 h 3628333"/>
                      <a:gd name="connsiteX14" fmla="*/ 1577593 w 2219964"/>
                      <a:gd name="connsiteY14" fmla="*/ 2280445 h 3628333"/>
                      <a:gd name="connsiteX15" fmla="*/ 929475 w 2219964"/>
                      <a:gd name="connsiteY15" fmla="*/ 1762955 h 3628333"/>
                      <a:gd name="connsiteX16" fmla="*/ 1085224 w 2219964"/>
                      <a:gd name="connsiteY16" fmla="*/ 1501697 h 3628333"/>
                      <a:gd name="connsiteX17" fmla="*/ 1607739 w 2219964"/>
                      <a:gd name="connsiteY17" fmla="*/ 1873486 h 3628333"/>
                      <a:gd name="connsiteX18" fmla="*/ 1808706 w 2219964"/>
                      <a:gd name="connsiteY18" fmla="*/ 1592132 h 3628333"/>
                      <a:gd name="connsiteX19" fmla="*/ 211016 w 2219964"/>
                      <a:gd name="connsiteY1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71791 w 2219964"/>
                      <a:gd name="connsiteY9" fmla="*/ 2687403 h 3628333"/>
                      <a:gd name="connsiteX10" fmla="*/ 316525 w 2219964"/>
                      <a:gd name="connsiteY10" fmla="*/ 2506532 h 3628333"/>
                      <a:gd name="connsiteX11" fmla="*/ 1080199 w 2219964"/>
                      <a:gd name="connsiteY11" fmla="*/ 2702476 h 3628333"/>
                      <a:gd name="connsiteX12" fmla="*/ 567735 w 2219964"/>
                      <a:gd name="connsiteY12" fmla="*/ 2290493 h 3628333"/>
                      <a:gd name="connsiteX13" fmla="*/ 763677 w 2219964"/>
                      <a:gd name="connsiteY13" fmla="*/ 2049333 h 3628333"/>
                      <a:gd name="connsiteX14" fmla="*/ 1381651 w 2219964"/>
                      <a:gd name="connsiteY14" fmla="*/ 2521605 h 3628333"/>
                      <a:gd name="connsiteX15" fmla="*/ 1577593 w 2219964"/>
                      <a:gd name="connsiteY15" fmla="*/ 2280445 h 3628333"/>
                      <a:gd name="connsiteX16" fmla="*/ 929475 w 2219964"/>
                      <a:gd name="connsiteY16" fmla="*/ 1762955 h 3628333"/>
                      <a:gd name="connsiteX17" fmla="*/ 1085224 w 2219964"/>
                      <a:gd name="connsiteY17" fmla="*/ 1501697 h 3628333"/>
                      <a:gd name="connsiteX18" fmla="*/ 1607739 w 2219964"/>
                      <a:gd name="connsiteY18" fmla="*/ 1873486 h 3628333"/>
                      <a:gd name="connsiteX19" fmla="*/ 1808706 w 2219964"/>
                      <a:gd name="connsiteY19" fmla="*/ 1592132 h 3628333"/>
                      <a:gd name="connsiteX20" fmla="*/ 211016 w 2219964"/>
                      <a:gd name="connsiteY2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1080199 w 2219964"/>
                      <a:gd name="connsiteY11" fmla="*/ 2702476 h 3628333"/>
                      <a:gd name="connsiteX12" fmla="*/ 567735 w 2219964"/>
                      <a:gd name="connsiteY12" fmla="*/ 2290493 h 3628333"/>
                      <a:gd name="connsiteX13" fmla="*/ 763677 w 2219964"/>
                      <a:gd name="connsiteY13" fmla="*/ 2049333 h 3628333"/>
                      <a:gd name="connsiteX14" fmla="*/ 1381651 w 2219964"/>
                      <a:gd name="connsiteY14" fmla="*/ 2521605 h 3628333"/>
                      <a:gd name="connsiteX15" fmla="*/ 1577593 w 2219964"/>
                      <a:gd name="connsiteY15" fmla="*/ 2280445 h 3628333"/>
                      <a:gd name="connsiteX16" fmla="*/ 929475 w 2219964"/>
                      <a:gd name="connsiteY16" fmla="*/ 1762955 h 3628333"/>
                      <a:gd name="connsiteX17" fmla="*/ 1085224 w 2219964"/>
                      <a:gd name="connsiteY17" fmla="*/ 1501697 h 3628333"/>
                      <a:gd name="connsiteX18" fmla="*/ 1607739 w 2219964"/>
                      <a:gd name="connsiteY18" fmla="*/ 1873486 h 3628333"/>
                      <a:gd name="connsiteX19" fmla="*/ 1808706 w 2219964"/>
                      <a:gd name="connsiteY19" fmla="*/ 1592132 h 3628333"/>
                      <a:gd name="connsiteX20" fmla="*/ 211016 w 2219964"/>
                      <a:gd name="connsiteY2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768701 w 2219964"/>
                      <a:gd name="connsiteY11" fmla="*/ 2647210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25606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25606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9964" h="3628333">
                        <a:moveTo>
                          <a:pt x="211016" y="125072"/>
                        </a:moveTo>
                        <a:cubicBezTo>
                          <a:pt x="82063" y="-10581"/>
                          <a:pt x="415334" y="-5556"/>
                          <a:pt x="532565" y="4492"/>
                        </a:cubicBezTo>
                        <a:cubicBezTo>
                          <a:pt x="1316336" y="749744"/>
                          <a:pt x="1562521" y="897119"/>
                          <a:pt x="2054889" y="1386139"/>
                        </a:cubicBezTo>
                        <a:cubicBezTo>
                          <a:pt x="2436727" y="1853387"/>
                          <a:pt x="2054890" y="2184984"/>
                          <a:pt x="1919238" y="2240250"/>
                        </a:cubicBezTo>
                        <a:cubicBezTo>
                          <a:pt x="2013024" y="2829754"/>
                          <a:pt x="1574243" y="2861572"/>
                          <a:pt x="1436916" y="2868272"/>
                        </a:cubicBezTo>
                        <a:cubicBezTo>
                          <a:pt x="1318010" y="3369015"/>
                          <a:pt x="993113" y="3251785"/>
                          <a:pt x="864159" y="3280255"/>
                        </a:cubicBezTo>
                        <a:cubicBezTo>
                          <a:pt x="689988" y="3775973"/>
                          <a:pt x="128953" y="3628598"/>
                          <a:pt x="0" y="3521415"/>
                        </a:cubicBezTo>
                        <a:lnTo>
                          <a:pt x="135654" y="3219965"/>
                        </a:lnTo>
                        <a:cubicBezTo>
                          <a:pt x="480646" y="3471175"/>
                          <a:pt x="574432" y="3204892"/>
                          <a:pt x="552660" y="3129530"/>
                        </a:cubicBezTo>
                        <a:cubicBezTo>
                          <a:pt x="592016" y="3040770"/>
                          <a:pt x="242837" y="2901769"/>
                          <a:pt x="140679" y="2757742"/>
                        </a:cubicBezTo>
                        <a:cubicBezTo>
                          <a:pt x="38521" y="2658933"/>
                          <a:pt x="138167" y="2418609"/>
                          <a:pt x="326573" y="2521604"/>
                        </a:cubicBezTo>
                        <a:cubicBezTo>
                          <a:pt x="449666" y="2609527"/>
                          <a:pt x="756978" y="2905955"/>
                          <a:pt x="884257" y="2938612"/>
                        </a:cubicBezTo>
                        <a:cubicBezTo>
                          <a:pt x="1142164" y="3031559"/>
                          <a:pt x="1168959" y="2766953"/>
                          <a:pt x="1080199" y="2702476"/>
                        </a:cubicBezTo>
                        <a:cubicBezTo>
                          <a:pt x="874208" y="2507371"/>
                          <a:pt x="825642" y="2548400"/>
                          <a:pt x="567735" y="2290493"/>
                        </a:cubicBezTo>
                        <a:cubicBezTo>
                          <a:pt x="487348" y="2178287"/>
                          <a:pt x="542613" y="2005790"/>
                          <a:pt x="763677" y="2049333"/>
                        </a:cubicBezTo>
                        <a:cubicBezTo>
                          <a:pt x="886769" y="2122184"/>
                          <a:pt x="1245998" y="2483086"/>
                          <a:pt x="1381651" y="2521605"/>
                        </a:cubicBezTo>
                        <a:cubicBezTo>
                          <a:pt x="1602715" y="2665631"/>
                          <a:pt x="1710734" y="2346597"/>
                          <a:pt x="1577593" y="2280445"/>
                        </a:cubicBezTo>
                        <a:cubicBezTo>
                          <a:pt x="1524839" y="2209269"/>
                          <a:pt x="1025771" y="1855065"/>
                          <a:pt x="929475" y="1762955"/>
                        </a:cubicBezTo>
                        <a:cubicBezTo>
                          <a:pt x="767027" y="1603855"/>
                          <a:pt x="966319" y="1414611"/>
                          <a:pt x="1085224" y="1501697"/>
                        </a:cubicBezTo>
                        <a:lnTo>
                          <a:pt x="1607739" y="1873486"/>
                        </a:lnTo>
                        <a:cubicBezTo>
                          <a:pt x="1847224" y="2077801"/>
                          <a:pt x="2001300" y="1724436"/>
                          <a:pt x="1808706" y="1592132"/>
                        </a:cubicBezTo>
                        <a:lnTo>
                          <a:pt x="211016" y="125072"/>
                        </a:ln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grpSp>
        <p:grpSp>
          <p:nvGrpSpPr>
            <p:cNvPr id="10" name="Group 9"/>
            <p:cNvGrpSpPr/>
            <p:nvPr/>
          </p:nvGrpSpPr>
          <p:grpSpPr>
            <a:xfrm>
              <a:off x="1499257" y="4712932"/>
              <a:ext cx="1562031" cy="1684594"/>
              <a:chOff x="1499257" y="4712932"/>
              <a:chExt cx="1562031" cy="1684594"/>
            </a:xfrm>
          </p:grpSpPr>
          <p:grpSp>
            <p:nvGrpSpPr>
              <p:cNvPr id="47" name="Group 46"/>
              <p:cNvGrpSpPr/>
              <p:nvPr/>
            </p:nvGrpSpPr>
            <p:grpSpPr>
              <a:xfrm>
                <a:off x="2019672" y="4712932"/>
                <a:ext cx="1041616" cy="1042046"/>
                <a:chOff x="2019672" y="4712932"/>
                <a:chExt cx="1041616" cy="1042046"/>
              </a:xfrm>
            </p:grpSpPr>
            <p:sp>
              <p:nvSpPr>
                <p:cNvPr id="51" name="Freeform 50"/>
                <p:cNvSpPr/>
                <p:nvPr/>
              </p:nvSpPr>
              <p:spPr>
                <a:xfrm flipH="1">
                  <a:off x="2019672" y="4712932"/>
                  <a:ext cx="1041616"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9311 w 1542756"/>
                    <a:gd name="connsiteY18" fmla="*/ 1483482 h 1543391"/>
                    <a:gd name="connsiteX19" fmla="*/ 687979 w 1542756"/>
                    <a:gd name="connsiteY19" fmla="*/ 1459189 h 1543391"/>
                    <a:gd name="connsiteX20" fmla="*/ 754417 w 1542756"/>
                    <a:gd name="connsiteY20" fmla="*/ 1347735 h 1543391"/>
                    <a:gd name="connsiteX21" fmla="*/ 603727 w 1542756"/>
                    <a:gd name="connsiteY21" fmla="*/ 1213325 h 1543391"/>
                    <a:gd name="connsiteX22" fmla="*/ 457825 w 1542756"/>
                    <a:gd name="connsiteY22" fmla="*/ 1347735 h 1543391"/>
                    <a:gd name="connsiteX23" fmla="*/ 522614 w 1542756"/>
                    <a:gd name="connsiteY23" fmla="*/ 1456051 h 1543391"/>
                    <a:gd name="connsiteX24" fmla="*/ 530889 w 1542756"/>
                    <a:gd name="connsiteY24" fmla="*/ 1529038 h 1543391"/>
                    <a:gd name="connsiteX25" fmla="*/ 510900 w 1542756"/>
                    <a:gd name="connsiteY25" fmla="*/ 1543391 h 1543391"/>
                    <a:gd name="connsiteX26" fmla="*/ 0 w 1542756"/>
                    <a:gd name="connsiteY26" fmla="*/ 1543391 h 1543391"/>
                    <a:gd name="connsiteX27" fmla="*/ 0 w 1542756"/>
                    <a:gd name="connsiteY27" fmla="*/ 1030456 h 1543391"/>
                    <a:gd name="connsiteX28" fmla="*/ 14829 w 1542756"/>
                    <a:gd name="connsiteY28" fmla="*/ 1009804 h 1543391"/>
                    <a:gd name="connsiteX29" fmla="*/ 84678 w 1542756"/>
                    <a:gd name="connsiteY29" fmla="*/ 1015107 h 1543391"/>
                    <a:gd name="connsiteX30" fmla="*/ 196131 w 1542756"/>
                    <a:gd name="connsiteY30" fmla="*/ 1081546 h 1543391"/>
                    <a:gd name="connsiteX31" fmla="*/ 330541 w 1542756"/>
                    <a:gd name="connsiteY31" fmla="*/ 936966 h 1543391"/>
                    <a:gd name="connsiteX32" fmla="*/ 196131 w 1542756"/>
                    <a:gd name="connsiteY32" fmla="*/ 789331 h 1543391"/>
                    <a:gd name="connsiteX33" fmla="*/ 84678 w 1542756"/>
                    <a:gd name="connsiteY33" fmla="*/ 858826 h 1543391"/>
                    <a:gd name="connsiteX34" fmla="*/ 16002 w 1542756"/>
                    <a:gd name="connsiteY34" fmla="*/ 862694 h 1543391"/>
                    <a:gd name="connsiteX35" fmla="*/ 0 w 1542756"/>
                    <a:gd name="connsiteY35" fmla="*/ 841219 h 1543391"/>
                    <a:gd name="connsiteX36" fmla="*/ 0 w 1542756"/>
                    <a:gd name="connsiteY36" fmla="*/ 330541 h 1543391"/>
                    <a:gd name="connsiteX37" fmla="*/ 510238 w 1542756"/>
                    <a:gd name="connsiteY37" fmla="*/ 330541 h 1543391"/>
                    <a:gd name="connsiteX38" fmla="*/ 530889 w 1542756"/>
                    <a:gd name="connsiteY38" fmla="*/ 315713 h 1543391"/>
                    <a:gd name="connsiteX39" fmla="*/ 519475 w 1542756"/>
                    <a:gd name="connsiteY39" fmla="*/ 245864 h 1543391"/>
                    <a:gd name="connsiteX40" fmla="*/ 453037 w 1542756"/>
                    <a:gd name="connsiteY40" fmla="*/ 134410 h 1543391"/>
                    <a:gd name="connsiteX41" fmla="*/ 603727 w 1542756"/>
                    <a:gd name="connsiteY4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9311 w 1542756"/>
                    <a:gd name="connsiteY17" fmla="*/ 1483482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79311 w 1542756"/>
                    <a:gd name="connsiteY16" fmla="*/ 1483482 h 1543391"/>
                    <a:gd name="connsiteX17" fmla="*/ 687979 w 1542756"/>
                    <a:gd name="connsiteY17" fmla="*/ 1459189 h 1543391"/>
                    <a:gd name="connsiteX18" fmla="*/ 754417 w 1542756"/>
                    <a:gd name="connsiteY18" fmla="*/ 1347735 h 1543391"/>
                    <a:gd name="connsiteX19" fmla="*/ 603727 w 1542756"/>
                    <a:gd name="connsiteY19" fmla="*/ 1213325 h 1543391"/>
                    <a:gd name="connsiteX20" fmla="*/ 457825 w 1542756"/>
                    <a:gd name="connsiteY20" fmla="*/ 1347735 h 1543391"/>
                    <a:gd name="connsiteX21" fmla="*/ 522614 w 1542756"/>
                    <a:gd name="connsiteY21" fmla="*/ 1456051 h 1543391"/>
                    <a:gd name="connsiteX22" fmla="*/ 530889 w 1542756"/>
                    <a:gd name="connsiteY22" fmla="*/ 1529038 h 1543391"/>
                    <a:gd name="connsiteX23" fmla="*/ 510900 w 1542756"/>
                    <a:gd name="connsiteY23" fmla="*/ 1543391 h 1543391"/>
                    <a:gd name="connsiteX24" fmla="*/ 0 w 1542756"/>
                    <a:gd name="connsiteY24" fmla="*/ 1543391 h 1543391"/>
                    <a:gd name="connsiteX25" fmla="*/ 0 w 1542756"/>
                    <a:gd name="connsiteY25" fmla="*/ 1030456 h 1543391"/>
                    <a:gd name="connsiteX26" fmla="*/ 14829 w 1542756"/>
                    <a:gd name="connsiteY26" fmla="*/ 1009804 h 1543391"/>
                    <a:gd name="connsiteX27" fmla="*/ 84678 w 1542756"/>
                    <a:gd name="connsiteY27" fmla="*/ 1015107 h 1543391"/>
                    <a:gd name="connsiteX28" fmla="*/ 196131 w 1542756"/>
                    <a:gd name="connsiteY28" fmla="*/ 1081546 h 1543391"/>
                    <a:gd name="connsiteX29" fmla="*/ 330541 w 1542756"/>
                    <a:gd name="connsiteY29" fmla="*/ 936966 h 1543391"/>
                    <a:gd name="connsiteX30" fmla="*/ 196131 w 1542756"/>
                    <a:gd name="connsiteY30" fmla="*/ 789331 h 1543391"/>
                    <a:gd name="connsiteX31" fmla="*/ 84678 w 1542756"/>
                    <a:gd name="connsiteY31" fmla="*/ 858826 h 1543391"/>
                    <a:gd name="connsiteX32" fmla="*/ 16002 w 1542756"/>
                    <a:gd name="connsiteY32" fmla="*/ 862694 h 1543391"/>
                    <a:gd name="connsiteX33" fmla="*/ 0 w 1542756"/>
                    <a:gd name="connsiteY33" fmla="*/ 841219 h 1543391"/>
                    <a:gd name="connsiteX34" fmla="*/ 0 w 1542756"/>
                    <a:gd name="connsiteY34" fmla="*/ 330541 h 1543391"/>
                    <a:gd name="connsiteX35" fmla="*/ 510238 w 1542756"/>
                    <a:gd name="connsiteY35" fmla="*/ 330541 h 1543391"/>
                    <a:gd name="connsiteX36" fmla="*/ 530889 w 1542756"/>
                    <a:gd name="connsiteY36" fmla="*/ 315713 h 1543391"/>
                    <a:gd name="connsiteX37" fmla="*/ 519475 w 1542756"/>
                    <a:gd name="connsiteY37" fmla="*/ 245864 h 1543391"/>
                    <a:gd name="connsiteX38" fmla="*/ 453037 w 1542756"/>
                    <a:gd name="connsiteY38" fmla="*/ 134410 h 1543391"/>
                    <a:gd name="connsiteX39" fmla="*/ 603727 w 1542756"/>
                    <a:gd name="connsiteY39"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87979 w 1542756"/>
                    <a:gd name="connsiteY16" fmla="*/ 1459189 h 1543391"/>
                    <a:gd name="connsiteX17" fmla="*/ 754417 w 1542756"/>
                    <a:gd name="connsiteY17" fmla="*/ 1347735 h 1543391"/>
                    <a:gd name="connsiteX18" fmla="*/ 603727 w 1542756"/>
                    <a:gd name="connsiteY18" fmla="*/ 1213325 h 1543391"/>
                    <a:gd name="connsiteX19" fmla="*/ 457825 w 1542756"/>
                    <a:gd name="connsiteY19" fmla="*/ 1347735 h 1543391"/>
                    <a:gd name="connsiteX20" fmla="*/ 522614 w 1542756"/>
                    <a:gd name="connsiteY20" fmla="*/ 1456051 h 1543391"/>
                    <a:gd name="connsiteX21" fmla="*/ 530889 w 1542756"/>
                    <a:gd name="connsiteY21" fmla="*/ 1529038 h 1543391"/>
                    <a:gd name="connsiteX22" fmla="*/ 510900 w 1542756"/>
                    <a:gd name="connsiteY22" fmla="*/ 1543391 h 1543391"/>
                    <a:gd name="connsiteX23" fmla="*/ 0 w 1542756"/>
                    <a:gd name="connsiteY23" fmla="*/ 1543391 h 1543391"/>
                    <a:gd name="connsiteX24" fmla="*/ 0 w 1542756"/>
                    <a:gd name="connsiteY24" fmla="*/ 1030456 h 1543391"/>
                    <a:gd name="connsiteX25" fmla="*/ 14829 w 1542756"/>
                    <a:gd name="connsiteY25" fmla="*/ 1009804 h 1543391"/>
                    <a:gd name="connsiteX26" fmla="*/ 84678 w 1542756"/>
                    <a:gd name="connsiteY26" fmla="*/ 1015107 h 1543391"/>
                    <a:gd name="connsiteX27" fmla="*/ 196131 w 1542756"/>
                    <a:gd name="connsiteY27" fmla="*/ 1081546 h 1543391"/>
                    <a:gd name="connsiteX28" fmla="*/ 330541 w 1542756"/>
                    <a:gd name="connsiteY28" fmla="*/ 936966 h 1543391"/>
                    <a:gd name="connsiteX29" fmla="*/ 196131 w 1542756"/>
                    <a:gd name="connsiteY29" fmla="*/ 789331 h 1543391"/>
                    <a:gd name="connsiteX30" fmla="*/ 84678 w 1542756"/>
                    <a:gd name="connsiteY30" fmla="*/ 858826 h 1543391"/>
                    <a:gd name="connsiteX31" fmla="*/ 16002 w 1542756"/>
                    <a:gd name="connsiteY31" fmla="*/ 862694 h 1543391"/>
                    <a:gd name="connsiteX32" fmla="*/ 0 w 1542756"/>
                    <a:gd name="connsiteY32" fmla="*/ 841219 h 1543391"/>
                    <a:gd name="connsiteX33" fmla="*/ 0 w 1542756"/>
                    <a:gd name="connsiteY33" fmla="*/ 330541 h 1543391"/>
                    <a:gd name="connsiteX34" fmla="*/ 510238 w 1542756"/>
                    <a:gd name="connsiteY34" fmla="*/ 330541 h 1543391"/>
                    <a:gd name="connsiteX35" fmla="*/ 530889 w 1542756"/>
                    <a:gd name="connsiteY35" fmla="*/ 315713 h 1543391"/>
                    <a:gd name="connsiteX36" fmla="*/ 519475 w 1542756"/>
                    <a:gd name="connsiteY36" fmla="*/ 245864 h 1543391"/>
                    <a:gd name="connsiteX37" fmla="*/ 453037 w 1542756"/>
                    <a:gd name="connsiteY37" fmla="*/ 134410 h 1543391"/>
                    <a:gd name="connsiteX38" fmla="*/ 603727 w 1542756"/>
                    <a:gd name="connsiteY38"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754417 w 1542756"/>
                    <a:gd name="connsiteY16" fmla="*/ 1347735 h 1543391"/>
                    <a:gd name="connsiteX17" fmla="*/ 603727 w 1542756"/>
                    <a:gd name="connsiteY17" fmla="*/ 1213325 h 1543391"/>
                    <a:gd name="connsiteX18" fmla="*/ 457825 w 1542756"/>
                    <a:gd name="connsiteY18" fmla="*/ 1347735 h 1543391"/>
                    <a:gd name="connsiteX19" fmla="*/ 522614 w 1542756"/>
                    <a:gd name="connsiteY19" fmla="*/ 1456051 h 1543391"/>
                    <a:gd name="connsiteX20" fmla="*/ 530889 w 1542756"/>
                    <a:gd name="connsiteY20" fmla="*/ 1529038 h 1543391"/>
                    <a:gd name="connsiteX21" fmla="*/ 510900 w 1542756"/>
                    <a:gd name="connsiteY21" fmla="*/ 1543391 h 1543391"/>
                    <a:gd name="connsiteX22" fmla="*/ 0 w 1542756"/>
                    <a:gd name="connsiteY22" fmla="*/ 1543391 h 1543391"/>
                    <a:gd name="connsiteX23" fmla="*/ 0 w 1542756"/>
                    <a:gd name="connsiteY23" fmla="*/ 1030456 h 1543391"/>
                    <a:gd name="connsiteX24" fmla="*/ 14829 w 1542756"/>
                    <a:gd name="connsiteY24" fmla="*/ 1009804 h 1543391"/>
                    <a:gd name="connsiteX25" fmla="*/ 84678 w 1542756"/>
                    <a:gd name="connsiteY25" fmla="*/ 1015107 h 1543391"/>
                    <a:gd name="connsiteX26" fmla="*/ 196131 w 1542756"/>
                    <a:gd name="connsiteY26" fmla="*/ 1081546 h 1543391"/>
                    <a:gd name="connsiteX27" fmla="*/ 330541 w 1542756"/>
                    <a:gd name="connsiteY27" fmla="*/ 936966 h 1543391"/>
                    <a:gd name="connsiteX28" fmla="*/ 196131 w 1542756"/>
                    <a:gd name="connsiteY28" fmla="*/ 789331 h 1543391"/>
                    <a:gd name="connsiteX29" fmla="*/ 84678 w 1542756"/>
                    <a:gd name="connsiteY29" fmla="*/ 858826 h 1543391"/>
                    <a:gd name="connsiteX30" fmla="*/ 16002 w 1542756"/>
                    <a:gd name="connsiteY30" fmla="*/ 862694 h 1543391"/>
                    <a:gd name="connsiteX31" fmla="*/ 0 w 1542756"/>
                    <a:gd name="connsiteY31" fmla="*/ 841219 h 1543391"/>
                    <a:gd name="connsiteX32" fmla="*/ 0 w 1542756"/>
                    <a:gd name="connsiteY32" fmla="*/ 330541 h 1543391"/>
                    <a:gd name="connsiteX33" fmla="*/ 510238 w 1542756"/>
                    <a:gd name="connsiteY33" fmla="*/ 330541 h 1543391"/>
                    <a:gd name="connsiteX34" fmla="*/ 530889 w 1542756"/>
                    <a:gd name="connsiteY34" fmla="*/ 315713 h 1543391"/>
                    <a:gd name="connsiteX35" fmla="*/ 519475 w 1542756"/>
                    <a:gd name="connsiteY35" fmla="*/ 245864 h 1543391"/>
                    <a:gd name="connsiteX36" fmla="*/ 453037 w 1542756"/>
                    <a:gd name="connsiteY36" fmla="*/ 134410 h 1543391"/>
                    <a:gd name="connsiteX37" fmla="*/ 603727 w 1542756"/>
                    <a:gd name="connsiteY37"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03727 w 1542756"/>
                    <a:gd name="connsiteY16" fmla="*/ 1213325 h 1543391"/>
                    <a:gd name="connsiteX17" fmla="*/ 457825 w 1542756"/>
                    <a:gd name="connsiteY17" fmla="*/ 1347735 h 1543391"/>
                    <a:gd name="connsiteX18" fmla="*/ 522614 w 1542756"/>
                    <a:gd name="connsiteY18" fmla="*/ 1456051 h 1543391"/>
                    <a:gd name="connsiteX19" fmla="*/ 530889 w 1542756"/>
                    <a:gd name="connsiteY19" fmla="*/ 1529038 h 1543391"/>
                    <a:gd name="connsiteX20" fmla="*/ 510900 w 1542756"/>
                    <a:gd name="connsiteY20" fmla="*/ 1543391 h 1543391"/>
                    <a:gd name="connsiteX21" fmla="*/ 0 w 1542756"/>
                    <a:gd name="connsiteY21" fmla="*/ 1543391 h 1543391"/>
                    <a:gd name="connsiteX22" fmla="*/ 0 w 1542756"/>
                    <a:gd name="connsiteY22" fmla="*/ 1030456 h 1543391"/>
                    <a:gd name="connsiteX23" fmla="*/ 14829 w 1542756"/>
                    <a:gd name="connsiteY23" fmla="*/ 1009804 h 1543391"/>
                    <a:gd name="connsiteX24" fmla="*/ 84678 w 1542756"/>
                    <a:gd name="connsiteY24" fmla="*/ 1015107 h 1543391"/>
                    <a:gd name="connsiteX25" fmla="*/ 196131 w 1542756"/>
                    <a:gd name="connsiteY25" fmla="*/ 1081546 h 1543391"/>
                    <a:gd name="connsiteX26" fmla="*/ 330541 w 1542756"/>
                    <a:gd name="connsiteY26" fmla="*/ 936966 h 1543391"/>
                    <a:gd name="connsiteX27" fmla="*/ 196131 w 1542756"/>
                    <a:gd name="connsiteY27" fmla="*/ 789331 h 1543391"/>
                    <a:gd name="connsiteX28" fmla="*/ 84678 w 1542756"/>
                    <a:gd name="connsiteY28" fmla="*/ 858826 h 1543391"/>
                    <a:gd name="connsiteX29" fmla="*/ 16002 w 1542756"/>
                    <a:gd name="connsiteY29" fmla="*/ 862694 h 1543391"/>
                    <a:gd name="connsiteX30" fmla="*/ 0 w 1542756"/>
                    <a:gd name="connsiteY30" fmla="*/ 841219 h 1543391"/>
                    <a:gd name="connsiteX31" fmla="*/ 0 w 1542756"/>
                    <a:gd name="connsiteY31" fmla="*/ 330541 h 1543391"/>
                    <a:gd name="connsiteX32" fmla="*/ 510238 w 1542756"/>
                    <a:gd name="connsiteY32" fmla="*/ 330541 h 1543391"/>
                    <a:gd name="connsiteX33" fmla="*/ 530889 w 1542756"/>
                    <a:gd name="connsiteY33" fmla="*/ 315713 h 1543391"/>
                    <a:gd name="connsiteX34" fmla="*/ 519475 w 1542756"/>
                    <a:gd name="connsiteY34" fmla="*/ 245864 h 1543391"/>
                    <a:gd name="connsiteX35" fmla="*/ 453037 w 1542756"/>
                    <a:gd name="connsiteY35" fmla="*/ 134410 h 1543391"/>
                    <a:gd name="connsiteX36" fmla="*/ 603727 w 1542756"/>
                    <a:gd name="connsiteY36"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457825 w 1542756"/>
                    <a:gd name="connsiteY16" fmla="*/ 1347735 h 1543391"/>
                    <a:gd name="connsiteX17" fmla="*/ 522614 w 1542756"/>
                    <a:gd name="connsiteY17" fmla="*/ 1456051 h 1543391"/>
                    <a:gd name="connsiteX18" fmla="*/ 530889 w 1542756"/>
                    <a:gd name="connsiteY18" fmla="*/ 1529038 h 1543391"/>
                    <a:gd name="connsiteX19" fmla="*/ 510900 w 1542756"/>
                    <a:gd name="connsiteY19" fmla="*/ 1543391 h 1543391"/>
                    <a:gd name="connsiteX20" fmla="*/ 0 w 1542756"/>
                    <a:gd name="connsiteY20" fmla="*/ 1543391 h 1543391"/>
                    <a:gd name="connsiteX21" fmla="*/ 0 w 1542756"/>
                    <a:gd name="connsiteY21" fmla="*/ 1030456 h 1543391"/>
                    <a:gd name="connsiteX22" fmla="*/ 14829 w 1542756"/>
                    <a:gd name="connsiteY22" fmla="*/ 1009804 h 1543391"/>
                    <a:gd name="connsiteX23" fmla="*/ 84678 w 1542756"/>
                    <a:gd name="connsiteY23" fmla="*/ 1015107 h 1543391"/>
                    <a:gd name="connsiteX24" fmla="*/ 196131 w 1542756"/>
                    <a:gd name="connsiteY24" fmla="*/ 1081546 h 1543391"/>
                    <a:gd name="connsiteX25" fmla="*/ 330541 w 1542756"/>
                    <a:gd name="connsiteY25" fmla="*/ 936966 h 1543391"/>
                    <a:gd name="connsiteX26" fmla="*/ 196131 w 1542756"/>
                    <a:gd name="connsiteY26" fmla="*/ 789331 h 1543391"/>
                    <a:gd name="connsiteX27" fmla="*/ 84678 w 1542756"/>
                    <a:gd name="connsiteY27" fmla="*/ 858826 h 1543391"/>
                    <a:gd name="connsiteX28" fmla="*/ 16002 w 1542756"/>
                    <a:gd name="connsiteY28" fmla="*/ 862694 h 1543391"/>
                    <a:gd name="connsiteX29" fmla="*/ 0 w 1542756"/>
                    <a:gd name="connsiteY29" fmla="*/ 841219 h 1543391"/>
                    <a:gd name="connsiteX30" fmla="*/ 0 w 1542756"/>
                    <a:gd name="connsiteY30" fmla="*/ 330541 h 1543391"/>
                    <a:gd name="connsiteX31" fmla="*/ 510238 w 1542756"/>
                    <a:gd name="connsiteY31" fmla="*/ 330541 h 1543391"/>
                    <a:gd name="connsiteX32" fmla="*/ 530889 w 1542756"/>
                    <a:gd name="connsiteY32" fmla="*/ 315713 h 1543391"/>
                    <a:gd name="connsiteX33" fmla="*/ 519475 w 1542756"/>
                    <a:gd name="connsiteY33" fmla="*/ 245864 h 1543391"/>
                    <a:gd name="connsiteX34" fmla="*/ 453037 w 1542756"/>
                    <a:gd name="connsiteY34" fmla="*/ 134410 h 1543391"/>
                    <a:gd name="connsiteX35" fmla="*/ 603727 w 1542756"/>
                    <a:gd name="connsiteY35"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522614 w 1542756"/>
                    <a:gd name="connsiteY16" fmla="*/ 1456051 h 1543391"/>
                    <a:gd name="connsiteX17" fmla="*/ 530889 w 1542756"/>
                    <a:gd name="connsiteY17" fmla="*/ 1529038 h 1543391"/>
                    <a:gd name="connsiteX18" fmla="*/ 510900 w 1542756"/>
                    <a:gd name="connsiteY18" fmla="*/ 1543391 h 1543391"/>
                    <a:gd name="connsiteX19" fmla="*/ 0 w 1542756"/>
                    <a:gd name="connsiteY19" fmla="*/ 1543391 h 1543391"/>
                    <a:gd name="connsiteX20" fmla="*/ 0 w 1542756"/>
                    <a:gd name="connsiteY20" fmla="*/ 1030456 h 1543391"/>
                    <a:gd name="connsiteX21" fmla="*/ 14829 w 1542756"/>
                    <a:gd name="connsiteY21" fmla="*/ 1009804 h 1543391"/>
                    <a:gd name="connsiteX22" fmla="*/ 84678 w 1542756"/>
                    <a:gd name="connsiteY22" fmla="*/ 1015107 h 1543391"/>
                    <a:gd name="connsiteX23" fmla="*/ 196131 w 1542756"/>
                    <a:gd name="connsiteY23" fmla="*/ 1081546 h 1543391"/>
                    <a:gd name="connsiteX24" fmla="*/ 330541 w 1542756"/>
                    <a:gd name="connsiteY24" fmla="*/ 936966 h 1543391"/>
                    <a:gd name="connsiteX25" fmla="*/ 196131 w 1542756"/>
                    <a:gd name="connsiteY25" fmla="*/ 789331 h 1543391"/>
                    <a:gd name="connsiteX26" fmla="*/ 84678 w 1542756"/>
                    <a:gd name="connsiteY26" fmla="*/ 858826 h 1543391"/>
                    <a:gd name="connsiteX27" fmla="*/ 16002 w 1542756"/>
                    <a:gd name="connsiteY27" fmla="*/ 862694 h 1543391"/>
                    <a:gd name="connsiteX28" fmla="*/ 0 w 1542756"/>
                    <a:gd name="connsiteY28" fmla="*/ 841219 h 1543391"/>
                    <a:gd name="connsiteX29" fmla="*/ 0 w 1542756"/>
                    <a:gd name="connsiteY29" fmla="*/ 330541 h 1543391"/>
                    <a:gd name="connsiteX30" fmla="*/ 510238 w 1542756"/>
                    <a:gd name="connsiteY30" fmla="*/ 330541 h 1543391"/>
                    <a:gd name="connsiteX31" fmla="*/ 530889 w 1542756"/>
                    <a:gd name="connsiteY31" fmla="*/ 315713 h 1543391"/>
                    <a:gd name="connsiteX32" fmla="*/ 519475 w 1542756"/>
                    <a:gd name="connsiteY32" fmla="*/ 245864 h 1543391"/>
                    <a:gd name="connsiteX33" fmla="*/ 453037 w 1542756"/>
                    <a:gd name="connsiteY33" fmla="*/ 134410 h 1543391"/>
                    <a:gd name="connsiteX34" fmla="*/ 603727 w 1542756"/>
                    <a:gd name="connsiteY34"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530889 w 1542756"/>
                    <a:gd name="connsiteY16" fmla="*/ 1529038 h 1543391"/>
                    <a:gd name="connsiteX17" fmla="*/ 510900 w 1542756"/>
                    <a:gd name="connsiteY17" fmla="*/ 1543391 h 1543391"/>
                    <a:gd name="connsiteX18" fmla="*/ 0 w 1542756"/>
                    <a:gd name="connsiteY18" fmla="*/ 1543391 h 1543391"/>
                    <a:gd name="connsiteX19" fmla="*/ 0 w 1542756"/>
                    <a:gd name="connsiteY19" fmla="*/ 1030456 h 1543391"/>
                    <a:gd name="connsiteX20" fmla="*/ 14829 w 1542756"/>
                    <a:gd name="connsiteY20" fmla="*/ 1009804 h 1543391"/>
                    <a:gd name="connsiteX21" fmla="*/ 84678 w 1542756"/>
                    <a:gd name="connsiteY21" fmla="*/ 1015107 h 1543391"/>
                    <a:gd name="connsiteX22" fmla="*/ 196131 w 1542756"/>
                    <a:gd name="connsiteY22" fmla="*/ 1081546 h 1543391"/>
                    <a:gd name="connsiteX23" fmla="*/ 330541 w 1542756"/>
                    <a:gd name="connsiteY23" fmla="*/ 936966 h 1543391"/>
                    <a:gd name="connsiteX24" fmla="*/ 196131 w 1542756"/>
                    <a:gd name="connsiteY24" fmla="*/ 789331 h 1543391"/>
                    <a:gd name="connsiteX25" fmla="*/ 84678 w 1542756"/>
                    <a:gd name="connsiteY25" fmla="*/ 858826 h 1543391"/>
                    <a:gd name="connsiteX26" fmla="*/ 16002 w 1542756"/>
                    <a:gd name="connsiteY26" fmla="*/ 862694 h 1543391"/>
                    <a:gd name="connsiteX27" fmla="*/ 0 w 1542756"/>
                    <a:gd name="connsiteY27" fmla="*/ 841219 h 1543391"/>
                    <a:gd name="connsiteX28" fmla="*/ 0 w 1542756"/>
                    <a:gd name="connsiteY28" fmla="*/ 330541 h 1543391"/>
                    <a:gd name="connsiteX29" fmla="*/ 510238 w 1542756"/>
                    <a:gd name="connsiteY29" fmla="*/ 330541 h 1543391"/>
                    <a:gd name="connsiteX30" fmla="*/ 530889 w 1542756"/>
                    <a:gd name="connsiteY30" fmla="*/ 315713 h 1543391"/>
                    <a:gd name="connsiteX31" fmla="*/ 519475 w 1542756"/>
                    <a:gd name="connsiteY31" fmla="*/ 245864 h 1543391"/>
                    <a:gd name="connsiteX32" fmla="*/ 453037 w 1542756"/>
                    <a:gd name="connsiteY32" fmla="*/ 134410 h 1543391"/>
                    <a:gd name="connsiteX33" fmla="*/ 603727 w 1542756"/>
                    <a:gd name="connsiteY33"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510900 w 1542756"/>
                    <a:gd name="connsiteY16" fmla="*/ 1543391 h 1543391"/>
                    <a:gd name="connsiteX17" fmla="*/ 0 w 1542756"/>
                    <a:gd name="connsiteY17" fmla="*/ 1543391 h 1543391"/>
                    <a:gd name="connsiteX18" fmla="*/ 0 w 1542756"/>
                    <a:gd name="connsiteY18" fmla="*/ 1030456 h 1543391"/>
                    <a:gd name="connsiteX19" fmla="*/ 14829 w 1542756"/>
                    <a:gd name="connsiteY19" fmla="*/ 1009804 h 1543391"/>
                    <a:gd name="connsiteX20" fmla="*/ 84678 w 1542756"/>
                    <a:gd name="connsiteY20" fmla="*/ 1015107 h 1543391"/>
                    <a:gd name="connsiteX21" fmla="*/ 196131 w 1542756"/>
                    <a:gd name="connsiteY21" fmla="*/ 1081546 h 1543391"/>
                    <a:gd name="connsiteX22" fmla="*/ 330541 w 1542756"/>
                    <a:gd name="connsiteY22" fmla="*/ 936966 h 1543391"/>
                    <a:gd name="connsiteX23" fmla="*/ 196131 w 1542756"/>
                    <a:gd name="connsiteY23" fmla="*/ 789331 h 1543391"/>
                    <a:gd name="connsiteX24" fmla="*/ 84678 w 1542756"/>
                    <a:gd name="connsiteY24" fmla="*/ 858826 h 1543391"/>
                    <a:gd name="connsiteX25" fmla="*/ 16002 w 1542756"/>
                    <a:gd name="connsiteY25" fmla="*/ 862694 h 1543391"/>
                    <a:gd name="connsiteX26" fmla="*/ 0 w 1542756"/>
                    <a:gd name="connsiteY26" fmla="*/ 841219 h 1543391"/>
                    <a:gd name="connsiteX27" fmla="*/ 0 w 1542756"/>
                    <a:gd name="connsiteY27" fmla="*/ 330541 h 1543391"/>
                    <a:gd name="connsiteX28" fmla="*/ 510238 w 1542756"/>
                    <a:gd name="connsiteY28" fmla="*/ 330541 h 1543391"/>
                    <a:gd name="connsiteX29" fmla="*/ 530889 w 1542756"/>
                    <a:gd name="connsiteY29" fmla="*/ 315713 h 1543391"/>
                    <a:gd name="connsiteX30" fmla="*/ 519475 w 1542756"/>
                    <a:gd name="connsiteY30" fmla="*/ 245864 h 1543391"/>
                    <a:gd name="connsiteX31" fmla="*/ 453037 w 1542756"/>
                    <a:gd name="connsiteY31" fmla="*/ 134410 h 1543391"/>
                    <a:gd name="connsiteX32" fmla="*/ 603727 w 1542756"/>
                    <a:gd name="connsiteY32"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4678 w 1542756"/>
                    <a:gd name="connsiteY19" fmla="*/ 1015107 h 1543391"/>
                    <a:gd name="connsiteX20" fmla="*/ 196131 w 1542756"/>
                    <a:gd name="connsiteY20" fmla="*/ 1081546 h 1543391"/>
                    <a:gd name="connsiteX21" fmla="*/ 330541 w 1542756"/>
                    <a:gd name="connsiteY21" fmla="*/ 936966 h 1543391"/>
                    <a:gd name="connsiteX22" fmla="*/ 196131 w 1542756"/>
                    <a:gd name="connsiteY22" fmla="*/ 789331 h 1543391"/>
                    <a:gd name="connsiteX23" fmla="*/ 84678 w 1542756"/>
                    <a:gd name="connsiteY23" fmla="*/ 858826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4678 w 1542756"/>
                    <a:gd name="connsiteY19" fmla="*/ 1015107 h 1543391"/>
                    <a:gd name="connsiteX20" fmla="*/ 196131 w 1542756"/>
                    <a:gd name="connsiteY20" fmla="*/ 1081546 h 1543391"/>
                    <a:gd name="connsiteX21" fmla="*/ 330541 w 1542756"/>
                    <a:gd name="connsiteY21" fmla="*/ 936966 h 1543391"/>
                    <a:gd name="connsiteX22" fmla="*/ 199589 w 1542756"/>
                    <a:gd name="connsiteY22" fmla="*/ 796246 h 1543391"/>
                    <a:gd name="connsiteX23" fmla="*/ 84678 w 1542756"/>
                    <a:gd name="connsiteY23" fmla="*/ 858826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4678 w 1542756"/>
                    <a:gd name="connsiteY19" fmla="*/ 1015107 h 1543391"/>
                    <a:gd name="connsiteX20" fmla="*/ 196131 w 1542756"/>
                    <a:gd name="connsiteY20" fmla="*/ 1081546 h 1543391"/>
                    <a:gd name="connsiteX21" fmla="*/ 330541 w 1542756"/>
                    <a:gd name="connsiteY21" fmla="*/ 936966 h 1543391"/>
                    <a:gd name="connsiteX22" fmla="*/ 199589 w 1542756"/>
                    <a:gd name="connsiteY22" fmla="*/ 796246 h 1543391"/>
                    <a:gd name="connsiteX23" fmla="*/ 84678 w 1542756"/>
                    <a:gd name="connsiteY23" fmla="*/ 858826 h 1543391"/>
                    <a:gd name="connsiteX24" fmla="*/ 16003 w 1542756"/>
                    <a:gd name="connsiteY24" fmla="*/ 869609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61952" y="786276"/>
                        <a:pt x="1408346" y="786276"/>
                      </a:cubicBezTo>
                      <a:cubicBezTo>
                        <a:pt x="1482579" y="789331"/>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0" y="1543391"/>
                      </a:lnTo>
                      <a:lnTo>
                        <a:pt x="0" y="1030456"/>
                      </a:lnTo>
                      <a:lnTo>
                        <a:pt x="14829" y="1009804"/>
                      </a:lnTo>
                      <a:cubicBezTo>
                        <a:pt x="35799" y="993403"/>
                        <a:pt x="62624" y="997402"/>
                        <a:pt x="84678" y="1015107"/>
                      </a:cubicBezTo>
                      <a:cubicBezTo>
                        <a:pt x="108831" y="1055191"/>
                        <a:pt x="152098" y="1082346"/>
                        <a:pt x="196131" y="1081546"/>
                      </a:cubicBezTo>
                      <a:cubicBezTo>
                        <a:pt x="264609" y="1074635"/>
                        <a:pt x="330543" y="1017245"/>
                        <a:pt x="330541" y="936966"/>
                      </a:cubicBezTo>
                      <a:cubicBezTo>
                        <a:pt x="330541" y="887245"/>
                        <a:pt x="286045" y="787079"/>
                        <a:pt x="199589" y="796246"/>
                      </a:cubicBezTo>
                      <a:cubicBezTo>
                        <a:pt x="153195" y="799301"/>
                        <a:pt x="114943" y="821798"/>
                        <a:pt x="84678" y="858826"/>
                      </a:cubicBezTo>
                      <a:cubicBezTo>
                        <a:pt x="63967" y="873876"/>
                        <a:pt x="36913" y="884973"/>
                        <a:pt x="16003" y="869609"/>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7F7F7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nvGrpSpPr>
                <p:cNvPr id="52" name="Group 51"/>
                <p:cNvGrpSpPr/>
                <p:nvPr/>
              </p:nvGrpSpPr>
              <p:grpSpPr>
                <a:xfrm>
                  <a:off x="2459188" y="5208190"/>
                  <a:ext cx="270211" cy="226404"/>
                  <a:chOff x="1915886" y="1973943"/>
                  <a:chExt cx="3396346" cy="2845768"/>
                </a:xfrm>
                <a:solidFill>
                  <a:srgbClr val="FFFFFF"/>
                </a:solidFill>
              </p:grpSpPr>
              <p:sp>
                <p:nvSpPr>
                  <p:cNvPr id="53" name="Rounded Rectangle 52"/>
                  <p:cNvSpPr/>
                  <p:nvPr/>
                </p:nvSpPr>
                <p:spPr>
                  <a:xfrm>
                    <a:off x="1915886" y="4340744"/>
                    <a:ext cx="3396346" cy="478967"/>
                  </a:xfrm>
                  <a:prstGeom prst="roundRect">
                    <a:avLst>
                      <a:gd name="adj" fmla="val 7576"/>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4" name="Rounded Rectangle 53"/>
                  <p:cNvSpPr/>
                  <p:nvPr/>
                </p:nvSpPr>
                <p:spPr>
                  <a:xfrm>
                    <a:off x="4223656" y="1973943"/>
                    <a:ext cx="435432" cy="2220683"/>
                  </a:xfrm>
                  <a:prstGeom prst="round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5" name="Rounded Rectangle 54"/>
                  <p:cNvSpPr/>
                  <p:nvPr/>
                </p:nvSpPr>
                <p:spPr>
                  <a:xfrm>
                    <a:off x="3614059" y="3265716"/>
                    <a:ext cx="435432" cy="928918"/>
                  </a:xfrm>
                  <a:prstGeom prst="round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6" name="Rounded Rectangle 55"/>
                  <p:cNvSpPr/>
                  <p:nvPr/>
                </p:nvSpPr>
                <p:spPr>
                  <a:xfrm>
                    <a:off x="2960915" y="2583544"/>
                    <a:ext cx="478971" cy="1611090"/>
                  </a:xfrm>
                  <a:prstGeom prst="round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7" name="Rounded Rectangle 56"/>
                  <p:cNvSpPr/>
                  <p:nvPr/>
                </p:nvSpPr>
                <p:spPr>
                  <a:xfrm>
                    <a:off x="2351318" y="3396343"/>
                    <a:ext cx="435432" cy="798283"/>
                  </a:xfrm>
                  <a:prstGeom prst="round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grpSp>
            <p:nvGrpSpPr>
              <p:cNvPr id="48" name="Group 47"/>
              <p:cNvGrpSpPr/>
              <p:nvPr/>
            </p:nvGrpSpPr>
            <p:grpSpPr>
              <a:xfrm>
                <a:off x="1499257" y="5140630"/>
                <a:ext cx="783450" cy="1256896"/>
                <a:chOff x="434067" y="3264588"/>
                <a:chExt cx="1634870" cy="2622840"/>
              </a:xfrm>
              <a:solidFill>
                <a:srgbClr val="404040"/>
              </a:solidFill>
            </p:grpSpPr>
            <p:sp>
              <p:nvSpPr>
                <p:cNvPr id="49" name="Oval 48"/>
                <p:cNvSpPr/>
                <p:nvPr/>
              </p:nvSpPr>
              <p:spPr>
                <a:xfrm>
                  <a:off x="930673" y="3264588"/>
                  <a:ext cx="585216" cy="582825"/>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0" name="Rectangle 3"/>
                <p:cNvSpPr/>
                <p:nvPr/>
              </p:nvSpPr>
              <p:spPr>
                <a:xfrm>
                  <a:off x="434067" y="3888107"/>
                  <a:ext cx="1634870" cy="1999321"/>
                </a:xfrm>
                <a:custGeom>
                  <a:avLst/>
                  <a:gdLst>
                    <a:gd name="connsiteX0" fmla="*/ 0 w 224790"/>
                    <a:gd name="connsiteY0" fmla="*/ 0 h 457200"/>
                    <a:gd name="connsiteX1" fmla="*/ 224790 w 224790"/>
                    <a:gd name="connsiteY1" fmla="*/ 0 h 457200"/>
                    <a:gd name="connsiteX2" fmla="*/ 224790 w 224790"/>
                    <a:gd name="connsiteY2" fmla="*/ 457200 h 457200"/>
                    <a:gd name="connsiteX3" fmla="*/ 0 w 224790"/>
                    <a:gd name="connsiteY3" fmla="*/ 457200 h 457200"/>
                    <a:gd name="connsiteX4" fmla="*/ 0 w 224790"/>
                    <a:gd name="connsiteY4" fmla="*/ 0 h 457200"/>
                    <a:gd name="connsiteX0" fmla="*/ 0 w 224790"/>
                    <a:gd name="connsiteY0" fmla="*/ 0 h 457200"/>
                    <a:gd name="connsiteX1" fmla="*/ 150495 w 224790"/>
                    <a:gd name="connsiteY1" fmla="*/ 26670 h 457200"/>
                    <a:gd name="connsiteX2" fmla="*/ 224790 w 224790"/>
                    <a:gd name="connsiteY2" fmla="*/ 457200 h 457200"/>
                    <a:gd name="connsiteX3" fmla="*/ 0 w 224790"/>
                    <a:gd name="connsiteY3" fmla="*/ 457200 h 457200"/>
                    <a:gd name="connsiteX4" fmla="*/ 0 w 224790"/>
                    <a:gd name="connsiteY4" fmla="*/ 0 h 457200"/>
                    <a:gd name="connsiteX0" fmla="*/ 0 w 224790"/>
                    <a:gd name="connsiteY0" fmla="*/ 0 h 457200"/>
                    <a:gd name="connsiteX1" fmla="*/ 150495 w 224790"/>
                    <a:gd name="connsiteY1" fmla="*/ 26670 h 457200"/>
                    <a:gd name="connsiteX2" fmla="*/ 150495 w 224790"/>
                    <a:gd name="connsiteY2" fmla="*/ 30480 h 457200"/>
                    <a:gd name="connsiteX3" fmla="*/ 224790 w 224790"/>
                    <a:gd name="connsiteY3" fmla="*/ 457200 h 457200"/>
                    <a:gd name="connsiteX4" fmla="*/ 0 w 224790"/>
                    <a:gd name="connsiteY4" fmla="*/ 457200 h 457200"/>
                    <a:gd name="connsiteX5" fmla="*/ 0 w 224790"/>
                    <a:gd name="connsiteY5" fmla="*/ 0 h 457200"/>
                    <a:gd name="connsiteX0" fmla="*/ 0 w 224790"/>
                    <a:gd name="connsiteY0" fmla="*/ 0 h 457200"/>
                    <a:gd name="connsiteX1" fmla="*/ 150495 w 224790"/>
                    <a:gd name="connsiteY1" fmla="*/ 26670 h 457200"/>
                    <a:gd name="connsiteX2" fmla="*/ 182880 w 224790"/>
                    <a:gd name="connsiteY2" fmla="*/ 89535 h 457200"/>
                    <a:gd name="connsiteX3" fmla="*/ 224790 w 224790"/>
                    <a:gd name="connsiteY3" fmla="*/ 457200 h 457200"/>
                    <a:gd name="connsiteX4" fmla="*/ 0 w 224790"/>
                    <a:gd name="connsiteY4" fmla="*/ 457200 h 457200"/>
                    <a:gd name="connsiteX5" fmla="*/ 0 w 224790"/>
                    <a:gd name="connsiteY5" fmla="*/ 0 h 457200"/>
                    <a:gd name="connsiteX0" fmla="*/ 0 w 224790"/>
                    <a:gd name="connsiteY0" fmla="*/ 0 h 457200"/>
                    <a:gd name="connsiteX1" fmla="*/ 150495 w 224790"/>
                    <a:gd name="connsiteY1" fmla="*/ 26670 h 457200"/>
                    <a:gd name="connsiteX2" fmla="*/ 182880 w 224790"/>
                    <a:gd name="connsiteY2" fmla="*/ 89535 h 457200"/>
                    <a:gd name="connsiteX3" fmla="*/ 224790 w 224790"/>
                    <a:gd name="connsiteY3" fmla="*/ 457200 h 457200"/>
                    <a:gd name="connsiteX4" fmla="*/ 0 w 224790"/>
                    <a:gd name="connsiteY4" fmla="*/ 457200 h 457200"/>
                    <a:gd name="connsiteX5" fmla="*/ 0 w 224790"/>
                    <a:gd name="connsiteY5" fmla="*/ 0 h 457200"/>
                    <a:gd name="connsiteX0" fmla="*/ 0 w 224790"/>
                    <a:gd name="connsiteY0" fmla="*/ 0 h 457200"/>
                    <a:gd name="connsiteX1" fmla="*/ 150495 w 224790"/>
                    <a:gd name="connsiteY1" fmla="*/ 26670 h 457200"/>
                    <a:gd name="connsiteX2" fmla="*/ 182880 w 224790"/>
                    <a:gd name="connsiteY2" fmla="*/ 89535 h 457200"/>
                    <a:gd name="connsiteX3" fmla="*/ 224790 w 224790"/>
                    <a:gd name="connsiteY3" fmla="*/ 457200 h 457200"/>
                    <a:gd name="connsiteX4" fmla="*/ 0 w 224790"/>
                    <a:gd name="connsiteY4" fmla="*/ 457200 h 457200"/>
                    <a:gd name="connsiteX5" fmla="*/ 0 w 224790"/>
                    <a:gd name="connsiteY5" fmla="*/ 0 h 457200"/>
                    <a:gd name="connsiteX0" fmla="*/ 0 w 224790"/>
                    <a:gd name="connsiteY0" fmla="*/ 0 h 457200"/>
                    <a:gd name="connsiteX1" fmla="*/ 150495 w 224790"/>
                    <a:gd name="connsiteY1" fmla="*/ 26670 h 457200"/>
                    <a:gd name="connsiteX2" fmla="*/ 179070 w 224790"/>
                    <a:gd name="connsiteY2" fmla="*/ 95250 h 457200"/>
                    <a:gd name="connsiteX3" fmla="*/ 224790 w 224790"/>
                    <a:gd name="connsiteY3" fmla="*/ 457200 h 457200"/>
                    <a:gd name="connsiteX4" fmla="*/ 0 w 224790"/>
                    <a:gd name="connsiteY4" fmla="*/ 457200 h 457200"/>
                    <a:gd name="connsiteX5" fmla="*/ 0 w 224790"/>
                    <a:gd name="connsiteY5" fmla="*/ 0 h 457200"/>
                    <a:gd name="connsiteX0" fmla="*/ 0 w 378841"/>
                    <a:gd name="connsiteY0" fmla="*/ 0 h 457200"/>
                    <a:gd name="connsiteX1" fmla="*/ 375285 w 378841"/>
                    <a:gd name="connsiteY1" fmla="*/ 83820 h 457200"/>
                    <a:gd name="connsiteX2" fmla="*/ 179070 w 378841"/>
                    <a:gd name="connsiteY2" fmla="*/ 95250 h 457200"/>
                    <a:gd name="connsiteX3" fmla="*/ 224790 w 378841"/>
                    <a:gd name="connsiteY3" fmla="*/ 457200 h 457200"/>
                    <a:gd name="connsiteX4" fmla="*/ 0 w 378841"/>
                    <a:gd name="connsiteY4" fmla="*/ 457200 h 457200"/>
                    <a:gd name="connsiteX5" fmla="*/ 0 w 378841"/>
                    <a:gd name="connsiteY5" fmla="*/ 0 h 457200"/>
                    <a:gd name="connsiteX0" fmla="*/ 0 w 423138"/>
                    <a:gd name="connsiteY0" fmla="*/ 0 h 457200"/>
                    <a:gd name="connsiteX1" fmla="*/ 375285 w 423138"/>
                    <a:gd name="connsiteY1" fmla="*/ 83820 h 457200"/>
                    <a:gd name="connsiteX2" fmla="*/ 419100 w 423138"/>
                    <a:gd name="connsiteY2" fmla="*/ 230505 h 457200"/>
                    <a:gd name="connsiteX3" fmla="*/ 224790 w 423138"/>
                    <a:gd name="connsiteY3" fmla="*/ 457200 h 457200"/>
                    <a:gd name="connsiteX4" fmla="*/ 0 w 423138"/>
                    <a:gd name="connsiteY4" fmla="*/ 457200 h 457200"/>
                    <a:gd name="connsiteX5" fmla="*/ 0 w 423138"/>
                    <a:gd name="connsiteY5" fmla="*/ 0 h 457200"/>
                    <a:gd name="connsiteX0" fmla="*/ 0 w 433336"/>
                    <a:gd name="connsiteY0" fmla="*/ 0 h 457200"/>
                    <a:gd name="connsiteX1" fmla="*/ 375285 w 433336"/>
                    <a:gd name="connsiteY1" fmla="*/ 83820 h 457200"/>
                    <a:gd name="connsiteX2" fmla="*/ 419100 w 433336"/>
                    <a:gd name="connsiteY2" fmla="*/ 230505 h 457200"/>
                    <a:gd name="connsiteX3" fmla="*/ 224790 w 433336"/>
                    <a:gd name="connsiteY3" fmla="*/ 457200 h 457200"/>
                    <a:gd name="connsiteX4" fmla="*/ 0 w 433336"/>
                    <a:gd name="connsiteY4" fmla="*/ 457200 h 457200"/>
                    <a:gd name="connsiteX5" fmla="*/ 0 w 433336"/>
                    <a:gd name="connsiteY5" fmla="*/ 0 h 457200"/>
                    <a:gd name="connsiteX0" fmla="*/ 0 w 433336"/>
                    <a:gd name="connsiteY0" fmla="*/ 0 h 457200"/>
                    <a:gd name="connsiteX1" fmla="*/ 5079 w 433336"/>
                    <a:gd name="connsiteY1" fmla="*/ 0 h 457200"/>
                    <a:gd name="connsiteX2" fmla="*/ 375285 w 433336"/>
                    <a:gd name="connsiteY2" fmla="*/ 83820 h 457200"/>
                    <a:gd name="connsiteX3" fmla="*/ 419100 w 433336"/>
                    <a:gd name="connsiteY3" fmla="*/ 230505 h 457200"/>
                    <a:gd name="connsiteX4" fmla="*/ 224790 w 433336"/>
                    <a:gd name="connsiteY4" fmla="*/ 457200 h 457200"/>
                    <a:gd name="connsiteX5" fmla="*/ 0 w 433336"/>
                    <a:gd name="connsiteY5" fmla="*/ 457200 h 457200"/>
                    <a:gd name="connsiteX6" fmla="*/ 0 w 433336"/>
                    <a:gd name="connsiteY6" fmla="*/ 0 h 457200"/>
                    <a:gd name="connsiteX0" fmla="*/ 0 w 526681"/>
                    <a:gd name="connsiteY0" fmla="*/ 97155 h 457200"/>
                    <a:gd name="connsiteX1" fmla="*/ 98424 w 526681"/>
                    <a:gd name="connsiteY1" fmla="*/ 0 h 457200"/>
                    <a:gd name="connsiteX2" fmla="*/ 468630 w 526681"/>
                    <a:gd name="connsiteY2" fmla="*/ 83820 h 457200"/>
                    <a:gd name="connsiteX3" fmla="*/ 512445 w 526681"/>
                    <a:gd name="connsiteY3" fmla="*/ 230505 h 457200"/>
                    <a:gd name="connsiteX4" fmla="*/ 318135 w 526681"/>
                    <a:gd name="connsiteY4" fmla="*/ 457200 h 457200"/>
                    <a:gd name="connsiteX5" fmla="*/ 93345 w 526681"/>
                    <a:gd name="connsiteY5" fmla="*/ 457200 h 457200"/>
                    <a:gd name="connsiteX6" fmla="*/ 0 w 526681"/>
                    <a:gd name="connsiteY6" fmla="*/ 97155 h 457200"/>
                    <a:gd name="connsiteX0" fmla="*/ 0 w 526681"/>
                    <a:gd name="connsiteY0" fmla="*/ 97155 h 457200"/>
                    <a:gd name="connsiteX1" fmla="*/ 98424 w 526681"/>
                    <a:gd name="connsiteY1" fmla="*/ 0 h 457200"/>
                    <a:gd name="connsiteX2" fmla="*/ 468630 w 526681"/>
                    <a:gd name="connsiteY2" fmla="*/ 83820 h 457200"/>
                    <a:gd name="connsiteX3" fmla="*/ 512445 w 526681"/>
                    <a:gd name="connsiteY3" fmla="*/ 230505 h 457200"/>
                    <a:gd name="connsiteX4" fmla="*/ 318135 w 526681"/>
                    <a:gd name="connsiteY4" fmla="*/ 457200 h 457200"/>
                    <a:gd name="connsiteX5" fmla="*/ 93345 w 526681"/>
                    <a:gd name="connsiteY5" fmla="*/ 457200 h 457200"/>
                    <a:gd name="connsiteX6" fmla="*/ 0 w 526681"/>
                    <a:gd name="connsiteY6" fmla="*/ 97155 h 457200"/>
                    <a:gd name="connsiteX0" fmla="*/ 0 w 526681"/>
                    <a:gd name="connsiteY0" fmla="*/ 97155 h 457200"/>
                    <a:gd name="connsiteX1" fmla="*/ 98424 w 526681"/>
                    <a:gd name="connsiteY1" fmla="*/ 0 h 457200"/>
                    <a:gd name="connsiteX2" fmla="*/ 468630 w 526681"/>
                    <a:gd name="connsiteY2" fmla="*/ 83820 h 457200"/>
                    <a:gd name="connsiteX3" fmla="*/ 512445 w 526681"/>
                    <a:gd name="connsiteY3" fmla="*/ 230505 h 457200"/>
                    <a:gd name="connsiteX4" fmla="*/ 318135 w 526681"/>
                    <a:gd name="connsiteY4" fmla="*/ 457200 h 457200"/>
                    <a:gd name="connsiteX5" fmla="*/ 93345 w 526681"/>
                    <a:gd name="connsiteY5" fmla="*/ 457200 h 457200"/>
                    <a:gd name="connsiteX6" fmla="*/ 0 w 526681"/>
                    <a:gd name="connsiteY6" fmla="*/ 97155 h 457200"/>
                    <a:gd name="connsiteX0" fmla="*/ 154305 w 680986"/>
                    <a:gd name="connsiteY0" fmla="*/ 97155 h 763905"/>
                    <a:gd name="connsiteX1" fmla="*/ 252729 w 680986"/>
                    <a:gd name="connsiteY1" fmla="*/ 0 h 763905"/>
                    <a:gd name="connsiteX2" fmla="*/ 622935 w 680986"/>
                    <a:gd name="connsiteY2" fmla="*/ 83820 h 763905"/>
                    <a:gd name="connsiteX3" fmla="*/ 666750 w 680986"/>
                    <a:gd name="connsiteY3" fmla="*/ 230505 h 763905"/>
                    <a:gd name="connsiteX4" fmla="*/ 472440 w 680986"/>
                    <a:gd name="connsiteY4" fmla="*/ 457200 h 763905"/>
                    <a:gd name="connsiteX5" fmla="*/ 0 w 680986"/>
                    <a:gd name="connsiteY5" fmla="*/ 763905 h 763905"/>
                    <a:gd name="connsiteX6" fmla="*/ 154305 w 680986"/>
                    <a:gd name="connsiteY6" fmla="*/ 97155 h 763905"/>
                    <a:gd name="connsiteX0" fmla="*/ 154305 w 680986"/>
                    <a:gd name="connsiteY0" fmla="*/ 97155 h 763905"/>
                    <a:gd name="connsiteX1" fmla="*/ 252729 w 680986"/>
                    <a:gd name="connsiteY1" fmla="*/ 0 h 763905"/>
                    <a:gd name="connsiteX2" fmla="*/ 622935 w 680986"/>
                    <a:gd name="connsiteY2" fmla="*/ 83820 h 763905"/>
                    <a:gd name="connsiteX3" fmla="*/ 666750 w 680986"/>
                    <a:gd name="connsiteY3" fmla="*/ 230505 h 763905"/>
                    <a:gd name="connsiteX4" fmla="*/ 662305 w 680986"/>
                    <a:gd name="connsiteY4" fmla="*/ 232410 h 763905"/>
                    <a:gd name="connsiteX5" fmla="*/ 472440 w 680986"/>
                    <a:gd name="connsiteY5" fmla="*/ 457200 h 763905"/>
                    <a:gd name="connsiteX6" fmla="*/ 0 w 680986"/>
                    <a:gd name="connsiteY6" fmla="*/ 763905 h 763905"/>
                    <a:gd name="connsiteX7" fmla="*/ 154305 w 680986"/>
                    <a:gd name="connsiteY7" fmla="*/ 97155 h 763905"/>
                    <a:gd name="connsiteX0" fmla="*/ 154305 w 923290"/>
                    <a:gd name="connsiteY0" fmla="*/ 97155 h 763905"/>
                    <a:gd name="connsiteX1" fmla="*/ 252729 w 923290"/>
                    <a:gd name="connsiteY1" fmla="*/ 0 h 763905"/>
                    <a:gd name="connsiteX2" fmla="*/ 622935 w 923290"/>
                    <a:gd name="connsiteY2" fmla="*/ 83820 h 763905"/>
                    <a:gd name="connsiteX3" fmla="*/ 666750 w 923290"/>
                    <a:gd name="connsiteY3" fmla="*/ 230505 h 763905"/>
                    <a:gd name="connsiteX4" fmla="*/ 923290 w 923290"/>
                    <a:gd name="connsiteY4" fmla="*/ 527685 h 763905"/>
                    <a:gd name="connsiteX5" fmla="*/ 472440 w 923290"/>
                    <a:gd name="connsiteY5" fmla="*/ 457200 h 763905"/>
                    <a:gd name="connsiteX6" fmla="*/ 0 w 923290"/>
                    <a:gd name="connsiteY6" fmla="*/ 763905 h 763905"/>
                    <a:gd name="connsiteX7" fmla="*/ 154305 w 923290"/>
                    <a:gd name="connsiteY7" fmla="*/ 97155 h 763905"/>
                    <a:gd name="connsiteX0" fmla="*/ 154305 w 923290"/>
                    <a:gd name="connsiteY0" fmla="*/ 97155 h 763905"/>
                    <a:gd name="connsiteX1" fmla="*/ 252729 w 923290"/>
                    <a:gd name="connsiteY1" fmla="*/ 0 h 763905"/>
                    <a:gd name="connsiteX2" fmla="*/ 622935 w 923290"/>
                    <a:gd name="connsiteY2" fmla="*/ 83820 h 763905"/>
                    <a:gd name="connsiteX3" fmla="*/ 666750 w 923290"/>
                    <a:gd name="connsiteY3" fmla="*/ 230505 h 763905"/>
                    <a:gd name="connsiteX4" fmla="*/ 923290 w 923290"/>
                    <a:gd name="connsiteY4" fmla="*/ 527685 h 763905"/>
                    <a:gd name="connsiteX5" fmla="*/ 923290 w 923290"/>
                    <a:gd name="connsiteY5" fmla="*/ 527685 h 763905"/>
                    <a:gd name="connsiteX6" fmla="*/ 472440 w 923290"/>
                    <a:gd name="connsiteY6" fmla="*/ 457200 h 763905"/>
                    <a:gd name="connsiteX7" fmla="*/ 0 w 923290"/>
                    <a:gd name="connsiteY7" fmla="*/ 763905 h 763905"/>
                    <a:gd name="connsiteX8" fmla="*/ 154305 w 923290"/>
                    <a:gd name="connsiteY8" fmla="*/ 97155 h 763905"/>
                    <a:gd name="connsiteX0" fmla="*/ 154305 w 1290955"/>
                    <a:gd name="connsiteY0" fmla="*/ 97155 h 763905"/>
                    <a:gd name="connsiteX1" fmla="*/ 252729 w 1290955"/>
                    <a:gd name="connsiteY1" fmla="*/ 0 h 763905"/>
                    <a:gd name="connsiteX2" fmla="*/ 622935 w 1290955"/>
                    <a:gd name="connsiteY2" fmla="*/ 83820 h 763905"/>
                    <a:gd name="connsiteX3" fmla="*/ 666750 w 1290955"/>
                    <a:gd name="connsiteY3" fmla="*/ 230505 h 763905"/>
                    <a:gd name="connsiteX4" fmla="*/ 923290 w 1290955"/>
                    <a:gd name="connsiteY4" fmla="*/ 527685 h 763905"/>
                    <a:gd name="connsiteX5" fmla="*/ 1290955 w 1290955"/>
                    <a:gd name="connsiteY5" fmla="*/ 634365 h 763905"/>
                    <a:gd name="connsiteX6" fmla="*/ 472440 w 1290955"/>
                    <a:gd name="connsiteY6" fmla="*/ 457200 h 763905"/>
                    <a:gd name="connsiteX7" fmla="*/ 0 w 1290955"/>
                    <a:gd name="connsiteY7" fmla="*/ 763905 h 763905"/>
                    <a:gd name="connsiteX8" fmla="*/ 154305 w 1290955"/>
                    <a:gd name="connsiteY8" fmla="*/ 97155 h 763905"/>
                    <a:gd name="connsiteX0" fmla="*/ 154305 w 1290955"/>
                    <a:gd name="connsiteY0" fmla="*/ 97155 h 763905"/>
                    <a:gd name="connsiteX1" fmla="*/ 252729 w 1290955"/>
                    <a:gd name="connsiteY1" fmla="*/ 0 h 763905"/>
                    <a:gd name="connsiteX2" fmla="*/ 622935 w 1290955"/>
                    <a:gd name="connsiteY2" fmla="*/ 83820 h 763905"/>
                    <a:gd name="connsiteX3" fmla="*/ 666750 w 1290955"/>
                    <a:gd name="connsiteY3" fmla="*/ 230505 h 763905"/>
                    <a:gd name="connsiteX4" fmla="*/ 923290 w 1290955"/>
                    <a:gd name="connsiteY4" fmla="*/ 527685 h 763905"/>
                    <a:gd name="connsiteX5" fmla="*/ 1290955 w 1290955"/>
                    <a:gd name="connsiteY5" fmla="*/ 634365 h 763905"/>
                    <a:gd name="connsiteX6" fmla="*/ 472440 w 1290955"/>
                    <a:gd name="connsiteY6" fmla="*/ 457200 h 763905"/>
                    <a:gd name="connsiteX7" fmla="*/ 0 w 1290955"/>
                    <a:gd name="connsiteY7" fmla="*/ 763905 h 763905"/>
                    <a:gd name="connsiteX8" fmla="*/ 154305 w 1290955"/>
                    <a:gd name="connsiteY8" fmla="*/ 97155 h 763905"/>
                    <a:gd name="connsiteX0" fmla="*/ 154305 w 1290955"/>
                    <a:gd name="connsiteY0" fmla="*/ 97155 h 763905"/>
                    <a:gd name="connsiteX1" fmla="*/ 252729 w 1290955"/>
                    <a:gd name="connsiteY1" fmla="*/ 0 h 763905"/>
                    <a:gd name="connsiteX2" fmla="*/ 622935 w 1290955"/>
                    <a:gd name="connsiteY2" fmla="*/ 83820 h 763905"/>
                    <a:gd name="connsiteX3" fmla="*/ 666750 w 1290955"/>
                    <a:gd name="connsiteY3" fmla="*/ 230505 h 763905"/>
                    <a:gd name="connsiteX4" fmla="*/ 923290 w 1290955"/>
                    <a:gd name="connsiteY4" fmla="*/ 527685 h 763905"/>
                    <a:gd name="connsiteX5" fmla="*/ 1290955 w 1290955"/>
                    <a:gd name="connsiteY5" fmla="*/ 634365 h 763905"/>
                    <a:gd name="connsiteX6" fmla="*/ 1290955 w 1290955"/>
                    <a:gd name="connsiteY6" fmla="*/ 626745 h 763905"/>
                    <a:gd name="connsiteX7" fmla="*/ 472440 w 1290955"/>
                    <a:gd name="connsiteY7" fmla="*/ 457200 h 763905"/>
                    <a:gd name="connsiteX8" fmla="*/ 0 w 1290955"/>
                    <a:gd name="connsiteY8" fmla="*/ 763905 h 763905"/>
                    <a:gd name="connsiteX9" fmla="*/ 154305 w 1290955"/>
                    <a:gd name="connsiteY9" fmla="*/ 97155 h 763905"/>
                    <a:gd name="connsiteX0" fmla="*/ 154305 w 1290955"/>
                    <a:gd name="connsiteY0" fmla="*/ 97155 h 843915"/>
                    <a:gd name="connsiteX1" fmla="*/ 252729 w 1290955"/>
                    <a:gd name="connsiteY1" fmla="*/ 0 h 843915"/>
                    <a:gd name="connsiteX2" fmla="*/ 622935 w 1290955"/>
                    <a:gd name="connsiteY2" fmla="*/ 83820 h 843915"/>
                    <a:gd name="connsiteX3" fmla="*/ 666750 w 1290955"/>
                    <a:gd name="connsiteY3" fmla="*/ 230505 h 843915"/>
                    <a:gd name="connsiteX4" fmla="*/ 923290 w 1290955"/>
                    <a:gd name="connsiteY4" fmla="*/ 527685 h 843915"/>
                    <a:gd name="connsiteX5" fmla="*/ 1290955 w 1290955"/>
                    <a:gd name="connsiteY5" fmla="*/ 634365 h 843915"/>
                    <a:gd name="connsiteX6" fmla="*/ 1138555 w 1290955"/>
                    <a:gd name="connsiteY6" fmla="*/ 843915 h 843915"/>
                    <a:gd name="connsiteX7" fmla="*/ 472440 w 1290955"/>
                    <a:gd name="connsiteY7" fmla="*/ 457200 h 843915"/>
                    <a:gd name="connsiteX8" fmla="*/ 0 w 1290955"/>
                    <a:gd name="connsiteY8" fmla="*/ 763905 h 843915"/>
                    <a:gd name="connsiteX9" fmla="*/ 154305 w 1290955"/>
                    <a:gd name="connsiteY9" fmla="*/ 97155 h 843915"/>
                    <a:gd name="connsiteX0" fmla="*/ 154305 w 1319735"/>
                    <a:gd name="connsiteY0" fmla="*/ 97155 h 843915"/>
                    <a:gd name="connsiteX1" fmla="*/ 252729 w 1319735"/>
                    <a:gd name="connsiteY1" fmla="*/ 0 h 843915"/>
                    <a:gd name="connsiteX2" fmla="*/ 622935 w 1319735"/>
                    <a:gd name="connsiteY2" fmla="*/ 83820 h 843915"/>
                    <a:gd name="connsiteX3" fmla="*/ 666750 w 1319735"/>
                    <a:gd name="connsiteY3" fmla="*/ 230505 h 843915"/>
                    <a:gd name="connsiteX4" fmla="*/ 923290 w 1319735"/>
                    <a:gd name="connsiteY4" fmla="*/ 527685 h 843915"/>
                    <a:gd name="connsiteX5" fmla="*/ 1290955 w 1319735"/>
                    <a:gd name="connsiteY5" fmla="*/ 634365 h 843915"/>
                    <a:gd name="connsiteX6" fmla="*/ 1138555 w 1319735"/>
                    <a:gd name="connsiteY6" fmla="*/ 843915 h 843915"/>
                    <a:gd name="connsiteX7" fmla="*/ 472440 w 1319735"/>
                    <a:gd name="connsiteY7" fmla="*/ 457200 h 843915"/>
                    <a:gd name="connsiteX8" fmla="*/ 0 w 1319735"/>
                    <a:gd name="connsiteY8" fmla="*/ 763905 h 843915"/>
                    <a:gd name="connsiteX9" fmla="*/ 154305 w 1319735"/>
                    <a:gd name="connsiteY9" fmla="*/ 97155 h 843915"/>
                    <a:gd name="connsiteX0" fmla="*/ 154305 w 1345660"/>
                    <a:gd name="connsiteY0" fmla="*/ 97155 h 858175"/>
                    <a:gd name="connsiteX1" fmla="*/ 252729 w 1345660"/>
                    <a:gd name="connsiteY1" fmla="*/ 0 h 858175"/>
                    <a:gd name="connsiteX2" fmla="*/ 622935 w 1345660"/>
                    <a:gd name="connsiteY2" fmla="*/ 83820 h 858175"/>
                    <a:gd name="connsiteX3" fmla="*/ 666750 w 1345660"/>
                    <a:gd name="connsiteY3" fmla="*/ 230505 h 858175"/>
                    <a:gd name="connsiteX4" fmla="*/ 923290 w 1345660"/>
                    <a:gd name="connsiteY4" fmla="*/ 527685 h 858175"/>
                    <a:gd name="connsiteX5" fmla="*/ 1290955 w 1345660"/>
                    <a:gd name="connsiteY5" fmla="*/ 634365 h 858175"/>
                    <a:gd name="connsiteX6" fmla="*/ 1138555 w 1345660"/>
                    <a:gd name="connsiteY6" fmla="*/ 843915 h 858175"/>
                    <a:gd name="connsiteX7" fmla="*/ 472440 w 1345660"/>
                    <a:gd name="connsiteY7" fmla="*/ 457200 h 858175"/>
                    <a:gd name="connsiteX8" fmla="*/ 0 w 1345660"/>
                    <a:gd name="connsiteY8" fmla="*/ 763905 h 858175"/>
                    <a:gd name="connsiteX9" fmla="*/ 154305 w 1345660"/>
                    <a:gd name="connsiteY9" fmla="*/ 97155 h 858175"/>
                    <a:gd name="connsiteX0" fmla="*/ 154305 w 1347351"/>
                    <a:gd name="connsiteY0" fmla="*/ 97155 h 857284"/>
                    <a:gd name="connsiteX1" fmla="*/ 252729 w 1347351"/>
                    <a:gd name="connsiteY1" fmla="*/ 0 h 857284"/>
                    <a:gd name="connsiteX2" fmla="*/ 622935 w 1347351"/>
                    <a:gd name="connsiteY2" fmla="*/ 83820 h 857284"/>
                    <a:gd name="connsiteX3" fmla="*/ 666750 w 1347351"/>
                    <a:gd name="connsiteY3" fmla="*/ 230505 h 857284"/>
                    <a:gd name="connsiteX4" fmla="*/ 923290 w 1347351"/>
                    <a:gd name="connsiteY4" fmla="*/ 527685 h 857284"/>
                    <a:gd name="connsiteX5" fmla="*/ 1290955 w 1347351"/>
                    <a:gd name="connsiteY5" fmla="*/ 634365 h 857284"/>
                    <a:gd name="connsiteX6" fmla="*/ 1138555 w 1347351"/>
                    <a:gd name="connsiteY6" fmla="*/ 843915 h 857284"/>
                    <a:gd name="connsiteX7" fmla="*/ 472440 w 1347351"/>
                    <a:gd name="connsiteY7" fmla="*/ 457200 h 857284"/>
                    <a:gd name="connsiteX8" fmla="*/ 0 w 1347351"/>
                    <a:gd name="connsiteY8" fmla="*/ 763905 h 857284"/>
                    <a:gd name="connsiteX9" fmla="*/ 154305 w 1347351"/>
                    <a:gd name="connsiteY9" fmla="*/ 97155 h 857284"/>
                    <a:gd name="connsiteX0" fmla="*/ 154305 w 1347351"/>
                    <a:gd name="connsiteY0" fmla="*/ 97155 h 857284"/>
                    <a:gd name="connsiteX1" fmla="*/ 252729 w 1347351"/>
                    <a:gd name="connsiteY1" fmla="*/ 0 h 857284"/>
                    <a:gd name="connsiteX2" fmla="*/ 622935 w 1347351"/>
                    <a:gd name="connsiteY2" fmla="*/ 83820 h 857284"/>
                    <a:gd name="connsiteX3" fmla="*/ 666750 w 1347351"/>
                    <a:gd name="connsiteY3" fmla="*/ 230505 h 857284"/>
                    <a:gd name="connsiteX4" fmla="*/ 923290 w 1347351"/>
                    <a:gd name="connsiteY4" fmla="*/ 527685 h 857284"/>
                    <a:gd name="connsiteX5" fmla="*/ 1290955 w 1347351"/>
                    <a:gd name="connsiteY5" fmla="*/ 634365 h 857284"/>
                    <a:gd name="connsiteX6" fmla="*/ 1138555 w 1347351"/>
                    <a:gd name="connsiteY6" fmla="*/ 843915 h 857284"/>
                    <a:gd name="connsiteX7" fmla="*/ 651510 w 1347351"/>
                    <a:gd name="connsiteY7" fmla="*/ 721995 h 857284"/>
                    <a:gd name="connsiteX8" fmla="*/ 0 w 1347351"/>
                    <a:gd name="connsiteY8" fmla="*/ 763905 h 857284"/>
                    <a:gd name="connsiteX9" fmla="*/ 154305 w 1347351"/>
                    <a:gd name="connsiteY9" fmla="*/ 97155 h 857284"/>
                    <a:gd name="connsiteX0" fmla="*/ 154305 w 1347351"/>
                    <a:gd name="connsiteY0" fmla="*/ 97155 h 802146"/>
                    <a:gd name="connsiteX1" fmla="*/ 252729 w 1347351"/>
                    <a:gd name="connsiteY1" fmla="*/ 0 h 802146"/>
                    <a:gd name="connsiteX2" fmla="*/ 622935 w 1347351"/>
                    <a:gd name="connsiteY2" fmla="*/ 83820 h 802146"/>
                    <a:gd name="connsiteX3" fmla="*/ 666750 w 1347351"/>
                    <a:gd name="connsiteY3" fmla="*/ 230505 h 802146"/>
                    <a:gd name="connsiteX4" fmla="*/ 923290 w 1347351"/>
                    <a:gd name="connsiteY4" fmla="*/ 527685 h 802146"/>
                    <a:gd name="connsiteX5" fmla="*/ 1290955 w 1347351"/>
                    <a:gd name="connsiteY5" fmla="*/ 634365 h 802146"/>
                    <a:gd name="connsiteX6" fmla="*/ 1138555 w 1347351"/>
                    <a:gd name="connsiteY6" fmla="*/ 784860 h 802146"/>
                    <a:gd name="connsiteX7" fmla="*/ 651510 w 1347351"/>
                    <a:gd name="connsiteY7" fmla="*/ 721995 h 802146"/>
                    <a:gd name="connsiteX8" fmla="*/ 0 w 1347351"/>
                    <a:gd name="connsiteY8" fmla="*/ 763905 h 802146"/>
                    <a:gd name="connsiteX9" fmla="*/ 154305 w 1347351"/>
                    <a:gd name="connsiteY9" fmla="*/ 97155 h 802146"/>
                    <a:gd name="connsiteX0" fmla="*/ 154305 w 1346306"/>
                    <a:gd name="connsiteY0" fmla="*/ 97155 h 853673"/>
                    <a:gd name="connsiteX1" fmla="*/ 252729 w 1346306"/>
                    <a:gd name="connsiteY1" fmla="*/ 0 h 853673"/>
                    <a:gd name="connsiteX2" fmla="*/ 622935 w 1346306"/>
                    <a:gd name="connsiteY2" fmla="*/ 83820 h 853673"/>
                    <a:gd name="connsiteX3" fmla="*/ 666750 w 1346306"/>
                    <a:gd name="connsiteY3" fmla="*/ 230505 h 853673"/>
                    <a:gd name="connsiteX4" fmla="*/ 923290 w 1346306"/>
                    <a:gd name="connsiteY4" fmla="*/ 527685 h 853673"/>
                    <a:gd name="connsiteX5" fmla="*/ 1290955 w 1346306"/>
                    <a:gd name="connsiteY5" fmla="*/ 634365 h 853673"/>
                    <a:gd name="connsiteX6" fmla="*/ 1134745 w 1346306"/>
                    <a:gd name="connsiteY6" fmla="*/ 840105 h 853673"/>
                    <a:gd name="connsiteX7" fmla="*/ 651510 w 1346306"/>
                    <a:gd name="connsiteY7" fmla="*/ 721995 h 853673"/>
                    <a:gd name="connsiteX8" fmla="*/ 0 w 1346306"/>
                    <a:gd name="connsiteY8" fmla="*/ 763905 h 853673"/>
                    <a:gd name="connsiteX9" fmla="*/ 154305 w 1346306"/>
                    <a:gd name="connsiteY9" fmla="*/ 97155 h 853673"/>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651510 w 1346306"/>
                    <a:gd name="connsiteY7" fmla="*/ 721995 h 855474"/>
                    <a:gd name="connsiteX8" fmla="*/ 0 w 1346306"/>
                    <a:gd name="connsiteY8" fmla="*/ 763905 h 855474"/>
                    <a:gd name="connsiteX9" fmla="*/ 154305 w 1346306"/>
                    <a:gd name="connsiteY9"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0 w 1346306"/>
                    <a:gd name="connsiteY8" fmla="*/ 763905 h 855474"/>
                    <a:gd name="connsiteX9" fmla="*/ 154305 w 1346306"/>
                    <a:gd name="connsiteY9"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1062354 w 1346306"/>
                    <a:gd name="connsiteY8" fmla="*/ 851534 h 855474"/>
                    <a:gd name="connsiteX9" fmla="*/ 0 w 1346306"/>
                    <a:gd name="connsiteY9" fmla="*/ 763905 h 855474"/>
                    <a:gd name="connsiteX10" fmla="*/ 154305 w 1346306"/>
                    <a:gd name="connsiteY10"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658494 w 1346306"/>
                    <a:gd name="connsiteY8" fmla="*/ 729614 h 855474"/>
                    <a:gd name="connsiteX9" fmla="*/ 0 w 1346306"/>
                    <a:gd name="connsiteY9" fmla="*/ 763905 h 855474"/>
                    <a:gd name="connsiteX10" fmla="*/ 154305 w 1346306"/>
                    <a:gd name="connsiteY10"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658494 w 1346306"/>
                    <a:gd name="connsiteY8" fmla="*/ 729614 h 855474"/>
                    <a:gd name="connsiteX9" fmla="*/ 654684 w 1346306"/>
                    <a:gd name="connsiteY9" fmla="*/ 727709 h 855474"/>
                    <a:gd name="connsiteX10" fmla="*/ 0 w 1346306"/>
                    <a:gd name="connsiteY10" fmla="*/ 763905 h 855474"/>
                    <a:gd name="connsiteX11" fmla="*/ 154305 w 1346306"/>
                    <a:gd name="connsiteY11"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658494 w 1346306"/>
                    <a:gd name="connsiteY8" fmla="*/ 729614 h 855474"/>
                    <a:gd name="connsiteX9" fmla="*/ 582294 w 1346306"/>
                    <a:gd name="connsiteY9" fmla="*/ 647699 h 855474"/>
                    <a:gd name="connsiteX10" fmla="*/ 0 w 1346306"/>
                    <a:gd name="connsiteY10" fmla="*/ 763905 h 855474"/>
                    <a:gd name="connsiteX11" fmla="*/ 154305 w 1346306"/>
                    <a:gd name="connsiteY11" fmla="*/ 97155 h 855474"/>
                    <a:gd name="connsiteX0" fmla="*/ 154305 w 1346306"/>
                    <a:gd name="connsiteY0" fmla="*/ 97155 h 855474"/>
                    <a:gd name="connsiteX1" fmla="*/ 252729 w 1346306"/>
                    <a:gd name="connsiteY1" fmla="*/ 0 h 855474"/>
                    <a:gd name="connsiteX2" fmla="*/ 622935 w 1346306"/>
                    <a:gd name="connsiteY2" fmla="*/ 83820 h 855474"/>
                    <a:gd name="connsiteX3" fmla="*/ 666750 w 1346306"/>
                    <a:gd name="connsiteY3" fmla="*/ 230505 h 855474"/>
                    <a:gd name="connsiteX4" fmla="*/ 923290 w 1346306"/>
                    <a:gd name="connsiteY4" fmla="*/ 527685 h 855474"/>
                    <a:gd name="connsiteX5" fmla="*/ 1290955 w 1346306"/>
                    <a:gd name="connsiteY5" fmla="*/ 634365 h 855474"/>
                    <a:gd name="connsiteX6" fmla="*/ 1134745 w 1346306"/>
                    <a:gd name="connsiteY6" fmla="*/ 840105 h 855474"/>
                    <a:gd name="connsiteX7" fmla="*/ 1061085 w 1346306"/>
                    <a:gd name="connsiteY7" fmla="*/ 847725 h 855474"/>
                    <a:gd name="connsiteX8" fmla="*/ 658494 w 1346306"/>
                    <a:gd name="connsiteY8" fmla="*/ 729614 h 855474"/>
                    <a:gd name="connsiteX9" fmla="*/ 582294 w 1346306"/>
                    <a:gd name="connsiteY9" fmla="*/ 647699 h 855474"/>
                    <a:gd name="connsiteX10" fmla="*/ 586104 w 1346306"/>
                    <a:gd name="connsiteY10" fmla="*/ 645794 h 855474"/>
                    <a:gd name="connsiteX11" fmla="*/ 0 w 1346306"/>
                    <a:gd name="connsiteY11" fmla="*/ 763905 h 855474"/>
                    <a:gd name="connsiteX12" fmla="*/ 154305 w 1346306"/>
                    <a:gd name="connsiteY12" fmla="*/ 97155 h 855474"/>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82294 w 1346306"/>
                    <a:gd name="connsiteY9" fmla="*/ 647699 h 941069"/>
                    <a:gd name="connsiteX10" fmla="*/ 506094 w 1346306"/>
                    <a:gd name="connsiteY10" fmla="*/ 941069 h 941069"/>
                    <a:gd name="connsiteX11" fmla="*/ 0 w 1346306"/>
                    <a:gd name="connsiteY11" fmla="*/ 763905 h 941069"/>
                    <a:gd name="connsiteX12" fmla="*/ 154305 w 1346306"/>
                    <a:gd name="connsiteY12" fmla="*/ 97155 h 941069"/>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72769 w 1346306"/>
                    <a:gd name="connsiteY9" fmla="*/ 645794 h 941069"/>
                    <a:gd name="connsiteX10" fmla="*/ 506094 w 1346306"/>
                    <a:gd name="connsiteY10" fmla="*/ 941069 h 941069"/>
                    <a:gd name="connsiteX11" fmla="*/ 0 w 1346306"/>
                    <a:gd name="connsiteY11" fmla="*/ 763905 h 941069"/>
                    <a:gd name="connsiteX12" fmla="*/ 154305 w 1346306"/>
                    <a:gd name="connsiteY12" fmla="*/ 97155 h 941069"/>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72769 w 1346306"/>
                    <a:gd name="connsiteY9" fmla="*/ 626744 h 941069"/>
                    <a:gd name="connsiteX10" fmla="*/ 506094 w 1346306"/>
                    <a:gd name="connsiteY10" fmla="*/ 941069 h 941069"/>
                    <a:gd name="connsiteX11" fmla="*/ 0 w 1346306"/>
                    <a:gd name="connsiteY11" fmla="*/ 763905 h 941069"/>
                    <a:gd name="connsiteX12" fmla="*/ 154305 w 1346306"/>
                    <a:gd name="connsiteY12" fmla="*/ 97155 h 941069"/>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74674 w 1346306"/>
                    <a:gd name="connsiteY9" fmla="*/ 641984 h 941069"/>
                    <a:gd name="connsiteX10" fmla="*/ 506094 w 1346306"/>
                    <a:gd name="connsiteY10" fmla="*/ 941069 h 941069"/>
                    <a:gd name="connsiteX11" fmla="*/ 0 w 1346306"/>
                    <a:gd name="connsiteY11" fmla="*/ 763905 h 941069"/>
                    <a:gd name="connsiteX12" fmla="*/ 154305 w 1346306"/>
                    <a:gd name="connsiteY12" fmla="*/ 97155 h 941069"/>
                    <a:gd name="connsiteX0" fmla="*/ 154305 w 1346306"/>
                    <a:gd name="connsiteY0" fmla="*/ 97155 h 941069"/>
                    <a:gd name="connsiteX1" fmla="*/ 252729 w 1346306"/>
                    <a:gd name="connsiteY1" fmla="*/ 0 h 941069"/>
                    <a:gd name="connsiteX2" fmla="*/ 622935 w 1346306"/>
                    <a:gd name="connsiteY2" fmla="*/ 83820 h 941069"/>
                    <a:gd name="connsiteX3" fmla="*/ 666750 w 1346306"/>
                    <a:gd name="connsiteY3" fmla="*/ 230505 h 941069"/>
                    <a:gd name="connsiteX4" fmla="*/ 923290 w 1346306"/>
                    <a:gd name="connsiteY4" fmla="*/ 527685 h 941069"/>
                    <a:gd name="connsiteX5" fmla="*/ 1290955 w 1346306"/>
                    <a:gd name="connsiteY5" fmla="*/ 634365 h 941069"/>
                    <a:gd name="connsiteX6" fmla="*/ 1134745 w 1346306"/>
                    <a:gd name="connsiteY6" fmla="*/ 840105 h 941069"/>
                    <a:gd name="connsiteX7" fmla="*/ 1061085 w 1346306"/>
                    <a:gd name="connsiteY7" fmla="*/ 847725 h 941069"/>
                    <a:gd name="connsiteX8" fmla="*/ 658494 w 1346306"/>
                    <a:gd name="connsiteY8" fmla="*/ 729614 h 941069"/>
                    <a:gd name="connsiteX9" fmla="*/ 574674 w 1346306"/>
                    <a:gd name="connsiteY9" fmla="*/ 641984 h 941069"/>
                    <a:gd name="connsiteX10" fmla="*/ 506094 w 1346306"/>
                    <a:gd name="connsiteY10" fmla="*/ 941069 h 941069"/>
                    <a:gd name="connsiteX11" fmla="*/ 509904 w 1346306"/>
                    <a:gd name="connsiteY11" fmla="*/ 939164 h 941069"/>
                    <a:gd name="connsiteX12" fmla="*/ 0 w 1346306"/>
                    <a:gd name="connsiteY12" fmla="*/ 763905 h 941069"/>
                    <a:gd name="connsiteX13" fmla="*/ 154305 w 1346306"/>
                    <a:gd name="connsiteY13" fmla="*/ 97155 h 941069"/>
                    <a:gd name="connsiteX0" fmla="*/ 154305 w 1346306"/>
                    <a:gd name="connsiteY0" fmla="*/ 97155 h 1383029"/>
                    <a:gd name="connsiteX1" fmla="*/ 252729 w 1346306"/>
                    <a:gd name="connsiteY1" fmla="*/ 0 h 1383029"/>
                    <a:gd name="connsiteX2" fmla="*/ 622935 w 1346306"/>
                    <a:gd name="connsiteY2" fmla="*/ 83820 h 1383029"/>
                    <a:gd name="connsiteX3" fmla="*/ 666750 w 1346306"/>
                    <a:gd name="connsiteY3" fmla="*/ 230505 h 1383029"/>
                    <a:gd name="connsiteX4" fmla="*/ 923290 w 1346306"/>
                    <a:gd name="connsiteY4" fmla="*/ 527685 h 1383029"/>
                    <a:gd name="connsiteX5" fmla="*/ 1290955 w 1346306"/>
                    <a:gd name="connsiteY5" fmla="*/ 634365 h 1383029"/>
                    <a:gd name="connsiteX6" fmla="*/ 1134745 w 1346306"/>
                    <a:gd name="connsiteY6" fmla="*/ 840105 h 1383029"/>
                    <a:gd name="connsiteX7" fmla="*/ 1061085 w 1346306"/>
                    <a:gd name="connsiteY7" fmla="*/ 847725 h 1383029"/>
                    <a:gd name="connsiteX8" fmla="*/ 658494 w 1346306"/>
                    <a:gd name="connsiteY8" fmla="*/ 729614 h 1383029"/>
                    <a:gd name="connsiteX9" fmla="*/ 574674 w 1346306"/>
                    <a:gd name="connsiteY9" fmla="*/ 641984 h 1383029"/>
                    <a:gd name="connsiteX10" fmla="*/ 506094 w 1346306"/>
                    <a:gd name="connsiteY10" fmla="*/ 941069 h 1383029"/>
                    <a:gd name="connsiteX11" fmla="*/ 768984 w 1346306"/>
                    <a:gd name="connsiteY11" fmla="*/ 1383029 h 1383029"/>
                    <a:gd name="connsiteX12" fmla="*/ 0 w 1346306"/>
                    <a:gd name="connsiteY12" fmla="*/ 763905 h 1383029"/>
                    <a:gd name="connsiteX13" fmla="*/ 154305 w 1346306"/>
                    <a:gd name="connsiteY13" fmla="*/ 97155 h 1383029"/>
                    <a:gd name="connsiteX0" fmla="*/ 154305 w 1346306"/>
                    <a:gd name="connsiteY0" fmla="*/ 97155 h 1383029"/>
                    <a:gd name="connsiteX1" fmla="*/ 252729 w 1346306"/>
                    <a:gd name="connsiteY1" fmla="*/ 0 h 1383029"/>
                    <a:gd name="connsiteX2" fmla="*/ 622935 w 1346306"/>
                    <a:gd name="connsiteY2" fmla="*/ 83820 h 1383029"/>
                    <a:gd name="connsiteX3" fmla="*/ 666750 w 1346306"/>
                    <a:gd name="connsiteY3" fmla="*/ 230505 h 1383029"/>
                    <a:gd name="connsiteX4" fmla="*/ 923290 w 1346306"/>
                    <a:gd name="connsiteY4" fmla="*/ 527685 h 1383029"/>
                    <a:gd name="connsiteX5" fmla="*/ 1290955 w 1346306"/>
                    <a:gd name="connsiteY5" fmla="*/ 634365 h 1383029"/>
                    <a:gd name="connsiteX6" fmla="*/ 1134745 w 1346306"/>
                    <a:gd name="connsiteY6" fmla="*/ 840105 h 1383029"/>
                    <a:gd name="connsiteX7" fmla="*/ 1061085 w 1346306"/>
                    <a:gd name="connsiteY7" fmla="*/ 847725 h 1383029"/>
                    <a:gd name="connsiteX8" fmla="*/ 658494 w 1346306"/>
                    <a:gd name="connsiteY8" fmla="*/ 729614 h 1383029"/>
                    <a:gd name="connsiteX9" fmla="*/ 574674 w 1346306"/>
                    <a:gd name="connsiteY9" fmla="*/ 641984 h 1383029"/>
                    <a:gd name="connsiteX10" fmla="*/ 506094 w 1346306"/>
                    <a:gd name="connsiteY10" fmla="*/ 941069 h 1383029"/>
                    <a:gd name="connsiteX11" fmla="*/ 768984 w 1346306"/>
                    <a:gd name="connsiteY11" fmla="*/ 1383029 h 1383029"/>
                    <a:gd name="connsiteX12" fmla="*/ 765174 w 1346306"/>
                    <a:gd name="connsiteY12" fmla="*/ 1379219 h 1383029"/>
                    <a:gd name="connsiteX13" fmla="*/ 0 w 1346306"/>
                    <a:gd name="connsiteY13" fmla="*/ 763905 h 1383029"/>
                    <a:gd name="connsiteX14" fmla="*/ 154305 w 1346306"/>
                    <a:gd name="connsiteY14" fmla="*/ 97155 h 1383029"/>
                    <a:gd name="connsiteX0" fmla="*/ 154305 w 1346306"/>
                    <a:gd name="connsiteY0" fmla="*/ 97155 h 1522094"/>
                    <a:gd name="connsiteX1" fmla="*/ 252729 w 1346306"/>
                    <a:gd name="connsiteY1" fmla="*/ 0 h 1522094"/>
                    <a:gd name="connsiteX2" fmla="*/ 622935 w 1346306"/>
                    <a:gd name="connsiteY2" fmla="*/ 83820 h 1522094"/>
                    <a:gd name="connsiteX3" fmla="*/ 666750 w 1346306"/>
                    <a:gd name="connsiteY3" fmla="*/ 230505 h 1522094"/>
                    <a:gd name="connsiteX4" fmla="*/ 923290 w 1346306"/>
                    <a:gd name="connsiteY4" fmla="*/ 527685 h 1522094"/>
                    <a:gd name="connsiteX5" fmla="*/ 1290955 w 1346306"/>
                    <a:gd name="connsiteY5" fmla="*/ 634365 h 1522094"/>
                    <a:gd name="connsiteX6" fmla="*/ 1134745 w 1346306"/>
                    <a:gd name="connsiteY6" fmla="*/ 840105 h 1522094"/>
                    <a:gd name="connsiteX7" fmla="*/ 1061085 w 1346306"/>
                    <a:gd name="connsiteY7" fmla="*/ 847725 h 1522094"/>
                    <a:gd name="connsiteX8" fmla="*/ 658494 w 1346306"/>
                    <a:gd name="connsiteY8" fmla="*/ 729614 h 1522094"/>
                    <a:gd name="connsiteX9" fmla="*/ 574674 w 1346306"/>
                    <a:gd name="connsiteY9" fmla="*/ 641984 h 1522094"/>
                    <a:gd name="connsiteX10" fmla="*/ 506094 w 1346306"/>
                    <a:gd name="connsiteY10" fmla="*/ 941069 h 1522094"/>
                    <a:gd name="connsiteX11" fmla="*/ 768984 w 1346306"/>
                    <a:gd name="connsiteY11" fmla="*/ 1383029 h 1522094"/>
                    <a:gd name="connsiteX12" fmla="*/ 734694 w 1346306"/>
                    <a:gd name="connsiteY12" fmla="*/ 1522094 h 1522094"/>
                    <a:gd name="connsiteX13" fmla="*/ 0 w 1346306"/>
                    <a:gd name="connsiteY13" fmla="*/ 763905 h 1522094"/>
                    <a:gd name="connsiteX14" fmla="*/ 154305 w 1346306"/>
                    <a:gd name="connsiteY14" fmla="*/ 97155 h 1522094"/>
                    <a:gd name="connsiteX0" fmla="*/ 154305 w 1346306"/>
                    <a:gd name="connsiteY0" fmla="*/ 97155 h 1522094"/>
                    <a:gd name="connsiteX1" fmla="*/ 252729 w 1346306"/>
                    <a:gd name="connsiteY1" fmla="*/ 0 h 1522094"/>
                    <a:gd name="connsiteX2" fmla="*/ 622935 w 1346306"/>
                    <a:gd name="connsiteY2" fmla="*/ 83820 h 1522094"/>
                    <a:gd name="connsiteX3" fmla="*/ 666750 w 1346306"/>
                    <a:gd name="connsiteY3" fmla="*/ 230505 h 1522094"/>
                    <a:gd name="connsiteX4" fmla="*/ 923290 w 1346306"/>
                    <a:gd name="connsiteY4" fmla="*/ 527685 h 1522094"/>
                    <a:gd name="connsiteX5" fmla="*/ 1290955 w 1346306"/>
                    <a:gd name="connsiteY5" fmla="*/ 634365 h 1522094"/>
                    <a:gd name="connsiteX6" fmla="*/ 1134745 w 1346306"/>
                    <a:gd name="connsiteY6" fmla="*/ 840105 h 1522094"/>
                    <a:gd name="connsiteX7" fmla="*/ 1061085 w 1346306"/>
                    <a:gd name="connsiteY7" fmla="*/ 847725 h 1522094"/>
                    <a:gd name="connsiteX8" fmla="*/ 658494 w 1346306"/>
                    <a:gd name="connsiteY8" fmla="*/ 729614 h 1522094"/>
                    <a:gd name="connsiteX9" fmla="*/ 574674 w 1346306"/>
                    <a:gd name="connsiteY9" fmla="*/ 641984 h 1522094"/>
                    <a:gd name="connsiteX10" fmla="*/ 506094 w 1346306"/>
                    <a:gd name="connsiteY10" fmla="*/ 941069 h 1522094"/>
                    <a:gd name="connsiteX11" fmla="*/ 768984 w 1346306"/>
                    <a:gd name="connsiteY11" fmla="*/ 1383029 h 1522094"/>
                    <a:gd name="connsiteX12" fmla="*/ 734694 w 1346306"/>
                    <a:gd name="connsiteY12" fmla="*/ 1522094 h 1522094"/>
                    <a:gd name="connsiteX13" fmla="*/ 0 w 1346306"/>
                    <a:gd name="connsiteY13" fmla="*/ 763905 h 1522094"/>
                    <a:gd name="connsiteX14" fmla="*/ 154305 w 1346306"/>
                    <a:gd name="connsiteY14" fmla="*/ 97155 h 1522094"/>
                    <a:gd name="connsiteX0" fmla="*/ 154305 w 1346306"/>
                    <a:gd name="connsiteY0" fmla="*/ 97155 h 1522094"/>
                    <a:gd name="connsiteX1" fmla="*/ 252729 w 1346306"/>
                    <a:gd name="connsiteY1" fmla="*/ 0 h 1522094"/>
                    <a:gd name="connsiteX2" fmla="*/ 622935 w 1346306"/>
                    <a:gd name="connsiteY2" fmla="*/ 83820 h 1522094"/>
                    <a:gd name="connsiteX3" fmla="*/ 666750 w 1346306"/>
                    <a:gd name="connsiteY3" fmla="*/ 230505 h 1522094"/>
                    <a:gd name="connsiteX4" fmla="*/ 923290 w 1346306"/>
                    <a:gd name="connsiteY4" fmla="*/ 527685 h 1522094"/>
                    <a:gd name="connsiteX5" fmla="*/ 1290955 w 1346306"/>
                    <a:gd name="connsiteY5" fmla="*/ 634365 h 1522094"/>
                    <a:gd name="connsiteX6" fmla="*/ 1134745 w 1346306"/>
                    <a:gd name="connsiteY6" fmla="*/ 840105 h 1522094"/>
                    <a:gd name="connsiteX7" fmla="*/ 1061085 w 1346306"/>
                    <a:gd name="connsiteY7" fmla="*/ 847725 h 1522094"/>
                    <a:gd name="connsiteX8" fmla="*/ 658494 w 1346306"/>
                    <a:gd name="connsiteY8" fmla="*/ 729614 h 1522094"/>
                    <a:gd name="connsiteX9" fmla="*/ 574674 w 1346306"/>
                    <a:gd name="connsiteY9" fmla="*/ 641984 h 1522094"/>
                    <a:gd name="connsiteX10" fmla="*/ 506094 w 1346306"/>
                    <a:gd name="connsiteY10" fmla="*/ 941069 h 1522094"/>
                    <a:gd name="connsiteX11" fmla="*/ 768984 w 1346306"/>
                    <a:gd name="connsiteY11" fmla="*/ 1383029 h 1522094"/>
                    <a:gd name="connsiteX12" fmla="*/ 734694 w 1346306"/>
                    <a:gd name="connsiteY12" fmla="*/ 1522094 h 1522094"/>
                    <a:gd name="connsiteX13" fmla="*/ 0 w 1346306"/>
                    <a:gd name="connsiteY13" fmla="*/ 763905 h 1522094"/>
                    <a:gd name="connsiteX14" fmla="*/ 154305 w 1346306"/>
                    <a:gd name="connsiteY14" fmla="*/ 97155 h 1522094"/>
                    <a:gd name="connsiteX0" fmla="*/ 154305 w 1346306"/>
                    <a:gd name="connsiteY0" fmla="*/ 97155 h 1529713"/>
                    <a:gd name="connsiteX1" fmla="*/ 252729 w 1346306"/>
                    <a:gd name="connsiteY1" fmla="*/ 0 h 1529713"/>
                    <a:gd name="connsiteX2" fmla="*/ 622935 w 1346306"/>
                    <a:gd name="connsiteY2" fmla="*/ 83820 h 1529713"/>
                    <a:gd name="connsiteX3" fmla="*/ 666750 w 1346306"/>
                    <a:gd name="connsiteY3" fmla="*/ 230505 h 1529713"/>
                    <a:gd name="connsiteX4" fmla="*/ 923290 w 1346306"/>
                    <a:gd name="connsiteY4" fmla="*/ 527685 h 1529713"/>
                    <a:gd name="connsiteX5" fmla="*/ 1290955 w 1346306"/>
                    <a:gd name="connsiteY5" fmla="*/ 634365 h 1529713"/>
                    <a:gd name="connsiteX6" fmla="*/ 1134745 w 1346306"/>
                    <a:gd name="connsiteY6" fmla="*/ 840105 h 1529713"/>
                    <a:gd name="connsiteX7" fmla="*/ 1061085 w 1346306"/>
                    <a:gd name="connsiteY7" fmla="*/ 847725 h 1529713"/>
                    <a:gd name="connsiteX8" fmla="*/ 658494 w 1346306"/>
                    <a:gd name="connsiteY8" fmla="*/ 729614 h 1529713"/>
                    <a:gd name="connsiteX9" fmla="*/ 574674 w 1346306"/>
                    <a:gd name="connsiteY9" fmla="*/ 641984 h 1529713"/>
                    <a:gd name="connsiteX10" fmla="*/ 506094 w 1346306"/>
                    <a:gd name="connsiteY10" fmla="*/ 941069 h 1529713"/>
                    <a:gd name="connsiteX11" fmla="*/ 768984 w 1346306"/>
                    <a:gd name="connsiteY11" fmla="*/ 1383029 h 1529713"/>
                    <a:gd name="connsiteX12" fmla="*/ 734694 w 1346306"/>
                    <a:gd name="connsiteY12" fmla="*/ 1522094 h 1529713"/>
                    <a:gd name="connsiteX13" fmla="*/ 734694 w 1346306"/>
                    <a:gd name="connsiteY13" fmla="*/ 1529713 h 1529713"/>
                    <a:gd name="connsiteX14" fmla="*/ 0 w 1346306"/>
                    <a:gd name="connsiteY14" fmla="*/ 763905 h 1529713"/>
                    <a:gd name="connsiteX15" fmla="*/ 154305 w 1346306"/>
                    <a:gd name="connsiteY15" fmla="*/ 97155 h 1529713"/>
                    <a:gd name="connsiteX0" fmla="*/ 154305 w 1346306"/>
                    <a:gd name="connsiteY0" fmla="*/ 97155 h 1864993"/>
                    <a:gd name="connsiteX1" fmla="*/ 252729 w 1346306"/>
                    <a:gd name="connsiteY1" fmla="*/ 0 h 1864993"/>
                    <a:gd name="connsiteX2" fmla="*/ 622935 w 1346306"/>
                    <a:gd name="connsiteY2" fmla="*/ 83820 h 1864993"/>
                    <a:gd name="connsiteX3" fmla="*/ 666750 w 1346306"/>
                    <a:gd name="connsiteY3" fmla="*/ 230505 h 1864993"/>
                    <a:gd name="connsiteX4" fmla="*/ 923290 w 1346306"/>
                    <a:gd name="connsiteY4" fmla="*/ 527685 h 1864993"/>
                    <a:gd name="connsiteX5" fmla="*/ 1290955 w 1346306"/>
                    <a:gd name="connsiteY5" fmla="*/ 634365 h 1864993"/>
                    <a:gd name="connsiteX6" fmla="*/ 1134745 w 1346306"/>
                    <a:gd name="connsiteY6" fmla="*/ 840105 h 1864993"/>
                    <a:gd name="connsiteX7" fmla="*/ 1061085 w 1346306"/>
                    <a:gd name="connsiteY7" fmla="*/ 847725 h 1864993"/>
                    <a:gd name="connsiteX8" fmla="*/ 658494 w 1346306"/>
                    <a:gd name="connsiteY8" fmla="*/ 729614 h 1864993"/>
                    <a:gd name="connsiteX9" fmla="*/ 574674 w 1346306"/>
                    <a:gd name="connsiteY9" fmla="*/ 641984 h 1864993"/>
                    <a:gd name="connsiteX10" fmla="*/ 506094 w 1346306"/>
                    <a:gd name="connsiteY10" fmla="*/ 941069 h 1864993"/>
                    <a:gd name="connsiteX11" fmla="*/ 768984 w 1346306"/>
                    <a:gd name="connsiteY11" fmla="*/ 1383029 h 1864993"/>
                    <a:gd name="connsiteX12" fmla="*/ 734694 w 1346306"/>
                    <a:gd name="connsiteY12" fmla="*/ 1522094 h 1864993"/>
                    <a:gd name="connsiteX13" fmla="*/ 506094 w 1346306"/>
                    <a:gd name="connsiteY13" fmla="*/ 1864993 h 1864993"/>
                    <a:gd name="connsiteX14" fmla="*/ 0 w 1346306"/>
                    <a:gd name="connsiteY14" fmla="*/ 763905 h 1864993"/>
                    <a:gd name="connsiteX15" fmla="*/ 154305 w 1346306"/>
                    <a:gd name="connsiteY15" fmla="*/ 97155 h 1864993"/>
                    <a:gd name="connsiteX0" fmla="*/ 154305 w 1346306"/>
                    <a:gd name="connsiteY0" fmla="*/ 97155 h 1979293"/>
                    <a:gd name="connsiteX1" fmla="*/ 252729 w 1346306"/>
                    <a:gd name="connsiteY1" fmla="*/ 0 h 1979293"/>
                    <a:gd name="connsiteX2" fmla="*/ 622935 w 1346306"/>
                    <a:gd name="connsiteY2" fmla="*/ 83820 h 1979293"/>
                    <a:gd name="connsiteX3" fmla="*/ 666750 w 1346306"/>
                    <a:gd name="connsiteY3" fmla="*/ 230505 h 1979293"/>
                    <a:gd name="connsiteX4" fmla="*/ 923290 w 1346306"/>
                    <a:gd name="connsiteY4" fmla="*/ 527685 h 1979293"/>
                    <a:gd name="connsiteX5" fmla="*/ 1290955 w 1346306"/>
                    <a:gd name="connsiteY5" fmla="*/ 634365 h 1979293"/>
                    <a:gd name="connsiteX6" fmla="*/ 1134745 w 1346306"/>
                    <a:gd name="connsiteY6" fmla="*/ 840105 h 1979293"/>
                    <a:gd name="connsiteX7" fmla="*/ 1061085 w 1346306"/>
                    <a:gd name="connsiteY7" fmla="*/ 847725 h 1979293"/>
                    <a:gd name="connsiteX8" fmla="*/ 658494 w 1346306"/>
                    <a:gd name="connsiteY8" fmla="*/ 729614 h 1979293"/>
                    <a:gd name="connsiteX9" fmla="*/ 574674 w 1346306"/>
                    <a:gd name="connsiteY9" fmla="*/ 641984 h 1979293"/>
                    <a:gd name="connsiteX10" fmla="*/ 506094 w 1346306"/>
                    <a:gd name="connsiteY10" fmla="*/ 941069 h 1979293"/>
                    <a:gd name="connsiteX11" fmla="*/ 768984 w 1346306"/>
                    <a:gd name="connsiteY11" fmla="*/ 1383029 h 1979293"/>
                    <a:gd name="connsiteX12" fmla="*/ 734694 w 1346306"/>
                    <a:gd name="connsiteY12" fmla="*/ 1522094 h 1979293"/>
                    <a:gd name="connsiteX13" fmla="*/ 363219 w 1346306"/>
                    <a:gd name="connsiteY13" fmla="*/ 1979293 h 1979293"/>
                    <a:gd name="connsiteX14" fmla="*/ 0 w 1346306"/>
                    <a:gd name="connsiteY14" fmla="*/ 763905 h 1979293"/>
                    <a:gd name="connsiteX15" fmla="*/ 154305 w 1346306"/>
                    <a:gd name="connsiteY15" fmla="*/ 97155 h 1979293"/>
                    <a:gd name="connsiteX0" fmla="*/ 154305 w 1346306"/>
                    <a:gd name="connsiteY0" fmla="*/ 97155 h 1983103"/>
                    <a:gd name="connsiteX1" fmla="*/ 252729 w 1346306"/>
                    <a:gd name="connsiteY1" fmla="*/ 0 h 1983103"/>
                    <a:gd name="connsiteX2" fmla="*/ 622935 w 1346306"/>
                    <a:gd name="connsiteY2" fmla="*/ 83820 h 1983103"/>
                    <a:gd name="connsiteX3" fmla="*/ 666750 w 1346306"/>
                    <a:gd name="connsiteY3" fmla="*/ 230505 h 1983103"/>
                    <a:gd name="connsiteX4" fmla="*/ 923290 w 1346306"/>
                    <a:gd name="connsiteY4" fmla="*/ 527685 h 1983103"/>
                    <a:gd name="connsiteX5" fmla="*/ 1290955 w 1346306"/>
                    <a:gd name="connsiteY5" fmla="*/ 634365 h 1983103"/>
                    <a:gd name="connsiteX6" fmla="*/ 1134745 w 1346306"/>
                    <a:gd name="connsiteY6" fmla="*/ 840105 h 1983103"/>
                    <a:gd name="connsiteX7" fmla="*/ 1061085 w 1346306"/>
                    <a:gd name="connsiteY7" fmla="*/ 847725 h 1983103"/>
                    <a:gd name="connsiteX8" fmla="*/ 658494 w 1346306"/>
                    <a:gd name="connsiteY8" fmla="*/ 729614 h 1983103"/>
                    <a:gd name="connsiteX9" fmla="*/ 574674 w 1346306"/>
                    <a:gd name="connsiteY9" fmla="*/ 641984 h 1983103"/>
                    <a:gd name="connsiteX10" fmla="*/ 506094 w 1346306"/>
                    <a:gd name="connsiteY10" fmla="*/ 941069 h 1983103"/>
                    <a:gd name="connsiteX11" fmla="*/ 768984 w 1346306"/>
                    <a:gd name="connsiteY11" fmla="*/ 1383029 h 1983103"/>
                    <a:gd name="connsiteX12" fmla="*/ 734694 w 1346306"/>
                    <a:gd name="connsiteY12" fmla="*/ 1522094 h 1983103"/>
                    <a:gd name="connsiteX13" fmla="*/ 363219 w 1346306"/>
                    <a:gd name="connsiteY13" fmla="*/ 1979293 h 1983103"/>
                    <a:gd name="connsiteX14" fmla="*/ 367029 w 1346306"/>
                    <a:gd name="connsiteY14" fmla="*/ 1983103 h 1983103"/>
                    <a:gd name="connsiteX15" fmla="*/ 0 w 1346306"/>
                    <a:gd name="connsiteY15" fmla="*/ 763905 h 1983103"/>
                    <a:gd name="connsiteX16" fmla="*/ 154305 w 1346306"/>
                    <a:gd name="connsiteY16" fmla="*/ 97155 h 1983103"/>
                    <a:gd name="connsiteX0" fmla="*/ 154305 w 1346306"/>
                    <a:gd name="connsiteY0" fmla="*/ 97155 h 1979293"/>
                    <a:gd name="connsiteX1" fmla="*/ 252729 w 1346306"/>
                    <a:gd name="connsiteY1" fmla="*/ 0 h 1979293"/>
                    <a:gd name="connsiteX2" fmla="*/ 622935 w 1346306"/>
                    <a:gd name="connsiteY2" fmla="*/ 83820 h 1979293"/>
                    <a:gd name="connsiteX3" fmla="*/ 666750 w 1346306"/>
                    <a:gd name="connsiteY3" fmla="*/ 230505 h 1979293"/>
                    <a:gd name="connsiteX4" fmla="*/ 923290 w 1346306"/>
                    <a:gd name="connsiteY4" fmla="*/ 527685 h 1979293"/>
                    <a:gd name="connsiteX5" fmla="*/ 1290955 w 1346306"/>
                    <a:gd name="connsiteY5" fmla="*/ 634365 h 1979293"/>
                    <a:gd name="connsiteX6" fmla="*/ 1134745 w 1346306"/>
                    <a:gd name="connsiteY6" fmla="*/ 840105 h 1979293"/>
                    <a:gd name="connsiteX7" fmla="*/ 1061085 w 1346306"/>
                    <a:gd name="connsiteY7" fmla="*/ 847725 h 1979293"/>
                    <a:gd name="connsiteX8" fmla="*/ 658494 w 1346306"/>
                    <a:gd name="connsiteY8" fmla="*/ 729614 h 1979293"/>
                    <a:gd name="connsiteX9" fmla="*/ 574674 w 1346306"/>
                    <a:gd name="connsiteY9" fmla="*/ 641984 h 1979293"/>
                    <a:gd name="connsiteX10" fmla="*/ 506094 w 1346306"/>
                    <a:gd name="connsiteY10" fmla="*/ 941069 h 1979293"/>
                    <a:gd name="connsiteX11" fmla="*/ 768984 w 1346306"/>
                    <a:gd name="connsiteY11" fmla="*/ 1383029 h 1979293"/>
                    <a:gd name="connsiteX12" fmla="*/ 734694 w 1346306"/>
                    <a:gd name="connsiteY12" fmla="*/ 1522094 h 1979293"/>
                    <a:gd name="connsiteX13" fmla="*/ 363219 w 1346306"/>
                    <a:gd name="connsiteY13" fmla="*/ 1979293 h 1979293"/>
                    <a:gd name="connsiteX14" fmla="*/ 187959 w 1346306"/>
                    <a:gd name="connsiteY14" fmla="*/ 1813558 h 1979293"/>
                    <a:gd name="connsiteX15" fmla="*/ 0 w 1346306"/>
                    <a:gd name="connsiteY15" fmla="*/ 763905 h 1979293"/>
                    <a:gd name="connsiteX16" fmla="*/ 154305 w 1346306"/>
                    <a:gd name="connsiteY16" fmla="*/ 97155 h 1979293"/>
                    <a:gd name="connsiteX0" fmla="*/ 154305 w 1346306"/>
                    <a:gd name="connsiteY0" fmla="*/ 97155 h 1979293"/>
                    <a:gd name="connsiteX1" fmla="*/ 252729 w 1346306"/>
                    <a:gd name="connsiteY1" fmla="*/ 0 h 1979293"/>
                    <a:gd name="connsiteX2" fmla="*/ 622935 w 1346306"/>
                    <a:gd name="connsiteY2" fmla="*/ 83820 h 1979293"/>
                    <a:gd name="connsiteX3" fmla="*/ 666750 w 1346306"/>
                    <a:gd name="connsiteY3" fmla="*/ 230505 h 1979293"/>
                    <a:gd name="connsiteX4" fmla="*/ 923290 w 1346306"/>
                    <a:gd name="connsiteY4" fmla="*/ 527685 h 1979293"/>
                    <a:gd name="connsiteX5" fmla="*/ 1290955 w 1346306"/>
                    <a:gd name="connsiteY5" fmla="*/ 634365 h 1979293"/>
                    <a:gd name="connsiteX6" fmla="*/ 1134745 w 1346306"/>
                    <a:gd name="connsiteY6" fmla="*/ 840105 h 1979293"/>
                    <a:gd name="connsiteX7" fmla="*/ 1061085 w 1346306"/>
                    <a:gd name="connsiteY7" fmla="*/ 847725 h 1979293"/>
                    <a:gd name="connsiteX8" fmla="*/ 658494 w 1346306"/>
                    <a:gd name="connsiteY8" fmla="*/ 729614 h 1979293"/>
                    <a:gd name="connsiteX9" fmla="*/ 574674 w 1346306"/>
                    <a:gd name="connsiteY9" fmla="*/ 641984 h 1979293"/>
                    <a:gd name="connsiteX10" fmla="*/ 506094 w 1346306"/>
                    <a:gd name="connsiteY10" fmla="*/ 941069 h 1979293"/>
                    <a:gd name="connsiteX11" fmla="*/ 768984 w 1346306"/>
                    <a:gd name="connsiteY11" fmla="*/ 1383029 h 1979293"/>
                    <a:gd name="connsiteX12" fmla="*/ 734694 w 1346306"/>
                    <a:gd name="connsiteY12" fmla="*/ 1522094 h 1979293"/>
                    <a:gd name="connsiteX13" fmla="*/ 363219 w 1346306"/>
                    <a:gd name="connsiteY13" fmla="*/ 1979293 h 1979293"/>
                    <a:gd name="connsiteX14" fmla="*/ 187959 w 1346306"/>
                    <a:gd name="connsiteY14" fmla="*/ 1813558 h 1979293"/>
                    <a:gd name="connsiteX15" fmla="*/ 0 w 1346306"/>
                    <a:gd name="connsiteY15" fmla="*/ 763905 h 1979293"/>
                    <a:gd name="connsiteX16" fmla="*/ 154305 w 1346306"/>
                    <a:gd name="connsiteY16" fmla="*/ 97155 h 1979293"/>
                    <a:gd name="connsiteX0" fmla="*/ 154305 w 1346306"/>
                    <a:gd name="connsiteY0" fmla="*/ 97155 h 2001010"/>
                    <a:gd name="connsiteX1" fmla="*/ 252729 w 1346306"/>
                    <a:gd name="connsiteY1" fmla="*/ 0 h 2001010"/>
                    <a:gd name="connsiteX2" fmla="*/ 622935 w 1346306"/>
                    <a:gd name="connsiteY2" fmla="*/ 83820 h 2001010"/>
                    <a:gd name="connsiteX3" fmla="*/ 666750 w 1346306"/>
                    <a:gd name="connsiteY3" fmla="*/ 230505 h 2001010"/>
                    <a:gd name="connsiteX4" fmla="*/ 923290 w 1346306"/>
                    <a:gd name="connsiteY4" fmla="*/ 527685 h 2001010"/>
                    <a:gd name="connsiteX5" fmla="*/ 1290955 w 1346306"/>
                    <a:gd name="connsiteY5" fmla="*/ 634365 h 2001010"/>
                    <a:gd name="connsiteX6" fmla="*/ 1134745 w 1346306"/>
                    <a:gd name="connsiteY6" fmla="*/ 840105 h 2001010"/>
                    <a:gd name="connsiteX7" fmla="*/ 1061085 w 1346306"/>
                    <a:gd name="connsiteY7" fmla="*/ 847725 h 2001010"/>
                    <a:gd name="connsiteX8" fmla="*/ 658494 w 1346306"/>
                    <a:gd name="connsiteY8" fmla="*/ 729614 h 2001010"/>
                    <a:gd name="connsiteX9" fmla="*/ 574674 w 1346306"/>
                    <a:gd name="connsiteY9" fmla="*/ 641984 h 2001010"/>
                    <a:gd name="connsiteX10" fmla="*/ 506094 w 1346306"/>
                    <a:gd name="connsiteY10" fmla="*/ 941069 h 2001010"/>
                    <a:gd name="connsiteX11" fmla="*/ 768984 w 1346306"/>
                    <a:gd name="connsiteY11" fmla="*/ 1383029 h 2001010"/>
                    <a:gd name="connsiteX12" fmla="*/ 734694 w 1346306"/>
                    <a:gd name="connsiteY12" fmla="*/ 1522094 h 2001010"/>
                    <a:gd name="connsiteX13" fmla="*/ 363219 w 1346306"/>
                    <a:gd name="connsiteY13" fmla="*/ 1979293 h 2001010"/>
                    <a:gd name="connsiteX14" fmla="*/ 187959 w 1346306"/>
                    <a:gd name="connsiteY14" fmla="*/ 1813558 h 2001010"/>
                    <a:gd name="connsiteX15" fmla="*/ 0 w 1346306"/>
                    <a:gd name="connsiteY15" fmla="*/ 763905 h 2001010"/>
                    <a:gd name="connsiteX16" fmla="*/ 154305 w 1346306"/>
                    <a:gd name="connsiteY16" fmla="*/ 97155 h 2001010"/>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0 w 1346306"/>
                    <a:gd name="connsiteY15" fmla="*/ 763905 h 1999321"/>
                    <a:gd name="connsiteX16" fmla="*/ 154305 w 1346306"/>
                    <a:gd name="connsiteY16"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187959 w 1346306"/>
                    <a:gd name="connsiteY15" fmla="*/ 1805938 h 1999321"/>
                    <a:gd name="connsiteX16" fmla="*/ 0 w 1346306"/>
                    <a:gd name="connsiteY16" fmla="*/ 763905 h 1999321"/>
                    <a:gd name="connsiteX17" fmla="*/ 154305 w 1346306"/>
                    <a:gd name="connsiteY17"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0 w 1346306"/>
                    <a:gd name="connsiteY16" fmla="*/ 763905 h 1999321"/>
                    <a:gd name="connsiteX17" fmla="*/ 154305 w 1346306"/>
                    <a:gd name="connsiteY17"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498474 w 1346306"/>
                    <a:gd name="connsiteY16" fmla="*/ 1417318 h 1999321"/>
                    <a:gd name="connsiteX17" fmla="*/ 0 w 1346306"/>
                    <a:gd name="connsiteY17" fmla="*/ 763905 h 1999321"/>
                    <a:gd name="connsiteX18" fmla="*/ 154305 w 1346306"/>
                    <a:gd name="connsiteY18"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0 w 1346306"/>
                    <a:gd name="connsiteY17" fmla="*/ 763905 h 1999321"/>
                    <a:gd name="connsiteX18" fmla="*/ 154305 w 1346306"/>
                    <a:gd name="connsiteY18"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319404 w 1346306"/>
                    <a:gd name="connsiteY17" fmla="*/ 1114423 h 1999321"/>
                    <a:gd name="connsiteX18" fmla="*/ 0 w 1346306"/>
                    <a:gd name="connsiteY18" fmla="*/ 763905 h 1999321"/>
                    <a:gd name="connsiteX19" fmla="*/ 154305 w 1346306"/>
                    <a:gd name="connsiteY19"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3679 w 1346306"/>
                    <a:gd name="connsiteY17" fmla="*/ 1097278 h 1999321"/>
                    <a:gd name="connsiteX18" fmla="*/ 0 w 1346306"/>
                    <a:gd name="connsiteY18" fmla="*/ 763905 h 1999321"/>
                    <a:gd name="connsiteX19" fmla="*/ 154305 w 1346306"/>
                    <a:gd name="connsiteY19"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85848 h 1999321"/>
                    <a:gd name="connsiteX18" fmla="*/ 0 w 1346306"/>
                    <a:gd name="connsiteY18" fmla="*/ 763905 h 1999321"/>
                    <a:gd name="connsiteX19" fmla="*/ 154305 w 1346306"/>
                    <a:gd name="connsiteY19"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0 w 1346306"/>
                    <a:gd name="connsiteY18" fmla="*/ 763905 h 1999321"/>
                    <a:gd name="connsiteX19" fmla="*/ 154305 w 1346306"/>
                    <a:gd name="connsiteY19"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235584 w 1346306"/>
                    <a:gd name="connsiteY18" fmla="*/ 1095373 h 1999321"/>
                    <a:gd name="connsiteX19" fmla="*/ 0 w 1346306"/>
                    <a:gd name="connsiteY19" fmla="*/ 763905 h 1999321"/>
                    <a:gd name="connsiteX20" fmla="*/ 154305 w 1346306"/>
                    <a:gd name="connsiteY20"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0 w 1346306"/>
                    <a:gd name="connsiteY19" fmla="*/ 763905 h 1999321"/>
                    <a:gd name="connsiteX20" fmla="*/ 154305 w 1346306"/>
                    <a:gd name="connsiteY20"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2259 w 1346306"/>
                    <a:gd name="connsiteY19" fmla="*/ 1384933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2259 w 1346306"/>
                    <a:gd name="connsiteY19" fmla="*/ 146303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448944 w 1346306"/>
                    <a:gd name="connsiteY19" fmla="*/ 136016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0 w 1346306"/>
                    <a:gd name="connsiteY20" fmla="*/ 763905 h 1999321"/>
                    <a:gd name="connsiteX21" fmla="*/ 154305 w 1346306"/>
                    <a:gd name="connsiteY21"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307974 w 1346306"/>
                    <a:gd name="connsiteY20" fmla="*/ 1470658 h 1999321"/>
                    <a:gd name="connsiteX21" fmla="*/ 0 w 1346306"/>
                    <a:gd name="connsiteY21" fmla="*/ 763905 h 1999321"/>
                    <a:gd name="connsiteX22" fmla="*/ 154305 w 1346306"/>
                    <a:gd name="connsiteY22"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307974 w 1346306"/>
                    <a:gd name="connsiteY20" fmla="*/ 1470658 h 1999321"/>
                    <a:gd name="connsiteX21" fmla="*/ 313689 w 1346306"/>
                    <a:gd name="connsiteY21" fmla="*/ 1468753 h 1999321"/>
                    <a:gd name="connsiteX22" fmla="*/ 0 w 1346306"/>
                    <a:gd name="connsiteY22" fmla="*/ 763905 h 1999321"/>
                    <a:gd name="connsiteX23" fmla="*/ 154305 w 1346306"/>
                    <a:gd name="connsiteY23"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307974 w 1346306"/>
                    <a:gd name="connsiteY20" fmla="*/ 1470658 h 1999321"/>
                    <a:gd name="connsiteX21" fmla="*/ 3174 w 1346306"/>
                    <a:gd name="connsiteY21" fmla="*/ 1712593 h 1999321"/>
                    <a:gd name="connsiteX22" fmla="*/ 0 w 1346306"/>
                    <a:gd name="connsiteY22" fmla="*/ 763905 h 1999321"/>
                    <a:gd name="connsiteX23" fmla="*/ 154305 w 1346306"/>
                    <a:gd name="connsiteY23"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258444 w 1346306"/>
                    <a:gd name="connsiteY20" fmla="*/ 1630678 h 1999321"/>
                    <a:gd name="connsiteX21" fmla="*/ 3174 w 1346306"/>
                    <a:gd name="connsiteY21" fmla="*/ 1712593 h 1999321"/>
                    <a:gd name="connsiteX22" fmla="*/ 0 w 1346306"/>
                    <a:gd name="connsiteY22" fmla="*/ 763905 h 1999321"/>
                    <a:gd name="connsiteX23" fmla="*/ 154305 w 1346306"/>
                    <a:gd name="connsiteY23" fmla="*/ 97155 h 1999321"/>
                    <a:gd name="connsiteX0" fmla="*/ 154305 w 1346306"/>
                    <a:gd name="connsiteY0" fmla="*/ 97155 h 1999321"/>
                    <a:gd name="connsiteX1" fmla="*/ 252729 w 1346306"/>
                    <a:gd name="connsiteY1" fmla="*/ 0 h 1999321"/>
                    <a:gd name="connsiteX2" fmla="*/ 622935 w 1346306"/>
                    <a:gd name="connsiteY2" fmla="*/ 83820 h 1999321"/>
                    <a:gd name="connsiteX3" fmla="*/ 666750 w 1346306"/>
                    <a:gd name="connsiteY3" fmla="*/ 230505 h 1999321"/>
                    <a:gd name="connsiteX4" fmla="*/ 923290 w 1346306"/>
                    <a:gd name="connsiteY4" fmla="*/ 527685 h 1999321"/>
                    <a:gd name="connsiteX5" fmla="*/ 1290955 w 1346306"/>
                    <a:gd name="connsiteY5" fmla="*/ 634365 h 1999321"/>
                    <a:gd name="connsiteX6" fmla="*/ 1134745 w 1346306"/>
                    <a:gd name="connsiteY6" fmla="*/ 840105 h 1999321"/>
                    <a:gd name="connsiteX7" fmla="*/ 1061085 w 1346306"/>
                    <a:gd name="connsiteY7" fmla="*/ 847725 h 1999321"/>
                    <a:gd name="connsiteX8" fmla="*/ 658494 w 1346306"/>
                    <a:gd name="connsiteY8" fmla="*/ 729614 h 1999321"/>
                    <a:gd name="connsiteX9" fmla="*/ 574674 w 1346306"/>
                    <a:gd name="connsiteY9" fmla="*/ 641984 h 1999321"/>
                    <a:gd name="connsiteX10" fmla="*/ 506094 w 1346306"/>
                    <a:gd name="connsiteY10" fmla="*/ 941069 h 1999321"/>
                    <a:gd name="connsiteX11" fmla="*/ 768984 w 1346306"/>
                    <a:gd name="connsiteY11" fmla="*/ 1383029 h 1999321"/>
                    <a:gd name="connsiteX12" fmla="*/ 734694 w 1346306"/>
                    <a:gd name="connsiteY12" fmla="*/ 1522094 h 1999321"/>
                    <a:gd name="connsiteX13" fmla="*/ 363219 w 1346306"/>
                    <a:gd name="connsiteY13" fmla="*/ 1979293 h 1999321"/>
                    <a:gd name="connsiteX14" fmla="*/ 187959 w 1346306"/>
                    <a:gd name="connsiteY14" fmla="*/ 1813558 h 1999321"/>
                    <a:gd name="connsiteX15" fmla="*/ 502284 w 1346306"/>
                    <a:gd name="connsiteY15" fmla="*/ 1423033 h 1999321"/>
                    <a:gd name="connsiteX16" fmla="*/ 323214 w 1346306"/>
                    <a:gd name="connsiteY16" fmla="*/ 1108708 h 1999321"/>
                    <a:gd name="connsiteX17" fmla="*/ 237489 w 1346306"/>
                    <a:gd name="connsiteY17" fmla="*/ 1095373 h 1999321"/>
                    <a:gd name="connsiteX18" fmla="*/ 309879 w 1346306"/>
                    <a:gd name="connsiteY18" fmla="*/ 1384933 h 1999321"/>
                    <a:gd name="connsiteX19" fmla="*/ 307974 w 1346306"/>
                    <a:gd name="connsiteY19" fmla="*/ 1470658 h 1999321"/>
                    <a:gd name="connsiteX20" fmla="*/ 121284 w 1346306"/>
                    <a:gd name="connsiteY20" fmla="*/ 1760218 h 1999321"/>
                    <a:gd name="connsiteX21" fmla="*/ 3174 w 1346306"/>
                    <a:gd name="connsiteY21" fmla="*/ 1712593 h 1999321"/>
                    <a:gd name="connsiteX22" fmla="*/ 0 w 1346306"/>
                    <a:gd name="connsiteY22" fmla="*/ 763905 h 1999321"/>
                    <a:gd name="connsiteX23" fmla="*/ 154305 w 1346306"/>
                    <a:gd name="connsiteY23" fmla="*/ 97155 h 1999321"/>
                    <a:gd name="connsiteX0" fmla="*/ 242571 w 1434572"/>
                    <a:gd name="connsiteY0" fmla="*/ 97155 h 1999321"/>
                    <a:gd name="connsiteX1" fmla="*/ 340995 w 1434572"/>
                    <a:gd name="connsiteY1" fmla="*/ 0 h 1999321"/>
                    <a:gd name="connsiteX2" fmla="*/ 711201 w 1434572"/>
                    <a:gd name="connsiteY2" fmla="*/ 83820 h 1999321"/>
                    <a:gd name="connsiteX3" fmla="*/ 755016 w 1434572"/>
                    <a:gd name="connsiteY3" fmla="*/ 230505 h 1999321"/>
                    <a:gd name="connsiteX4" fmla="*/ 1011556 w 1434572"/>
                    <a:gd name="connsiteY4" fmla="*/ 527685 h 1999321"/>
                    <a:gd name="connsiteX5" fmla="*/ 1379221 w 1434572"/>
                    <a:gd name="connsiteY5" fmla="*/ 634365 h 1999321"/>
                    <a:gd name="connsiteX6" fmla="*/ 1223011 w 1434572"/>
                    <a:gd name="connsiteY6" fmla="*/ 840105 h 1999321"/>
                    <a:gd name="connsiteX7" fmla="*/ 1149351 w 1434572"/>
                    <a:gd name="connsiteY7" fmla="*/ 847725 h 1999321"/>
                    <a:gd name="connsiteX8" fmla="*/ 746760 w 1434572"/>
                    <a:gd name="connsiteY8" fmla="*/ 729614 h 1999321"/>
                    <a:gd name="connsiteX9" fmla="*/ 662940 w 1434572"/>
                    <a:gd name="connsiteY9" fmla="*/ 641984 h 1999321"/>
                    <a:gd name="connsiteX10" fmla="*/ 594360 w 1434572"/>
                    <a:gd name="connsiteY10" fmla="*/ 941069 h 1999321"/>
                    <a:gd name="connsiteX11" fmla="*/ 857250 w 1434572"/>
                    <a:gd name="connsiteY11" fmla="*/ 1383029 h 1999321"/>
                    <a:gd name="connsiteX12" fmla="*/ 822960 w 1434572"/>
                    <a:gd name="connsiteY12" fmla="*/ 1522094 h 1999321"/>
                    <a:gd name="connsiteX13" fmla="*/ 451485 w 1434572"/>
                    <a:gd name="connsiteY13" fmla="*/ 1979293 h 1999321"/>
                    <a:gd name="connsiteX14" fmla="*/ 276225 w 1434572"/>
                    <a:gd name="connsiteY14" fmla="*/ 1813558 h 1999321"/>
                    <a:gd name="connsiteX15" fmla="*/ 590550 w 1434572"/>
                    <a:gd name="connsiteY15" fmla="*/ 1423033 h 1999321"/>
                    <a:gd name="connsiteX16" fmla="*/ 411480 w 1434572"/>
                    <a:gd name="connsiteY16" fmla="*/ 1108708 h 1999321"/>
                    <a:gd name="connsiteX17" fmla="*/ 325755 w 1434572"/>
                    <a:gd name="connsiteY17" fmla="*/ 1095373 h 1999321"/>
                    <a:gd name="connsiteX18" fmla="*/ 398145 w 1434572"/>
                    <a:gd name="connsiteY18" fmla="*/ 1384933 h 1999321"/>
                    <a:gd name="connsiteX19" fmla="*/ 396240 w 1434572"/>
                    <a:gd name="connsiteY19" fmla="*/ 1470658 h 1999321"/>
                    <a:gd name="connsiteX20" fmla="*/ 0 w 1434572"/>
                    <a:gd name="connsiteY20" fmla="*/ 1967863 h 1999321"/>
                    <a:gd name="connsiteX21" fmla="*/ 91440 w 1434572"/>
                    <a:gd name="connsiteY21" fmla="*/ 1712593 h 1999321"/>
                    <a:gd name="connsiteX22" fmla="*/ 88266 w 1434572"/>
                    <a:gd name="connsiteY22" fmla="*/ 763905 h 1999321"/>
                    <a:gd name="connsiteX23" fmla="*/ 242571 w 1434572"/>
                    <a:gd name="connsiteY23" fmla="*/ 97155 h 1999321"/>
                    <a:gd name="connsiteX0" fmla="*/ 410211 w 1602212"/>
                    <a:gd name="connsiteY0" fmla="*/ 97155 h 1999321"/>
                    <a:gd name="connsiteX1" fmla="*/ 508635 w 1602212"/>
                    <a:gd name="connsiteY1" fmla="*/ 0 h 1999321"/>
                    <a:gd name="connsiteX2" fmla="*/ 878841 w 1602212"/>
                    <a:gd name="connsiteY2" fmla="*/ 83820 h 1999321"/>
                    <a:gd name="connsiteX3" fmla="*/ 922656 w 1602212"/>
                    <a:gd name="connsiteY3" fmla="*/ 230505 h 1999321"/>
                    <a:gd name="connsiteX4" fmla="*/ 1179196 w 1602212"/>
                    <a:gd name="connsiteY4" fmla="*/ 527685 h 1999321"/>
                    <a:gd name="connsiteX5" fmla="*/ 1546861 w 1602212"/>
                    <a:gd name="connsiteY5" fmla="*/ 634365 h 1999321"/>
                    <a:gd name="connsiteX6" fmla="*/ 1390651 w 1602212"/>
                    <a:gd name="connsiteY6" fmla="*/ 840105 h 1999321"/>
                    <a:gd name="connsiteX7" fmla="*/ 1316991 w 1602212"/>
                    <a:gd name="connsiteY7" fmla="*/ 847725 h 1999321"/>
                    <a:gd name="connsiteX8" fmla="*/ 914400 w 1602212"/>
                    <a:gd name="connsiteY8" fmla="*/ 729614 h 1999321"/>
                    <a:gd name="connsiteX9" fmla="*/ 830580 w 1602212"/>
                    <a:gd name="connsiteY9" fmla="*/ 641984 h 1999321"/>
                    <a:gd name="connsiteX10" fmla="*/ 762000 w 1602212"/>
                    <a:gd name="connsiteY10" fmla="*/ 941069 h 1999321"/>
                    <a:gd name="connsiteX11" fmla="*/ 1024890 w 1602212"/>
                    <a:gd name="connsiteY11" fmla="*/ 1383029 h 1999321"/>
                    <a:gd name="connsiteX12" fmla="*/ 990600 w 1602212"/>
                    <a:gd name="connsiteY12" fmla="*/ 1522094 h 1999321"/>
                    <a:gd name="connsiteX13" fmla="*/ 619125 w 1602212"/>
                    <a:gd name="connsiteY13" fmla="*/ 1979293 h 1999321"/>
                    <a:gd name="connsiteX14" fmla="*/ 443865 w 1602212"/>
                    <a:gd name="connsiteY14" fmla="*/ 1813558 h 1999321"/>
                    <a:gd name="connsiteX15" fmla="*/ 758190 w 1602212"/>
                    <a:gd name="connsiteY15" fmla="*/ 1423033 h 1999321"/>
                    <a:gd name="connsiteX16" fmla="*/ 579120 w 1602212"/>
                    <a:gd name="connsiteY16" fmla="*/ 1108708 h 1999321"/>
                    <a:gd name="connsiteX17" fmla="*/ 493395 w 1602212"/>
                    <a:gd name="connsiteY17" fmla="*/ 1095373 h 1999321"/>
                    <a:gd name="connsiteX18" fmla="*/ 565785 w 1602212"/>
                    <a:gd name="connsiteY18" fmla="*/ 1384933 h 1999321"/>
                    <a:gd name="connsiteX19" fmla="*/ 563880 w 1602212"/>
                    <a:gd name="connsiteY19" fmla="*/ 1470658 h 1999321"/>
                    <a:gd name="connsiteX20" fmla="*/ 167640 w 1602212"/>
                    <a:gd name="connsiteY20" fmla="*/ 1967863 h 1999321"/>
                    <a:gd name="connsiteX21" fmla="*/ 0 w 1602212"/>
                    <a:gd name="connsiteY21" fmla="*/ 1794508 h 1999321"/>
                    <a:gd name="connsiteX22" fmla="*/ 255906 w 1602212"/>
                    <a:gd name="connsiteY22" fmla="*/ 763905 h 1999321"/>
                    <a:gd name="connsiteX23" fmla="*/ 410211 w 1602212"/>
                    <a:gd name="connsiteY23" fmla="*/ 97155 h 1999321"/>
                    <a:gd name="connsiteX0" fmla="*/ 430572 w 1622573"/>
                    <a:gd name="connsiteY0" fmla="*/ 97155 h 1999321"/>
                    <a:gd name="connsiteX1" fmla="*/ 528996 w 1622573"/>
                    <a:gd name="connsiteY1" fmla="*/ 0 h 1999321"/>
                    <a:gd name="connsiteX2" fmla="*/ 899202 w 1622573"/>
                    <a:gd name="connsiteY2" fmla="*/ 83820 h 1999321"/>
                    <a:gd name="connsiteX3" fmla="*/ 943017 w 1622573"/>
                    <a:gd name="connsiteY3" fmla="*/ 230505 h 1999321"/>
                    <a:gd name="connsiteX4" fmla="*/ 1199557 w 1622573"/>
                    <a:gd name="connsiteY4" fmla="*/ 527685 h 1999321"/>
                    <a:gd name="connsiteX5" fmla="*/ 1567222 w 1622573"/>
                    <a:gd name="connsiteY5" fmla="*/ 634365 h 1999321"/>
                    <a:gd name="connsiteX6" fmla="*/ 1411012 w 1622573"/>
                    <a:gd name="connsiteY6" fmla="*/ 840105 h 1999321"/>
                    <a:gd name="connsiteX7" fmla="*/ 1337352 w 1622573"/>
                    <a:gd name="connsiteY7" fmla="*/ 847725 h 1999321"/>
                    <a:gd name="connsiteX8" fmla="*/ 934761 w 1622573"/>
                    <a:gd name="connsiteY8" fmla="*/ 729614 h 1999321"/>
                    <a:gd name="connsiteX9" fmla="*/ 850941 w 1622573"/>
                    <a:gd name="connsiteY9" fmla="*/ 641984 h 1999321"/>
                    <a:gd name="connsiteX10" fmla="*/ 782361 w 1622573"/>
                    <a:gd name="connsiteY10" fmla="*/ 941069 h 1999321"/>
                    <a:gd name="connsiteX11" fmla="*/ 1045251 w 1622573"/>
                    <a:gd name="connsiteY11" fmla="*/ 1383029 h 1999321"/>
                    <a:gd name="connsiteX12" fmla="*/ 1010961 w 1622573"/>
                    <a:gd name="connsiteY12" fmla="*/ 1522094 h 1999321"/>
                    <a:gd name="connsiteX13" fmla="*/ 639486 w 1622573"/>
                    <a:gd name="connsiteY13" fmla="*/ 1979293 h 1999321"/>
                    <a:gd name="connsiteX14" fmla="*/ 464226 w 1622573"/>
                    <a:gd name="connsiteY14" fmla="*/ 1813558 h 1999321"/>
                    <a:gd name="connsiteX15" fmla="*/ 778551 w 1622573"/>
                    <a:gd name="connsiteY15" fmla="*/ 1423033 h 1999321"/>
                    <a:gd name="connsiteX16" fmla="*/ 599481 w 1622573"/>
                    <a:gd name="connsiteY16" fmla="*/ 1108708 h 1999321"/>
                    <a:gd name="connsiteX17" fmla="*/ 513756 w 1622573"/>
                    <a:gd name="connsiteY17" fmla="*/ 1095373 h 1999321"/>
                    <a:gd name="connsiteX18" fmla="*/ 586146 w 1622573"/>
                    <a:gd name="connsiteY18" fmla="*/ 1384933 h 1999321"/>
                    <a:gd name="connsiteX19" fmla="*/ 584241 w 1622573"/>
                    <a:gd name="connsiteY19" fmla="*/ 1470658 h 1999321"/>
                    <a:gd name="connsiteX20" fmla="*/ 188001 w 1622573"/>
                    <a:gd name="connsiteY20" fmla="*/ 1967863 h 1999321"/>
                    <a:gd name="connsiteX21" fmla="*/ 20361 w 1622573"/>
                    <a:gd name="connsiteY21" fmla="*/ 1794508 h 1999321"/>
                    <a:gd name="connsiteX22" fmla="*/ 276267 w 1622573"/>
                    <a:gd name="connsiteY22" fmla="*/ 763905 h 1999321"/>
                    <a:gd name="connsiteX23" fmla="*/ 430572 w 1622573"/>
                    <a:gd name="connsiteY23" fmla="*/ 97155 h 1999321"/>
                    <a:gd name="connsiteX0" fmla="*/ 437624 w 1629625"/>
                    <a:gd name="connsiteY0" fmla="*/ 97155 h 1999321"/>
                    <a:gd name="connsiteX1" fmla="*/ 536048 w 1629625"/>
                    <a:gd name="connsiteY1" fmla="*/ 0 h 1999321"/>
                    <a:gd name="connsiteX2" fmla="*/ 906254 w 1629625"/>
                    <a:gd name="connsiteY2" fmla="*/ 83820 h 1999321"/>
                    <a:gd name="connsiteX3" fmla="*/ 950069 w 1629625"/>
                    <a:gd name="connsiteY3" fmla="*/ 230505 h 1999321"/>
                    <a:gd name="connsiteX4" fmla="*/ 1206609 w 1629625"/>
                    <a:gd name="connsiteY4" fmla="*/ 527685 h 1999321"/>
                    <a:gd name="connsiteX5" fmla="*/ 1574274 w 1629625"/>
                    <a:gd name="connsiteY5" fmla="*/ 634365 h 1999321"/>
                    <a:gd name="connsiteX6" fmla="*/ 1418064 w 1629625"/>
                    <a:gd name="connsiteY6" fmla="*/ 840105 h 1999321"/>
                    <a:gd name="connsiteX7" fmla="*/ 1344404 w 1629625"/>
                    <a:gd name="connsiteY7" fmla="*/ 847725 h 1999321"/>
                    <a:gd name="connsiteX8" fmla="*/ 941813 w 1629625"/>
                    <a:gd name="connsiteY8" fmla="*/ 729614 h 1999321"/>
                    <a:gd name="connsiteX9" fmla="*/ 857993 w 1629625"/>
                    <a:gd name="connsiteY9" fmla="*/ 641984 h 1999321"/>
                    <a:gd name="connsiteX10" fmla="*/ 789413 w 1629625"/>
                    <a:gd name="connsiteY10" fmla="*/ 941069 h 1999321"/>
                    <a:gd name="connsiteX11" fmla="*/ 1052303 w 1629625"/>
                    <a:gd name="connsiteY11" fmla="*/ 1383029 h 1999321"/>
                    <a:gd name="connsiteX12" fmla="*/ 1018013 w 1629625"/>
                    <a:gd name="connsiteY12" fmla="*/ 1522094 h 1999321"/>
                    <a:gd name="connsiteX13" fmla="*/ 646538 w 1629625"/>
                    <a:gd name="connsiteY13" fmla="*/ 1979293 h 1999321"/>
                    <a:gd name="connsiteX14" fmla="*/ 471278 w 1629625"/>
                    <a:gd name="connsiteY14" fmla="*/ 1813558 h 1999321"/>
                    <a:gd name="connsiteX15" fmla="*/ 785603 w 1629625"/>
                    <a:gd name="connsiteY15" fmla="*/ 1423033 h 1999321"/>
                    <a:gd name="connsiteX16" fmla="*/ 606533 w 1629625"/>
                    <a:gd name="connsiteY16" fmla="*/ 1108708 h 1999321"/>
                    <a:gd name="connsiteX17" fmla="*/ 520808 w 1629625"/>
                    <a:gd name="connsiteY17" fmla="*/ 1095373 h 1999321"/>
                    <a:gd name="connsiteX18" fmla="*/ 593198 w 1629625"/>
                    <a:gd name="connsiteY18" fmla="*/ 1384933 h 1999321"/>
                    <a:gd name="connsiteX19" fmla="*/ 591293 w 1629625"/>
                    <a:gd name="connsiteY19" fmla="*/ 1470658 h 1999321"/>
                    <a:gd name="connsiteX20" fmla="*/ 195053 w 1629625"/>
                    <a:gd name="connsiteY20" fmla="*/ 1967863 h 1999321"/>
                    <a:gd name="connsiteX21" fmla="*/ 27413 w 1629625"/>
                    <a:gd name="connsiteY21" fmla="*/ 1794508 h 1999321"/>
                    <a:gd name="connsiteX22" fmla="*/ 283319 w 1629625"/>
                    <a:gd name="connsiteY22" fmla="*/ 763905 h 1999321"/>
                    <a:gd name="connsiteX23" fmla="*/ 437624 w 1629625"/>
                    <a:gd name="connsiteY23" fmla="*/ 97155 h 1999321"/>
                    <a:gd name="connsiteX0" fmla="*/ 437395 w 1629396"/>
                    <a:gd name="connsiteY0" fmla="*/ 97155 h 1999321"/>
                    <a:gd name="connsiteX1" fmla="*/ 535819 w 1629396"/>
                    <a:gd name="connsiteY1" fmla="*/ 0 h 1999321"/>
                    <a:gd name="connsiteX2" fmla="*/ 906025 w 1629396"/>
                    <a:gd name="connsiteY2" fmla="*/ 83820 h 1999321"/>
                    <a:gd name="connsiteX3" fmla="*/ 949840 w 1629396"/>
                    <a:gd name="connsiteY3" fmla="*/ 230505 h 1999321"/>
                    <a:gd name="connsiteX4" fmla="*/ 1206380 w 1629396"/>
                    <a:gd name="connsiteY4" fmla="*/ 527685 h 1999321"/>
                    <a:gd name="connsiteX5" fmla="*/ 1574045 w 1629396"/>
                    <a:gd name="connsiteY5" fmla="*/ 634365 h 1999321"/>
                    <a:gd name="connsiteX6" fmla="*/ 1417835 w 1629396"/>
                    <a:gd name="connsiteY6" fmla="*/ 840105 h 1999321"/>
                    <a:gd name="connsiteX7" fmla="*/ 1344175 w 1629396"/>
                    <a:gd name="connsiteY7" fmla="*/ 847725 h 1999321"/>
                    <a:gd name="connsiteX8" fmla="*/ 941584 w 1629396"/>
                    <a:gd name="connsiteY8" fmla="*/ 729614 h 1999321"/>
                    <a:gd name="connsiteX9" fmla="*/ 857764 w 1629396"/>
                    <a:gd name="connsiteY9" fmla="*/ 641984 h 1999321"/>
                    <a:gd name="connsiteX10" fmla="*/ 789184 w 1629396"/>
                    <a:gd name="connsiteY10" fmla="*/ 941069 h 1999321"/>
                    <a:gd name="connsiteX11" fmla="*/ 1052074 w 1629396"/>
                    <a:gd name="connsiteY11" fmla="*/ 1383029 h 1999321"/>
                    <a:gd name="connsiteX12" fmla="*/ 1017784 w 1629396"/>
                    <a:gd name="connsiteY12" fmla="*/ 1522094 h 1999321"/>
                    <a:gd name="connsiteX13" fmla="*/ 646309 w 1629396"/>
                    <a:gd name="connsiteY13" fmla="*/ 1979293 h 1999321"/>
                    <a:gd name="connsiteX14" fmla="*/ 471049 w 1629396"/>
                    <a:gd name="connsiteY14" fmla="*/ 1813558 h 1999321"/>
                    <a:gd name="connsiteX15" fmla="*/ 785374 w 1629396"/>
                    <a:gd name="connsiteY15" fmla="*/ 1423033 h 1999321"/>
                    <a:gd name="connsiteX16" fmla="*/ 606304 w 1629396"/>
                    <a:gd name="connsiteY16" fmla="*/ 1108708 h 1999321"/>
                    <a:gd name="connsiteX17" fmla="*/ 520579 w 1629396"/>
                    <a:gd name="connsiteY17" fmla="*/ 1095373 h 1999321"/>
                    <a:gd name="connsiteX18" fmla="*/ 592969 w 1629396"/>
                    <a:gd name="connsiteY18" fmla="*/ 1384933 h 1999321"/>
                    <a:gd name="connsiteX19" fmla="*/ 591064 w 1629396"/>
                    <a:gd name="connsiteY19" fmla="*/ 1470658 h 1999321"/>
                    <a:gd name="connsiteX20" fmla="*/ 194824 w 1629396"/>
                    <a:gd name="connsiteY20" fmla="*/ 1967863 h 1999321"/>
                    <a:gd name="connsiteX21" fmla="*/ 27184 w 1629396"/>
                    <a:gd name="connsiteY21" fmla="*/ 1794508 h 1999321"/>
                    <a:gd name="connsiteX22" fmla="*/ 283090 w 1629396"/>
                    <a:gd name="connsiteY22" fmla="*/ 763905 h 1999321"/>
                    <a:gd name="connsiteX23" fmla="*/ 437395 w 1629396"/>
                    <a:gd name="connsiteY23"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288564 w 1634870"/>
                    <a:gd name="connsiteY22" fmla="*/ 763905 h 1999321"/>
                    <a:gd name="connsiteX23" fmla="*/ 442869 w 1634870"/>
                    <a:gd name="connsiteY23"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288564 w 1634870"/>
                    <a:gd name="connsiteY22" fmla="*/ 763905 h 1999321"/>
                    <a:gd name="connsiteX23" fmla="*/ 286023 w 1634870"/>
                    <a:gd name="connsiteY23" fmla="*/ 769618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288564 w 1634870"/>
                    <a:gd name="connsiteY22" fmla="*/ 763905 h 1999321"/>
                    <a:gd name="connsiteX23" fmla="*/ 295548 w 1634870"/>
                    <a:gd name="connsiteY23" fmla="*/ 739138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95548 w 1634870"/>
                    <a:gd name="connsiteY23" fmla="*/ 739138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 name="connsiteX0" fmla="*/ 442869 w 1634870"/>
                    <a:gd name="connsiteY0" fmla="*/ 97155 h 1999321"/>
                    <a:gd name="connsiteX1" fmla="*/ 541293 w 1634870"/>
                    <a:gd name="connsiteY1" fmla="*/ 0 h 1999321"/>
                    <a:gd name="connsiteX2" fmla="*/ 911499 w 1634870"/>
                    <a:gd name="connsiteY2" fmla="*/ 83820 h 1999321"/>
                    <a:gd name="connsiteX3" fmla="*/ 955314 w 1634870"/>
                    <a:gd name="connsiteY3" fmla="*/ 230505 h 1999321"/>
                    <a:gd name="connsiteX4" fmla="*/ 1211854 w 1634870"/>
                    <a:gd name="connsiteY4" fmla="*/ 527685 h 1999321"/>
                    <a:gd name="connsiteX5" fmla="*/ 1579519 w 1634870"/>
                    <a:gd name="connsiteY5" fmla="*/ 634365 h 1999321"/>
                    <a:gd name="connsiteX6" fmla="*/ 1423309 w 1634870"/>
                    <a:gd name="connsiteY6" fmla="*/ 840105 h 1999321"/>
                    <a:gd name="connsiteX7" fmla="*/ 1349649 w 1634870"/>
                    <a:gd name="connsiteY7" fmla="*/ 847725 h 1999321"/>
                    <a:gd name="connsiteX8" fmla="*/ 947058 w 1634870"/>
                    <a:gd name="connsiteY8" fmla="*/ 729614 h 1999321"/>
                    <a:gd name="connsiteX9" fmla="*/ 863238 w 1634870"/>
                    <a:gd name="connsiteY9" fmla="*/ 641984 h 1999321"/>
                    <a:gd name="connsiteX10" fmla="*/ 794658 w 1634870"/>
                    <a:gd name="connsiteY10" fmla="*/ 941069 h 1999321"/>
                    <a:gd name="connsiteX11" fmla="*/ 1057548 w 1634870"/>
                    <a:gd name="connsiteY11" fmla="*/ 1383029 h 1999321"/>
                    <a:gd name="connsiteX12" fmla="*/ 1023258 w 1634870"/>
                    <a:gd name="connsiteY12" fmla="*/ 1522094 h 1999321"/>
                    <a:gd name="connsiteX13" fmla="*/ 651783 w 1634870"/>
                    <a:gd name="connsiteY13" fmla="*/ 1979293 h 1999321"/>
                    <a:gd name="connsiteX14" fmla="*/ 476523 w 1634870"/>
                    <a:gd name="connsiteY14" fmla="*/ 1813558 h 1999321"/>
                    <a:gd name="connsiteX15" fmla="*/ 790848 w 1634870"/>
                    <a:gd name="connsiteY15" fmla="*/ 1423033 h 1999321"/>
                    <a:gd name="connsiteX16" fmla="*/ 611778 w 1634870"/>
                    <a:gd name="connsiteY16" fmla="*/ 1108708 h 1999321"/>
                    <a:gd name="connsiteX17" fmla="*/ 526053 w 1634870"/>
                    <a:gd name="connsiteY17" fmla="*/ 1095373 h 1999321"/>
                    <a:gd name="connsiteX18" fmla="*/ 598443 w 1634870"/>
                    <a:gd name="connsiteY18" fmla="*/ 1384933 h 1999321"/>
                    <a:gd name="connsiteX19" fmla="*/ 596538 w 1634870"/>
                    <a:gd name="connsiteY19" fmla="*/ 1470658 h 1999321"/>
                    <a:gd name="connsiteX20" fmla="*/ 200298 w 1634870"/>
                    <a:gd name="connsiteY20" fmla="*/ 1967863 h 1999321"/>
                    <a:gd name="connsiteX21" fmla="*/ 32658 w 1634870"/>
                    <a:gd name="connsiteY21" fmla="*/ 1794508 h 1999321"/>
                    <a:gd name="connsiteX22" fmla="*/ 345714 w 1634870"/>
                    <a:gd name="connsiteY22" fmla="*/ 1396365 h 1999321"/>
                    <a:gd name="connsiteX23" fmla="*/ 238398 w 1634870"/>
                    <a:gd name="connsiteY23" fmla="*/ 1000123 h 1999321"/>
                    <a:gd name="connsiteX24" fmla="*/ 442869 w 1634870"/>
                    <a:gd name="connsiteY24" fmla="*/ 97155 h 199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34870" h="1999321">
                      <a:moveTo>
                        <a:pt x="442869" y="97155"/>
                      </a:moveTo>
                      <a:cubicBezTo>
                        <a:pt x="460437" y="15240"/>
                        <a:pt x="495150" y="3810"/>
                        <a:pt x="541293" y="0"/>
                      </a:cubicBezTo>
                      <a:lnTo>
                        <a:pt x="911499" y="83820"/>
                      </a:lnTo>
                      <a:cubicBezTo>
                        <a:pt x="992779" y="114300"/>
                        <a:pt x="969284" y="201930"/>
                        <a:pt x="955314" y="230505"/>
                      </a:cubicBezTo>
                      <a:lnTo>
                        <a:pt x="1211854" y="527685"/>
                      </a:lnTo>
                      <a:cubicBezTo>
                        <a:pt x="1338219" y="561340"/>
                        <a:pt x="1456964" y="598805"/>
                        <a:pt x="1579519" y="634365"/>
                      </a:cubicBezTo>
                      <a:cubicBezTo>
                        <a:pt x="1686834" y="706120"/>
                        <a:pt x="1639844" y="913130"/>
                        <a:pt x="1423309" y="840105"/>
                      </a:cubicBezTo>
                      <a:lnTo>
                        <a:pt x="1349649" y="847725"/>
                      </a:lnTo>
                      <a:lnTo>
                        <a:pt x="947058" y="729614"/>
                      </a:lnTo>
                      <a:lnTo>
                        <a:pt x="863238" y="641984"/>
                      </a:lnTo>
                      <a:lnTo>
                        <a:pt x="794658" y="941069"/>
                      </a:lnTo>
                      <a:lnTo>
                        <a:pt x="1057548" y="1383029"/>
                      </a:lnTo>
                      <a:cubicBezTo>
                        <a:pt x="1072788" y="1442719"/>
                        <a:pt x="1057548" y="1483359"/>
                        <a:pt x="1023258" y="1522094"/>
                      </a:cubicBezTo>
                      <a:lnTo>
                        <a:pt x="651783" y="1979293"/>
                      </a:lnTo>
                      <a:cubicBezTo>
                        <a:pt x="505733" y="2055493"/>
                        <a:pt x="416833" y="1895473"/>
                        <a:pt x="476523" y="1813558"/>
                      </a:cubicBezTo>
                      <a:lnTo>
                        <a:pt x="790848" y="1423033"/>
                      </a:lnTo>
                      <a:lnTo>
                        <a:pt x="611778" y="1108708"/>
                      </a:lnTo>
                      <a:lnTo>
                        <a:pt x="526053" y="1095373"/>
                      </a:lnTo>
                      <a:lnTo>
                        <a:pt x="598443" y="1384933"/>
                      </a:lnTo>
                      <a:cubicBezTo>
                        <a:pt x="613048" y="1413508"/>
                        <a:pt x="608603" y="1443988"/>
                        <a:pt x="596538" y="1470658"/>
                      </a:cubicBezTo>
                      <a:lnTo>
                        <a:pt x="200298" y="1967863"/>
                      </a:lnTo>
                      <a:cubicBezTo>
                        <a:pt x="72028" y="2056763"/>
                        <a:pt x="-63862" y="1905633"/>
                        <a:pt x="32658" y="1794508"/>
                      </a:cubicBezTo>
                      <a:lnTo>
                        <a:pt x="345714" y="1396365"/>
                      </a:lnTo>
                      <a:cubicBezTo>
                        <a:pt x="309942" y="1264284"/>
                        <a:pt x="257025" y="1109344"/>
                        <a:pt x="238398" y="1000123"/>
                      </a:cubicBezTo>
                      <a:cubicBezTo>
                        <a:pt x="270360" y="712469"/>
                        <a:pt x="376617" y="400049"/>
                        <a:pt x="442869" y="97155"/>
                      </a:cubicBez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grpSp>
          <p:nvGrpSpPr>
            <p:cNvPr id="11" name="Group 10"/>
            <p:cNvGrpSpPr/>
            <p:nvPr/>
          </p:nvGrpSpPr>
          <p:grpSpPr>
            <a:xfrm>
              <a:off x="2638086" y="2878487"/>
              <a:ext cx="3491911" cy="2668615"/>
              <a:chOff x="2638086" y="2878487"/>
              <a:chExt cx="3491911" cy="2668615"/>
            </a:xfrm>
          </p:grpSpPr>
          <p:grpSp>
            <p:nvGrpSpPr>
              <p:cNvPr id="12" name="Group 11"/>
              <p:cNvGrpSpPr/>
              <p:nvPr/>
            </p:nvGrpSpPr>
            <p:grpSpPr>
              <a:xfrm>
                <a:off x="2638086" y="2878487"/>
                <a:ext cx="3491911" cy="2668615"/>
                <a:chOff x="2638086" y="2878487"/>
                <a:chExt cx="3491911" cy="2668615"/>
              </a:xfrm>
            </p:grpSpPr>
            <p:sp>
              <p:nvSpPr>
                <p:cNvPr id="38" name="Freeform 37"/>
                <p:cNvSpPr/>
                <p:nvPr/>
              </p:nvSpPr>
              <p:spPr>
                <a:xfrm flipH="1">
                  <a:off x="3452771" y="4505056"/>
                  <a:ext cx="1041616"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9513 w 1542756"/>
                    <a:gd name="connsiteY18" fmla="*/ 1481497 h 1543391"/>
                    <a:gd name="connsiteX19" fmla="*/ 687979 w 1542756"/>
                    <a:gd name="connsiteY19" fmla="*/ 1459189 h 1543391"/>
                    <a:gd name="connsiteX20" fmla="*/ 754417 w 1542756"/>
                    <a:gd name="connsiteY20" fmla="*/ 1347735 h 1543391"/>
                    <a:gd name="connsiteX21" fmla="*/ 603727 w 1542756"/>
                    <a:gd name="connsiteY21" fmla="*/ 1213325 h 1543391"/>
                    <a:gd name="connsiteX22" fmla="*/ 457825 w 1542756"/>
                    <a:gd name="connsiteY22" fmla="*/ 1347735 h 1543391"/>
                    <a:gd name="connsiteX23" fmla="*/ 522614 w 1542756"/>
                    <a:gd name="connsiteY23" fmla="*/ 1456051 h 1543391"/>
                    <a:gd name="connsiteX24" fmla="*/ 530889 w 1542756"/>
                    <a:gd name="connsiteY24" fmla="*/ 1529038 h 1543391"/>
                    <a:gd name="connsiteX25" fmla="*/ 510900 w 1542756"/>
                    <a:gd name="connsiteY25" fmla="*/ 1543391 h 1543391"/>
                    <a:gd name="connsiteX26" fmla="*/ 0 w 1542756"/>
                    <a:gd name="connsiteY26" fmla="*/ 1543391 h 1543391"/>
                    <a:gd name="connsiteX27" fmla="*/ 0 w 1542756"/>
                    <a:gd name="connsiteY27" fmla="*/ 1030456 h 1543391"/>
                    <a:gd name="connsiteX28" fmla="*/ 14829 w 1542756"/>
                    <a:gd name="connsiteY28" fmla="*/ 1009804 h 1543391"/>
                    <a:gd name="connsiteX29" fmla="*/ 87734 w 1542756"/>
                    <a:gd name="connsiteY29" fmla="*/ 1012051 h 1543391"/>
                    <a:gd name="connsiteX30" fmla="*/ 196131 w 1542756"/>
                    <a:gd name="connsiteY30" fmla="*/ 1084601 h 1543391"/>
                    <a:gd name="connsiteX31" fmla="*/ 330541 w 1542756"/>
                    <a:gd name="connsiteY31" fmla="*/ 936966 h 1543391"/>
                    <a:gd name="connsiteX32" fmla="*/ 199188 w 1542756"/>
                    <a:gd name="connsiteY32" fmla="*/ 789332 h 1543391"/>
                    <a:gd name="connsiteX33" fmla="*/ 84678 w 1542756"/>
                    <a:gd name="connsiteY33" fmla="*/ 861881 h 1543391"/>
                    <a:gd name="connsiteX34" fmla="*/ 16002 w 1542756"/>
                    <a:gd name="connsiteY34" fmla="*/ 862694 h 1543391"/>
                    <a:gd name="connsiteX35" fmla="*/ 0 w 1542756"/>
                    <a:gd name="connsiteY35" fmla="*/ 841219 h 1543391"/>
                    <a:gd name="connsiteX36" fmla="*/ 0 w 1542756"/>
                    <a:gd name="connsiteY36" fmla="*/ 330541 h 1543391"/>
                    <a:gd name="connsiteX37" fmla="*/ 510238 w 1542756"/>
                    <a:gd name="connsiteY37" fmla="*/ 330541 h 1543391"/>
                    <a:gd name="connsiteX38" fmla="*/ 530889 w 1542756"/>
                    <a:gd name="connsiteY38" fmla="*/ 315713 h 1543391"/>
                    <a:gd name="connsiteX39" fmla="*/ 519475 w 1542756"/>
                    <a:gd name="connsiteY39" fmla="*/ 245864 h 1543391"/>
                    <a:gd name="connsiteX40" fmla="*/ 453037 w 1542756"/>
                    <a:gd name="connsiteY40" fmla="*/ 134410 h 1543391"/>
                    <a:gd name="connsiteX41" fmla="*/ 603727 w 1542756"/>
                    <a:gd name="connsiteY4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9513 w 1542756"/>
                    <a:gd name="connsiteY18" fmla="*/ 1481497 h 1543391"/>
                    <a:gd name="connsiteX19" fmla="*/ 687979 w 1542756"/>
                    <a:gd name="connsiteY19" fmla="*/ 1459189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9513 w 1542756"/>
                    <a:gd name="connsiteY18" fmla="*/ 1481497 h 1543391"/>
                    <a:gd name="connsiteX19" fmla="*/ 687979 w 1542756"/>
                    <a:gd name="connsiteY19" fmla="*/ 1459189 h 1543391"/>
                    <a:gd name="connsiteX20" fmla="*/ 457825 w 1542756"/>
                    <a:gd name="connsiteY20" fmla="*/ 1347735 h 1543391"/>
                    <a:gd name="connsiteX21" fmla="*/ 522614 w 1542756"/>
                    <a:gd name="connsiteY21" fmla="*/ 1456051 h 1543391"/>
                    <a:gd name="connsiteX22" fmla="*/ 530889 w 1542756"/>
                    <a:gd name="connsiteY22" fmla="*/ 1529038 h 1543391"/>
                    <a:gd name="connsiteX23" fmla="*/ 510900 w 1542756"/>
                    <a:gd name="connsiteY23" fmla="*/ 1543391 h 1543391"/>
                    <a:gd name="connsiteX24" fmla="*/ 0 w 1542756"/>
                    <a:gd name="connsiteY24" fmla="*/ 1543391 h 1543391"/>
                    <a:gd name="connsiteX25" fmla="*/ 0 w 1542756"/>
                    <a:gd name="connsiteY25" fmla="*/ 1030456 h 1543391"/>
                    <a:gd name="connsiteX26" fmla="*/ 14829 w 1542756"/>
                    <a:gd name="connsiteY26" fmla="*/ 1009804 h 1543391"/>
                    <a:gd name="connsiteX27" fmla="*/ 87734 w 1542756"/>
                    <a:gd name="connsiteY27" fmla="*/ 1012051 h 1543391"/>
                    <a:gd name="connsiteX28" fmla="*/ 196131 w 1542756"/>
                    <a:gd name="connsiteY28" fmla="*/ 1084601 h 1543391"/>
                    <a:gd name="connsiteX29" fmla="*/ 330541 w 1542756"/>
                    <a:gd name="connsiteY29" fmla="*/ 936966 h 1543391"/>
                    <a:gd name="connsiteX30" fmla="*/ 199188 w 1542756"/>
                    <a:gd name="connsiteY30" fmla="*/ 789332 h 1543391"/>
                    <a:gd name="connsiteX31" fmla="*/ 84678 w 1542756"/>
                    <a:gd name="connsiteY31" fmla="*/ 861881 h 1543391"/>
                    <a:gd name="connsiteX32" fmla="*/ 16002 w 1542756"/>
                    <a:gd name="connsiteY32" fmla="*/ 862694 h 1543391"/>
                    <a:gd name="connsiteX33" fmla="*/ 0 w 1542756"/>
                    <a:gd name="connsiteY33" fmla="*/ 841219 h 1543391"/>
                    <a:gd name="connsiteX34" fmla="*/ 0 w 1542756"/>
                    <a:gd name="connsiteY34" fmla="*/ 330541 h 1543391"/>
                    <a:gd name="connsiteX35" fmla="*/ 510238 w 1542756"/>
                    <a:gd name="connsiteY35" fmla="*/ 330541 h 1543391"/>
                    <a:gd name="connsiteX36" fmla="*/ 530889 w 1542756"/>
                    <a:gd name="connsiteY36" fmla="*/ 315713 h 1543391"/>
                    <a:gd name="connsiteX37" fmla="*/ 519475 w 1542756"/>
                    <a:gd name="connsiteY37" fmla="*/ 245864 h 1543391"/>
                    <a:gd name="connsiteX38" fmla="*/ 453037 w 1542756"/>
                    <a:gd name="connsiteY38" fmla="*/ 134410 h 1543391"/>
                    <a:gd name="connsiteX39" fmla="*/ 603727 w 1542756"/>
                    <a:gd name="connsiteY39"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9513 w 1542756"/>
                    <a:gd name="connsiteY18" fmla="*/ 1481497 h 1543391"/>
                    <a:gd name="connsiteX19" fmla="*/ 687979 w 1542756"/>
                    <a:gd name="connsiteY19" fmla="*/ 1459189 h 1543391"/>
                    <a:gd name="connsiteX20" fmla="*/ 522614 w 1542756"/>
                    <a:gd name="connsiteY20" fmla="*/ 1456051 h 1543391"/>
                    <a:gd name="connsiteX21" fmla="*/ 530889 w 1542756"/>
                    <a:gd name="connsiteY21" fmla="*/ 1529038 h 1543391"/>
                    <a:gd name="connsiteX22" fmla="*/ 510900 w 1542756"/>
                    <a:gd name="connsiteY22" fmla="*/ 1543391 h 1543391"/>
                    <a:gd name="connsiteX23" fmla="*/ 0 w 1542756"/>
                    <a:gd name="connsiteY23" fmla="*/ 1543391 h 1543391"/>
                    <a:gd name="connsiteX24" fmla="*/ 0 w 1542756"/>
                    <a:gd name="connsiteY24" fmla="*/ 1030456 h 1543391"/>
                    <a:gd name="connsiteX25" fmla="*/ 14829 w 1542756"/>
                    <a:gd name="connsiteY25" fmla="*/ 1009804 h 1543391"/>
                    <a:gd name="connsiteX26" fmla="*/ 87734 w 1542756"/>
                    <a:gd name="connsiteY26" fmla="*/ 1012051 h 1543391"/>
                    <a:gd name="connsiteX27" fmla="*/ 196131 w 1542756"/>
                    <a:gd name="connsiteY27" fmla="*/ 1084601 h 1543391"/>
                    <a:gd name="connsiteX28" fmla="*/ 330541 w 1542756"/>
                    <a:gd name="connsiteY28" fmla="*/ 936966 h 1543391"/>
                    <a:gd name="connsiteX29" fmla="*/ 199188 w 1542756"/>
                    <a:gd name="connsiteY29" fmla="*/ 789332 h 1543391"/>
                    <a:gd name="connsiteX30" fmla="*/ 84678 w 1542756"/>
                    <a:gd name="connsiteY30" fmla="*/ 861881 h 1543391"/>
                    <a:gd name="connsiteX31" fmla="*/ 16002 w 1542756"/>
                    <a:gd name="connsiteY31" fmla="*/ 862694 h 1543391"/>
                    <a:gd name="connsiteX32" fmla="*/ 0 w 1542756"/>
                    <a:gd name="connsiteY32" fmla="*/ 841219 h 1543391"/>
                    <a:gd name="connsiteX33" fmla="*/ 0 w 1542756"/>
                    <a:gd name="connsiteY33" fmla="*/ 330541 h 1543391"/>
                    <a:gd name="connsiteX34" fmla="*/ 510238 w 1542756"/>
                    <a:gd name="connsiteY34" fmla="*/ 330541 h 1543391"/>
                    <a:gd name="connsiteX35" fmla="*/ 530889 w 1542756"/>
                    <a:gd name="connsiteY35" fmla="*/ 315713 h 1543391"/>
                    <a:gd name="connsiteX36" fmla="*/ 519475 w 1542756"/>
                    <a:gd name="connsiteY36" fmla="*/ 245864 h 1543391"/>
                    <a:gd name="connsiteX37" fmla="*/ 453037 w 1542756"/>
                    <a:gd name="connsiteY37" fmla="*/ 134410 h 1543391"/>
                    <a:gd name="connsiteX38" fmla="*/ 603727 w 1542756"/>
                    <a:gd name="connsiteY38"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9513 w 1542756"/>
                    <a:gd name="connsiteY18" fmla="*/ 1481497 h 1543391"/>
                    <a:gd name="connsiteX19" fmla="*/ 687979 w 1542756"/>
                    <a:gd name="connsiteY19" fmla="*/ 1459189 h 1543391"/>
                    <a:gd name="connsiteX20" fmla="*/ 530889 w 1542756"/>
                    <a:gd name="connsiteY20" fmla="*/ 1529038 h 1543391"/>
                    <a:gd name="connsiteX21" fmla="*/ 510900 w 1542756"/>
                    <a:gd name="connsiteY21" fmla="*/ 1543391 h 1543391"/>
                    <a:gd name="connsiteX22" fmla="*/ 0 w 1542756"/>
                    <a:gd name="connsiteY22" fmla="*/ 1543391 h 1543391"/>
                    <a:gd name="connsiteX23" fmla="*/ 0 w 1542756"/>
                    <a:gd name="connsiteY23" fmla="*/ 1030456 h 1543391"/>
                    <a:gd name="connsiteX24" fmla="*/ 14829 w 1542756"/>
                    <a:gd name="connsiteY24" fmla="*/ 1009804 h 1543391"/>
                    <a:gd name="connsiteX25" fmla="*/ 87734 w 1542756"/>
                    <a:gd name="connsiteY25" fmla="*/ 1012051 h 1543391"/>
                    <a:gd name="connsiteX26" fmla="*/ 196131 w 1542756"/>
                    <a:gd name="connsiteY26" fmla="*/ 1084601 h 1543391"/>
                    <a:gd name="connsiteX27" fmla="*/ 330541 w 1542756"/>
                    <a:gd name="connsiteY27" fmla="*/ 936966 h 1543391"/>
                    <a:gd name="connsiteX28" fmla="*/ 199188 w 1542756"/>
                    <a:gd name="connsiteY28" fmla="*/ 789332 h 1543391"/>
                    <a:gd name="connsiteX29" fmla="*/ 84678 w 1542756"/>
                    <a:gd name="connsiteY29" fmla="*/ 861881 h 1543391"/>
                    <a:gd name="connsiteX30" fmla="*/ 16002 w 1542756"/>
                    <a:gd name="connsiteY30" fmla="*/ 862694 h 1543391"/>
                    <a:gd name="connsiteX31" fmla="*/ 0 w 1542756"/>
                    <a:gd name="connsiteY31" fmla="*/ 841219 h 1543391"/>
                    <a:gd name="connsiteX32" fmla="*/ 0 w 1542756"/>
                    <a:gd name="connsiteY32" fmla="*/ 330541 h 1543391"/>
                    <a:gd name="connsiteX33" fmla="*/ 510238 w 1542756"/>
                    <a:gd name="connsiteY33" fmla="*/ 330541 h 1543391"/>
                    <a:gd name="connsiteX34" fmla="*/ 530889 w 1542756"/>
                    <a:gd name="connsiteY34" fmla="*/ 315713 h 1543391"/>
                    <a:gd name="connsiteX35" fmla="*/ 519475 w 1542756"/>
                    <a:gd name="connsiteY35" fmla="*/ 245864 h 1543391"/>
                    <a:gd name="connsiteX36" fmla="*/ 453037 w 1542756"/>
                    <a:gd name="connsiteY36" fmla="*/ 134410 h 1543391"/>
                    <a:gd name="connsiteX37" fmla="*/ 603727 w 1542756"/>
                    <a:gd name="connsiteY37"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9513 w 1542756"/>
                    <a:gd name="connsiteY18" fmla="*/ 1481497 h 1543391"/>
                    <a:gd name="connsiteX19" fmla="*/ 530889 w 1542756"/>
                    <a:gd name="connsiteY19" fmla="*/ 1529038 h 1543391"/>
                    <a:gd name="connsiteX20" fmla="*/ 510900 w 1542756"/>
                    <a:gd name="connsiteY20" fmla="*/ 1543391 h 1543391"/>
                    <a:gd name="connsiteX21" fmla="*/ 0 w 1542756"/>
                    <a:gd name="connsiteY21" fmla="*/ 1543391 h 1543391"/>
                    <a:gd name="connsiteX22" fmla="*/ 0 w 1542756"/>
                    <a:gd name="connsiteY22" fmla="*/ 1030456 h 1543391"/>
                    <a:gd name="connsiteX23" fmla="*/ 14829 w 1542756"/>
                    <a:gd name="connsiteY23" fmla="*/ 1009804 h 1543391"/>
                    <a:gd name="connsiteX24" fmla="*/ 87734 w 1542756"/>
                    <a:gd name="connsiteY24" fmla="*/ 1012051 h 1543391"/>
                    <a:gd name="connsiteX25" fmla="*/ 196131 w 1542756"/>
                    <a:gd name="connsiteY25" fmla="*/ 1084601 h 1543391"/>
                    <a:gd name="connsiteX26" fmla="*/ 330541 w 1542756"/>
                    <a:gd name="connsiteY26" fmla="*/ 936966 h 1543391"/>
                    <a:gd name="connsiteX27" fmla="*/ 199188 w 1542756"/>
                    <a:gd name="connsiteY27" fmla="*/ 789332 h 1543391"/>
                    <a:gd name="connsiteX28" fmla="*/ 84678 w 1542756"/>
                    <a:gd name="connsiteY28" fmla="*/ 861881 h 1543391"/>
                    <a:gd name="connsiteX29" fmla="*/ 16002 w 1542756"/>
                    <a:gd name="connsiteY29" fmla="*/ 862694 h 1543391"/>
                    <a:gd name="connsiteX30" fmla="*/ 0 w 1542756"/>
                    <a:gd name="connsiteY30" fmla="*/ 841219 h 1543391"/>
                    <a:gd name="connsiteX31" fmla="*/ 0 w 1542756"/>
                    <a:gd name="connsiteY31" fmla="*/ 330541 h 1543391"/>
                    <a:gd name="connsiteX32" fmla="*/ 510238 w 1542756"/>
                    <a:gd name="connsiteY32" fmla="*/ 330541 h 1543391"/>
                    <a:gd name="connsiteX33" fmla="*/ 530889 w 1542756"/>
                    <a:gd name="connsiteY33" fmla="*/ 315713 h 1543391"/>
                    <a:gd name="connsiteX34" fmla="*/ 519475 w 1542756"/>
                    <a:gd name="connsiteY34" fmla="*/ 245864 h 1543391"/>
                    <a:gd name="connsiteX35" fmla="*/ 453037 w 1542756"/>
                    <a:gd name="connsiteY35" fmla="*/ 134410 h 1543391"/>
                    <a:gd name="connsiteX36" fmla="*/ 603727 w 1542756"/>
                    <a:gd name="connsiteY36"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530889 w 1542756"/>
                    <a:gd name="connsiteY18" fmla="*/ 1529038 h 1543391"/>
                    <a:gd name="connsiteX19" fmla="*/ 510900 w 1542756"/>
                    <a:gd name="connsiteY19" fmla="*/ 1543391 h 1543391"/>
                    <a:gd name="connsiteX20" fmla="*/ 0 w 1542756"/>
                    <a:gd name="connsiteY20" fmla="*/ 1543391 h 1543391"/>
                    <a:gd name="connsiteX21" fmla="*/ 0 w 1542756"/>
                    <a:gd name="connsiteY21" fmla="*/ 1030456 h 1543391"/>
                    <a:gd name="connsiteX22" fmla="*/ 14829 w 1542756"/>
                    <a:gd name="connsiteY22" fmla="*/ 1009804 h 1543391"/>
                    <a:gd name="connsiteX23" fmla="*/ 87734 w 1542756"/>
                    <a:gd name="connsiteY23" fmla="*/ 1012051 h 1543391"/>
                    <a:gd name="connsiteX24" fmla="*/ 196131 w 1542756"/>
                    <a:gd name="connsiteY24" fmla="*/ 1084601 h 1543391"/>
                    <a:gd name="connsiteX25" fmla="*/ 330541 w 1542756"/>
                    <a:gd name="connsiteY25" fmla="*/ 936966 h 1543391"/>
                    <a:gd name="connsiteX26" fmla="*/ 199188 w 1542756"/>
                    <a:gd name="connsiteY26" fmla="*/ 789332 h 1543391"/>
                    <a:gd name="connsiteX27" fmla="*/ 84678 w 1542756"/>
                    <a:gd name="connsiteY27" fmla="*/ 861881 h 1543391"/>
                    <a:gd name="connsiteX28" fmla="*/ 16002 w 1542756"/>
                    <a:gd name="connsiteY28" fmla="*/ 862694 h 1543391"/>
                    <a:gd name="connsiteX29" fmla="*/ 0 w 1542756"/>
                    <a:gd name="connsiteY29" fmla="*/ 841219 h 1543391"/>
                    <a:gd name="connsiteX30" fmla="*/ 0 w 1542756"/>
                    <a:gd name="connsiteY30" fmla="*/ 330541 h 1543391"/>
                    <a:gd name="connsiteX31" fmla="*/ 510238 w 1542756"/>
                    <a:gd name="connsiteY31" fmla="*/ 330541 h 1543391"/>
                    <a:gd name="connsiteX32" fmla="*/ 530889 w 1542756"/>
                    <a:gd name="connsiteY32" fmla="*/ 315713 h 1543391"/>
                    <a:gd name="connsiteX33" fmla="*/ 519475 w 1542756"/>
                    <a:gd name="connsiteY33" fmla="*/ 245864 h 1543391"/>
                    <a:gd name="connsiteX34" fmla="*/ 453037 w 1542756"/>
                    <a:gd name="connsiteY34" fmla="*/ 134410 h 1543391"/>
                    <a:gd name="connsiteX35" fmla="*/ 603727 w 1542756"/>
                    <a:gd name="connsiteY35"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510900 w 1542756"/>
                    <a:gd name="connsiteY18" fmla="*/ 1543391 h 1543391"/>
                    <a:gd name="connsiteX19" fmla="*/ 0 w 1542756"/>
                    <a:gd name="connsiteY19" fmla="*/ 1543391 h 1543391"/>
                    <a:gd name="connsiteX20" fmla="*/ 0 w 1542756"/>
                    <a:gd name="connsiteY20" fmla="*/ 1030456 h 1543391"/>
                    <a:gd name="connsiteX21" fmla="*/ 14829 w 1542756"/>
                    <a:gd name="connsiteY21" fmla="*/ 1009804 h 1543391"/>
                    <a:gd name="connsiteX22" fmla="*/ 87734 w 1542756"/>
                    <a:gd name="connsiteY22" fmla="*/ 1012051 h 1543391"/>
                    <a:gd name="connsiteX23" fmla="*/ 196131 w 1542756"/>
                    <a:gd name="connsiteY23" fmla="*/ 1084601 h 1543391"/>
                    <a:gd name="connsiteX24" fmla="*/ 330541 w 1542756"/>
                    <a:gd name="connsiteY24" fmla="*/ 936966 h 1543391"/>
                    <a:gd name="connsiteX25" fmla="*/ 199188 w 1542756"/>
                    <a:gd name="connsiteY25" fmla="*/ 789332 h 1543391"/>
                    <a:gd name="connsiteX26" fmla="*/ 84678 w 1542756"/>
                    <a:gd name="connsiteY26" fmla="*/ 861881 h 1543391"/>
                    <a:gd name="connsiteX27" fmla="*/ 16002 w 1542756"/>
                    <a:gd name="connsiteY27" fmla="*/ 862694 h 1543391"/>
                    <a:gd name="connsiteX28" fmla="*/ 0 w 1542756"/>
                    <a:gd name="connsiteY28" fmla="*/ 841219 h 1543391"/>
                    <a:gd name="connsiteX29" fmla="*/ 0 w 1542756"/>
                    <a:gd name="connsiteY29" fmla="*/ 330541 h 1543391"/>
                    <a:gd name="connsiteX30" fmla="*/ 510238 w 1542756"/>
                    <a:gd name="connsiteY30" fmla="*/ 330541 h 1543391"/>
                    <a:gd name="connsiteX31" fmla="*/ 530889 w 1542756"/>
                    <a:gd name="connsiteY31" fmla="*/ 315713 h 1543391"/>
                    <a:gd name="connsiteX32" fmla="*/ 519475 w 1542756"/>
                    <a:gd name="connsiteY32" fmla="*/ 245864 h 1543391"/>
                    <a:gd name="connsiteX33" fmla="*/ 453037 w 1542756"/>
                    <a:gd name="connsiteY33" fmla="*/ 134410 h 1543391"/>
                    <a:gd name="connsiteX34" fmla="*/ 603727 w 1542756"/>
                    <a:gd name="connsiteY34" fmla="*/ 0 h 1543391"/>
                    <a:gd name="connsiteX0" fmla="*/ 603727 w 1542756"/>
                    <a:gd name="connsiteY0" fmla="*/ 0 h 1576600"/>
                    <a:gd name="connsiteX1" fmla="*/ 754417 w 1542756"/>
                    <a:gd name="connsiteY1" fmla="*/ 134410 h 1576600"/>
                    <a:gd name="connsiteX2" fmla="*/ 687979 w 1542756"/>
                    <a:gd name="connsiteY2" fmla="*/ 245864 h 1576600"/>
                    <a:gd name="connsiteX3" fmla="*/ 677999 w 1542756"/>
                    <a:gd name="connsiteY3" fmla="*/ 314539 h 1576600"/>
                    <a:gd name="connsiteX4" fmla="*/ 699473 w 1542756"/>
                    <a:gd name="connsiteY4" fmla="*/ 330541 h 1576600"/>
                    <a:gd name="connsiteX5" fmla="*/ 1212215 w 1542756"/>
                    <a:gd name="connsiteY5" fmla="*/ 330541 h 1576600"/>
                    <a:gd name="connsiteX6" fmla="*/ 1212215 w 1542756"/>
                    <a:gd name="connsiteY6" fmla="*/ 841219 h 1576600"/>
                    <a:gd name="connsiteX7" fmla="*/ 1228217 w 1542756"/>
                    <a:gd name="connsiteY7" fmla="*/ 862694 h 1576600"/>
                    <a:gd name="connsiteX8" fmla="*/ 1296893 w 1542756"/>
                    <a:gd name="connsiteY8" fmla="*/ 852714 h 1576600"/>
                    <a:gd name="connsiteX9" fmla="*/ 1408346 w 1542756"/>
                    <a:gd name="connsiteY9" fmla="*/ 786276 h 1576600"/>
                    <a:gd name="connsiteX10" fmla="*/ 1542756 w 1542756"/>
                    <a:gd name="connsiteY10" fmla="*/ 936966 h 1576600"/>
                    <a:gd name="connsiteX11" fmla="*/ 1408346 w 1542756"/>
                    <a:gd name="connsiteY11" fmla="*/ 1087656 h 1576600"/>
                    <a:gd name="connsiteX12" fmla="*/ 1296893 w 1542756"/>
                    <a:gd name="connsiteY12" fmla="*/ 1021218 h 1576600"/>
                    <a:gd name="connsiteX13" fmla="*/ 1227044 w 1542756"/>
                    <a:gd name="connsiteY13" fmla="*/ 1009804 h 1576600"/>
                    <a:gd name="connsiteX14" fmla="*/ 1212215 w 1542756"/>
                    <a:gd name="connsiteY14" fmla="*/ 1030456 h 1576600"/>
                    <a:gd name="connsiteX15" fmla="*/ 1212215 w 1542756"/>
                    <a:gd name="connsiteY15" fmla="*/ 1543391 h 1576600"/>
                    <a:gd name="connsiteX16" fmla="*/ 698836 w 1542756"/>
                    <a:gd name="connsiteY16" fmla="*/ 1543391 h 1576600"/>
                    <a:gd name="connsiteX17" fmla="*/ 677999 w 1542756"/>
                    <a:gd name="connsiteY17" fmla="*/ 1527864 h 1576600"/>
                    <a:gd name="connsiteX18" fmla="*/ 0 w 1542756"/>
                    <a:gd name="connsiteY18" fmla="*/ 1543391 h 1576600"/>
                    <a:gd name="connsiteX19" fmla="*/ 0 w 1542756"/>
                    <a:gd name="connsiteY19" fmla="*/ 1030456 h 1576600"/>
                    <a:gd name="connsiteX20" fmla="*/ 14829 w 1542756"/>
                    <a:gd name="connsiteY20" fmla="*/ 1009804 h 1576600"/>
                    <a:gd name="connsiteX21" fmla="*/ 87734 w 1542756"/>
                    <a:gd name="connsiteY21" fmla="*/ 1012051 h 1576600"/>
                    <a:gd name="connsiteX22" fmla="*/ 196131 w 1542756"/>
                    <a:gd name="connsiteY22" fmla="*/ 1084601 h 1576600"/>
                    <a:gd name="connsiteX23" fmla="*/ 330541 w 1542756"/>
                    <a:gd name="connsiteY23" fmla="*/ 936966 h 1576600"/>
                    <a:gd name="connsiteX24" fmla="*/ 199188 w 1542756"/>
                    <a:gd name="connsiteY24" fmla="*/ 789332 h 1576600"/>
                    <a:gd name="connsiteX25" fmla="*/ 84678 w 1542756"/>
                    <a:gd name="connsiteY25" fmla="*/ 861881 h 1576600"/>
                    <a:gd name="connsiteX26" fmla="*/ 16002 w 1542756"/>
                    <a:gd name="connsiteY26" fmla="*/ 862694 h 1576600"/>
                    <a:gd name="connsiteX27" fmla="*/ 0 w 1542756"/>
                    <a:gd name="connsiteY27" fmla="*/ 841219 h 1576600"/>
                    <a:gd name="connsiteX28" fmla="*/ 0 w 1542756"/>
                    <a:gd name="connsiteY28" fmla="*/ 330541 h 1576600"/>
                    <a:gd name="connsiteX29" fmla="*/ 510238 w 1542756"/>
                    <a:gd name="connsiteY29" fmla="*/ 330541 h 1576600"/>
                    <a:gd name="connsiteX30" fmla="*/ 530889 w 1542756"/>
                    <a:gd name="connsiteY30" fmla="*/ 315713 h 1576600"/>
                    <a:gd name="connsiteX31" fmla="*/ 519475 w 1542756"/>
                    <a:gd name="connsiteY31" fmla="*/ 245864 h 1576600"/>
                    <a:gd name="connsiteX32" fmla="*/ 453037 w 1542756"/>
                    <a:gd name="connsiteY32" fmla="*/ 134410 h 1576600"/>
                    <a:gd name="connsiteX33" fmla="*/ 603727 w 1542756"/>
                    <a:gd name="connsiteY33" fmla="*/ 0 h 1576600"/>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0 w 1542756"/>
                    <a:gd name="connsiteY17" fmla="*/ 1543391 h 1543391"/>
                    <a:gd name="connsiteX18" fmla="*/ 0 w 1542756"/>
                    <a:gd name="connsiteY18" fmla="*/ 1030456 h 1543391"/>
                    <a:gd name="connsiteX19" fmla="*/ 14829 w 1542756"/>
                    <a:gd name="connsiteY19" fmla="*/ 1009804 h 1543391"/>
                    <a:gd name="connsiteX20" fmla="*/ 87734 w 1542756"/>
                    <a:gd name="connsiteY20" fmla="*/ 1012051 h 1543391"/>
                    <a:gd name="connsiteX21" fmla="*/ 196131 w 1542756"/>
                    <a:gd name="connsiteY21" fmla="*/ 1084601 h 1543391"/>
                    <a:gd name="connsiteX22" fmla="*/ 330541 w 1542756"/>
                    <a:gd name="connsiteY22" fmla="*/ 936966 h 1543391"/>
                    <a:gd name="connsiteX23" fmla="*/ 199188 w 1542756"/>
                    <a:gd name="connsiteY23" fmla="*/ 789332 h 1543391"/>
                    <a:gd name="connsiteX24" fmla="*/ 84678 w 1542756"/>
                    <a:gd name="connsiteY24" fmla="*/ 861881 h 1543391"/>
                    <a:gd name="connsiteX25" fmla="*/ 16002 w 1542756"/>
                    <a:gd name="connsiteY25" fmla="*/ 862694 h 1543391"/>
                    <a:gd name="connsiteX26" fmla="*/ 0 w 1542756"/>
                    <a:gd name="connsiteY26" fmla="*/ 841219 h 1543391"/>
                    <a:gd name="connsiteX27" fmla="*/ 0 w 1542756"/>
                    <a:gd name="connsiteY27" fmla="*/ 330541 h 1543391"/>
                    <a:gd name="connsiteX28" fmla="*/ 510238 w 1542756"/>
                    <a:gd name="connsiteY28" fmla="*/ 330541 h 1543391"/>
                    <a:gd name="connsiteX29" fmla="*/ 530889 w 1542756"/>
                    <a:gd name="connsiteY29" fmla="*/ 315713 h 1543391"/>
                    <a:gd name="connsiteX30" fmla="*/ 519475 w 1542756"/>
                    <a:gd name="connsiteY30" fmla="*/ 245864 h 1543391"/>
                    <a:gd name="connsiteX31" fmla="*/ 453037 w 1542756"/>
                    <a:gd name="connsiteY31" fmla="*/ 134410 h 1543391"/>
                    <a:gd name="connsiteX32" fmla="*/ 603727 w 1542756"/>
                    <a:gd name="connsiteY32"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7734 w 1542756"/>
                    <a:gd name="connsiteY19" fmla="*/ 1012051 h 1543391"/>
                    <a:gd name="connsiteX20" fmla="*/ 196131 w 1542756"/>
                    <a:gd name="connsiteY20" fmla="*/ 1084601 h 1543391"/>
                    <a:gd name="connsiteX21" fmla="*/ 330541 w 1542756"/>
                    <a:gd name="connsiteY21" fmla="*/ 936966 h 1543391"/>
                    <a:gd name="connsiteX22" fmla="*/ 199188 w 1542756"/>
                    <a:gd name="connsiteY22" fmla="*/ 789332 h 1543391"/>
                    <a:gd name="connsiteX23" fmla="*/ 84678 w 1542756"/>
                    <a:gd name="connsiteY23" fmla="*/ 861881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61952" y="786276"/>
                        <a:pt x="1408346" y="786276"/>
                      </a:cubicBezTo>
                      <a:cubicBezTo>
                        <a:pt x="1482579" y="786276"/>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0" y="1543391"/>
                      </a:lnTo>
                      <a:lnTo>
                        <a:pt x="0" y="1030456"/>
                      </a:lnTo>
                      <a:lnTo>
                        <a:pt x="14829" y="1009804"/>
                      </a:lnTo>
                      <a:cubicBezTo>
                        <a:pt x="35799" y="993403"/>
                        <a:pt x="65680" y="994346"/>
                        <a:pt x="87734" y="1012051"/>
                      </a:cubicBezTo>
                      <a:cubicBezTo>
                        <a:pt x="111887" y="1052135"/>
                        <a:pt x="158718" y="1081837"/>
                        <a:pt x="196131" y="1084601"/>
                      </a:cubicBezTo>
                      <a:cubicBezTo>
                        <a:pt x="297713" y="1084310"/>
                        <a:pt x="330032" y="986178"/>
                        <a:pt x="330541" y="936966"/>
                      </a:cubicBezTo>
                      <a:cubicBezTo>
                        <a:pt x="331051" y="887755"/>
                        <a:pt x="289055" y="786568"/>
                        <a:pt x="199188" y="789332"/>
                      </a:cubicBezTo>
                      <a:cubicBezTo>
                        <a:pt x="149044" y="782930"/>
                        <a:pt x="108831" y="821798"/>
                        <a:pt x="84678" y="861881"/>
                      </a:cubicBezTo>
                      <a:cubicBezTo>
                        <a:pt x="63967" y="876931"/>
                        <a:pt x="36912" y="878058"/>
                        <a:pt x="16002" y="862694"/>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82AB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nvGrpSpPr>
                <p:cNvPr id="39" name="Group 38"/>
                <p:cNvGrpSpPr/>
                <p:nvPr/>
              </p:nvGrpSpPr>
              <p:grpSpPr>
                <a:xfrm>
                  <a:off x="5089659" y="3689739"/>
                  <a:ext cx="1040338" cy="1042046"/>
                  <a:chOff x="5089659" y="3689739"/>
                  <a:chExt cx="1040338" cy="1042046"/>
                </a:xfrm>
              </p:grpSpPr>
              <p:sp>
                <p:nvSpPr>
                  <p:cNvPr id="45" name="Freeform 44"/>
                  <p:cNvSpPr/>
                  <p:nvPr/>
                </p:nvSpPr>
                <p:spPr>
                  <a:xfrm flipH="1">
                    <a:off x="5089659" y="3689739"/>
                    <a:ext cx="1040338"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7735 h 1543391"/>
                      <a:gd name="connsiteX20" fmla="*/ 603727 w 1542756"/>
                      <a:gd name="connsiteY20" fmla="*/ 1213325 h 1543391"/>
                      <a:gd name="connsiteX21" fmla="*/ 457825 w 1542756"/>
                      <a:gd name="connsiteY21" fmla="*/ 1347735 h 1543391"/>
                      <a:gd name="connsiteX22" fmla="*/ 531781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61952" y="786276"/>
                          <a:pt x="1408346" y="786276"/>
                        </a:cubicBezTo>
                        <a:cubicBezTo>
                          <a:pt x="1482579" y="786276"/>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698836" y="1543391"/>
                        </a:lnTo>
                        <a:lnTo>
                          <a:pt x="677999" y="1527864"/>
                        </a:lnTo>
                        <a:cubicBezTo>
                          <a:pt x="662635" y="1506954"/>
                          <a:pt x="663762" y="1473788"/>
                          <a:pt x="678812" y="1453078"/>
                        </a:cubicBezTo>
                        <a:cubicBezTo>
                          <a:pt x="721952" y="1435036"/>
                          <a:pt x="751653" y="1387693"/>
                          <a:pt x="748307" y="1347735"/>
                        </a:cubicBezTo>
                        <a:cubicBezTo>
                          <a:pt x="744963" y="1274163"/>
                          <a:pt x="703350" y="1216298"/>
                          <a:pt x="603727" y="1213325"/>
                        </a:cubicBezTo>
                        <a:cubicBezTo>
                          <a:pt x="553497" y="1213325"/>
                          <a:pt x="464104" y="1254669"/>
                          <a:pt x="457825" y="1347735"/>
                        </a:cubicBezTo>
                        <a:cubicBezTo>
                          <a:pt x="464103" y="1395032"/>
                          <a:pt x="486910" y="1425622"/>
                          <a:pt x="531781" y="1456051"/>
                        </a:cubicBezTo>
                        <a:cubicBezTo>
                          <a:pt x="549486" y="1478105"/>
                          <a:pt x="547290" y="1508067"/>
                          <a:pt x="530889" y="1529038"/>
                        </a:cubicBezTo>
                        <a:lnTo>
                          <a:pt x="510900" y="1543391"/>
                        </a:lnTo>
                        <a:lnTo>
                          <a:pt x="0" y="1543391"/>
                        </a:lnTo>
                        <a:lnTo>
                          <a:pt x="0" y="1030456"/>
                        </a:lnTo>
                        <a:lnTo>
                          <a:pt x="14829" y="1009804"/>
                        </a:lnTo>
                        <a:cubicBezTo>
                          <a:pt x="35799" y="993403"/>
                          <a:pt x="65680" y="997402"/>
                          <a:pt x="87734" y="1015107"/>
                        </a:cubicBezTo>
                        <a:cubicBezTo>
                          <a:pt x="111887" y="1055191"/>
                          <a:pt x="149737" y="1084600"/>
                          <a:pt x="196131" y="1084600"/>
                        </a:cubicBezTo>
                        <a:cubicBezTo>
                          <a:pt x="276476" y="1096822"/>
                          <a:pt x="330541" y="986177"/>
                          <a:pt x="330541" y="936966"/>
                        </a:cubicBezTo>
                        <a:cubicBezTo>
                          <a:pt x="330541" y="887755"/>
                          <a:pt x="298222" y="790642"/>
                          <a:pt x="196131" y="789332"/>
                        </a:cubicBezTo>
                        <a:cubicBezTo>
                          <a:pt x="152097" y="794134"/>
                          <a:pt x="108831" y="821797"/>
                          <a:pt x="84678" y="861880"/>
                        </a:cubicBezTo>
                        <a:cubicBezTo>
                          <a:pt x="63967" y="876930"/>
                          <a:pt x="36912" y="878058"/>
                          <a:pt x="16002" y="862694"/>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7F7F7F"/>
                  </a:solidFill>
                  <a:ln w="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6" name="Freeform 45"/>
                  <p:cNvSpPr/>
                  <p:nvPr/>
                </p:nvSpPr>
                <p:spPr>
                  <a:xfrm>
                    <a:off x="5606423" y="4112308"/>
                    <a:ext cx="204005" cy="300114"/>
                  </a:xfrm>
                  <a:custGeom>
                    <a:avLst/>
                    <a:gdLst>
                      <a:gd name="connsiteX0" fmla="*/ 429428 w 560646"/>
                      <a:gd name="connsiteY0" fmla="*/ 703064 h 816614"/>
                      <a:gd name="connsiteX1" fmla="*/ 429494 w 560646"/>
                      <a:gd name="connsiteY1" fmla="*/ 767268 h 816614"/>
                      <a:gd name="connsiteX2" fmla="*/ 353936 w 560646"/>
                      <a:gd name="connsiteY2" fmla="*/ 767163 h 816614"/>
                      <a:gd name="connsiteX3" fmla="*/ 353936 w 560646"/>
                      <a:gd name="connsiteY3" fmla="*/ 777446 h 816614"/>
                      <a:gd name="connsiteX4" fmla="*/ 314768 w 560646"/>
                      <a:gd name="connsiteY4" fmla="*/ 816614 h 816614"/>
                      <a:gd name="connsiteX5" fmla="*/ 252826 w 560646"/>
                      <a:gd name="connsiteY5" fmla="*/ 816614 h 816614"/>
                      <a:gd name="connsiteX6" fmla="*/ 213658 w 560646"/>
                      <a:gd name="connsiteY6" fmla="*/ 777446 h 816614"/>
                      <a:gd name="connsiteX7" fmla="*/ 213658 w 560646"/>
                      <a:gd name="connsiteY7" fmla="*/ 766967 h 816614"/>
                      <a:gd name="connsiteX8" fmla="*/ 139427 w 560646"/>
                      <a:gd name="connsiteY8" fmla="*/ 766863 h 816614"/>
                      <a:gd name="connsiteX9" fmla="*/ 139070 w 560646"/>
                      <a:gd name="connsiteY9" fmla="*/ 743204 h 816614"/>
                      <a:gd name="connsiteX10" fmla="*/ 430826 w 560646"/>
                      <a:gd name="connsiteY10" fmla="*/ 638515 h 816614"/>
                      <a:gd name="connsiteX11" fmla="*/ 430892 w 560646"/>
                      <a:gd name="connsiteY11" fmla="*/ 686535 h 816614"/>
                      <a:gd name="connsiteX12" fmla="*/ 139071 w 560646"/>
                      <a:gd name="connsiteY12" fmla="*/ 719001 h 816614"/>
                      <a:gd name="connsiteX13" fmla="*/ 139071 w 560646"/>
                      <a:gd name="connsiteY13" fmla="*/ 667944 h 816614"/>
                      <a:gd name="connsiteX14" fmla="*/ 314447 w 560646"/>
                      <a:gd name="connsiteY14" fmla="*/ 78944 h 816614"/>
                      <a:gd name="connsiteX15" fmla="*/ 303179 w 560646"/>
                      <a:gd name="connsiteY15" fmla="*/ 105972 h 816614"/>
                      <a:gd name="connsiteX16" fmla="*/ 163313 w 560646"/>
                      <a:gd name="connsiteY16" fmla="*/ 172157 h 816614"/>
                      <a:gd name="connsiteX17" fmla="*/ 103640 w 560646"/>
                      <a:gd name="connsiteY17" fmla="*/ 302433 h 816614"/>
                      <a:gd name="connsiteX18" fmla="*/ 75512 w 560646"/>
                      <a:gd name="connsiteY18" fmla="*/ 303024 h 816614"/>
                      <a:gd name="connsiteX19" fmla="*/ 140194 w 560646"/>
                      <a:gd name="connsiteY19" fmla="*/ 147456 h 816614"/>
                      <a:gd name="connsiteX20" fmla="*/ 314447 w 560646"/>
                      <a:gd name="connsiteY20" fmla="*/ 78944 h 816614"/>
                      <a:gd name="connsiteX21" fmla="*/ 280323 w 560646"/>
                      <a:gd name="connsiteY21" fmla="*/ 42384 h 816614"/>
                      <a:gd name="connsiteX22" fmla="*/ 42384 w 560646"/>
                      <a:gd name="connsiteY22" fmla="*/ 280322 h 816614"/>
                      <a:gd name="connsiteX23" fmla="*/ 166908 w 560646"/>
                      <a:gd name="connsiteY23" fmla="*/ 489543 h 816614"/>
                      <a:gd name="connsiteX24" fmla="*/ 177566 w 560646"/>
                      <a:gd name="connsiteY24" fmla="*/ 494911 h 816614"/>
                      <a:gd name="connsiteX25" fmla="*/ 177634 w 560646"/>
                      <a:gd name="connsiteY25" fmla="*/ 584720 h 816614"/>
                      <a:gd name="connsiteX26" fmla="*/ 382925 w 560646"/>
                      <a:gd name="connsiteY26" fmla="*/ 584720 h 816614"/>
                      <a:gd name="connsiteX27" fmla="*/ 383081 w 560646"/>
                      <a:gd name="connsiteY27" fmla="*/ 494911 h 816614"/>
                      <a:gd name="connsiteX28" fmla="*/ 393739 w 560646"/>
                      <a:gd name="connsiteY28" fmla="*/ 489543 h 816614"/>
                      <a:gd name="connsiteX29" fmla="*/ 518262 w 560646"/>
                      <a:gd name="connsiteY29" fmla="*/ 280322 h 816614"/>
                      <a:gd name="connsiteX30" fmla="*/ 280323 w 560646"/>
                      <a:gd name="connsiteY30" fmla="*/ 42384 h 816614"/>
                      <a:gd name="connsiteX31" fmla="*/ 280323 w 560646"/>
                      <a:gd name="connsiteY31" fmla="*/ 0 h 816614"/>
                      <a:gd name="connsiteX32" fmla="*/ 560646 w 560646"/>
                      <a:gd name="connsiteY32" fmla="*/ 280322 h 816614"/>
                      <a:gd name="connsiteX33" fmla="*/ 458635 w 560646"/>
                      <a:gd name="connsiteY33" fmla="*/ 496633 h 816614"/>
                      <a:gd name="connsiteX34" fmla="*/ 430147 w 560646"/>
                      <a:gd name="connsiteY34" fmla="*/ 516887 h 816614"/>
                      <a:gd name="connsiteX35" fmla="*/ 430433 w 560646"/>
                      <a:gd name="connsiteY35" fmla="*/ 621818 h 816614"/>
                      <a:gd name="connsiteX36" fmla="*/ 137515 w 560646"/>
                      <a:gd name="connsiteY36" fmla="*/ 640883 h 816614"/>
                      <a:gd name="connsiteX37" fmla="*/ 137515 w 560646"/>
                      <a:gd name="connsiteY37" fmla="*/ 521367 h 816614"/>
                      <a:gd name="connsiteX38" fmla="*/ 134966 w 560646"/>
                      <a:gd name="connsiteY38" fmla="*/ 520062 h 816614"/>
                      <a:gd name="connsiteX39" fmla="*/ 0 w 560646"/>
                      <a:gd name="connsiteY39" fmla="*/ 280322 h 816614"/>
                      <a:gd name="connsiteX40" fmla="*/ 280323 w 560646"/>
                      <a:gd name="connsiteY40" fmla="*/ 0 h 81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0646" h="816614">
                        <a:moveTo>
                          <a:pt x="429428" y="703064"/>
                        </a:moveTo>
                        <a:cubicBezTo>
                          <a:pt x="429428" y="715532"/>
                          <a:pt x="429494" y="754799"/>
                          <a:pt x="429494" y="767268"/>
                        </a:cubicBezTo>
                        <a:lnTo>
                          <a:pt x="353936" y="767163"/>
                        </a:lnTo>
                        <a:lnTo>
                          <a:pt x="353936" y="777446"/>
                        </a:lnTo>
                        <a:cubicBezTo>
                          <a:pt x="353936" y="799078"/>
                          <a:pt x="336401" y="816614"/>
                          <a:pt x="314768" y="816614"/>
                        </a:cubicBezTo>
                        <a:lnTo>
                          <a:pt x="252826" y="816614"/>
                        </a:lnTo>
                        <a:cubicBezTo>
                          <a:pt x="231194" y="816614"/>
                          <a:pt x="213658" y="799078"/>
                          <a:pt x="213658" y="777446"/>
                        </a:cubicBezTo>
                        <a:lnTo>
                          <a:pt x="213658" y="766967"/>
                        </a:lnTo>
                        <a:lnTo>
                          <a:pt x="139427" y="766863"/>
                        </a:lnTo>
                        <a:cubicBezTo>
                          <a:pt x="139308" y="758977"/>
                          <a:pt x="139189" y="751090"/>
                          <a:pt x="139070" y="743204"/>
                        </a:cubicBezTo>
                        <a:close/>
                        <a:moveTo>
                          <a:pt x="430826" y="638515"/>
                        </a:moveTo>
                        <a:cubicBezTo>
                          <a:pt x="430826" y="650983"/>
                          <a:pt x="430892" y="674067"/>
                          <a:pt x="430892" y="686535"/>
                        </a:cubicBezTo>
                        <a:lnTo>
                          <a:pt x="139071" y="719001"/>
                        </a:lnTo>
                        <a:lnTo>
                          <a:pt x="139071" y="667944"/>
                        </a:lnTo>
                        <a:close/>
                        <a:moveTo>
                          <a:pt x="314447" y="78944"/>
                        </a:moveTo>
                        <a:cubicBezTo>
                          <a:pt x="337580" y="84984"/>
                          <a:pt x="321906" y="105539"/>
                          <a:pt x="303179" y="105972"/>
                        </a:cubicBezTo>
                        <a:cubicBezTo>
                          <a:pt x="259453" y="111873"/>
                          <a:pt x="198310" y="139936"/>
                          <a:pt x="163313" y="172157"/>
                        </a:cubicBezTo>
                        <a:cubicBezTo>
                          <a:pt x="128315" y="204378"/>
                          <a:pt x="112110" y="256392"/>
                          <a:pt x="103640" y="302433"/>
                        </a:cubicBezTo>
                        <a:cubicBezTo>
                          <a:pt x="100013" y="321990"/>
                          <a:pt x="76866" y="319702"/>
                          <a:pt x="75512" y="303024"/>
                        </a:cubicBezTo>
                        <a:cubicBezTo>
                          <a:pt x="74625" y="254490"/>
                          <a:pt x="102479" y="182781"/>
                          <a:pt x="140194" y="147456"/>
                        </a:cubicBezTo>
                        <a:cubicBezTo>
                          <a:pt x="193973" y="95726"/>
                          <a:pt x="274414" y="73778"/>
                          <a:pt x="314447" y="78944"/>
                        </a:cubicBezTo>
                        <a:close/>
                        <a:moveTo>
                          <a:pt x="280323" y="42384"/>
                        </a:moveTo>
                        <a:cubicBezTo>
                          <a:pt x="148913" y="42384"/>
                          <a:pt x="42384" y="148913"/>
                          <a:pt x="42384" y="280322"/>
                        </a:cubicBezTo>
                        <a:cubicBezTo>
                          <a:pt x="42384" y="370667"/>
                          <a:pt x="92736" y="449251"/>
                          <a:pt x="166908" y="489543"/>
                        </a:cubicBezTo>
                        <a:lnTo>
                          <a:pt x="177566" y="494911"/>
                        </a:lnTo>
                        <a:cubicBezTo>
                          <a:pt x="177427" y="524847"/>
                          <a:pt x="177773" y="554784"/>
                          <a:pt x="177634" y="584720"/>
                        </a:cubicBezTo>
                        <a:lnTo>
                          <a:pt x="382925" y="584720"/>
                        </a:lnTo>
                        <a:cubicBezTo>
                          <a:pt x="382815" y="554784"/>
                          <a:pt x="383191" y="524847"/>
                          <a:pt x="383081" y="494911"/>
                        </a:cubicBezTo>
                        <a:lnTo>
                          <a:pt x="393739" y="489543"/>
                        </a:lnTo>
                        <a:cubicBezTo>
                          <a:pt x="467910" y="449251"/>
                          <a:pt x="518262" y="370667"/>
                          <a:pt x="518262" y="280322"/>
                        </a:cubicBezTo>
                        <a:cubicBezTo>
                          <a:pt x="518262" y="148913"/>
                          <a:pt x="411733" y="42384"/>
                          <a:pt x="280323" y="42384"/>
                        </a:cubicBezTo>
                        <a:close/>
                        <a:moveTo>
                          <a:pt x="280323" y="0"/>
                        </a:moveTo>
                        <a:cubicBezTo>
                          <a:pt x="435142" y="0"/>
                          <a:pt x="560646" y="125505"/>
                          <a:pt x="560646" y="280322"/>
                        </a:cubicBezTo>
                        <a:cubicBezTo>
                          <a:pt x="560646" y="367408"/>
                          <a:pt x="520936" y="445218"/>
                          <a:pt x="458635" y="496633"/>
                        </a:cubicBezTo>
                        <a:lnTo>
                          <a:pt x="430147" y="516887"/>
                        </a:lnTo>
                        <a:cubicBezTo>
                          <a:pt x="429972" y="550358"/>
                          <a:pt x="430608" y="588348"/>
                          <a:pt x="430433" y="621818"/>
                        </a:cubicBezTo>
                        <a:lnTo>
                          <a:pt x="137515" y="640883"/>
                        </a:lnTo>
                        <a:lnTo>
                          <a:pt x="137515" y="521367"/>
                        </a:lnTo>
                        <a:lnTo>
                          <a:pt x="134966" y="520062"/>
                        </a:lnTo>
                        <a:cubicBezTo>
                          <a:pt x="54051" y="470897"/>
                          <a:pt x="0" y="381922"/>
                          <a:pt x="0" y="280322"/>
                        </a:cubicBezTo>
                        <a:cubicBezTo>
                          <a:pt x="0" y="125505"/>
                          <a:pt x="125506" y="0"/>
                          <a:pt x="280323"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40" name="Freeform 39"/>
                <p:cNvSpPr/>
                <p:nvPr/>
              </p:nvSpPr>
              <p:spPr>
                <a:xfrm flipH="1">
                  <a:off x="4272121" y="2878487"/>
                  <a:ext cx="1041617"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5669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5669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61952" y="786276"/>
                        <a:pt x="1408346" y="786276"/>
                      </a:cubicBezTo>
                      <a:cubicBezTo>
                        <a:pt x="1482579" y="789331"/>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698836" y="1543391"/>
                      </a:lnTo>
                      <a:lnTo>
                        <a:pt x="677999" y="1527864"/>
                      </a:lnTo>
                      <a:cubicBezTo>
                        <a:pt x="662635" y="1506954"/>
                        <a:pt x="660705" y="1476844"/>
                        <a:pt x="675755" y="1456134"/>
                      </a:cubicBezTo>
                      <a:cubicBezTo>
                        <a:pt x="715839" y="1431980"/>
                        <a:pt x="742485" y="1394823"/>
                        <a:pt x="748305" y="1347735"/>
                      </a:cubicBezTo>
                      <a:cubicBezTo>
                        <a:pt x="748014" y="1273145"/>
                        <a:pt x="688070" y="1213241"/>
                        <a:pt x="603727" y="1213325"/>
                      </a:cubicBezTo>
                      <a:cubicBezTo>
                        <a:pt x="553497" y="1213325"/>
                        <a:pt x="464104" y="1254669"/>
                        <a:pt x="457825" y="1347735"/>
                      </a:cubicBezTo>
                      <a:cubicBezTo>
                        <a:pt x="464103" y="1395032"/>
                        <a:pt x="480798" y="1425622"/>
                        <a:pt x="525669" y="1456051"/>
                      </a:cubicBezTo>
                      <a:cubicBezTo>
                        <a:pt x="543374" y="1478105"/>
                        <a:pt x="547290" y="1508067"/>
                        <a:pt x="530889" y="1529038"/>
                      </a:cubicBezTo>
                      <a:lnTo>
                        <a:pt x="510900" y="1543391"/>
                      </a:lnTo>
                      <a:lnTo>
                        <a:pt x="0" y="1543391"/>
                      </a:lnTo>
                      <a:lnTo>
                        <a:pt x="0" y="1030456"/>
                      </a:lnTo>
                      <a:lnTo>
                        <a:pt x="14829" y="1009804"/>
                      </a:lnTo>
                      <a:cubicBezTo>
                        <a:pt x="35799" y="993403"/>
                        <a:pt x="62624" y="991290"/>
                        <a:pt x="84678" y="1008995"/>
                      </a:cubicBezTo>
                      <a:cubicBezTo>
                        <a:pt x="108831" y="1049079"/>
                        <a:pt x="152098" y="1082346"/>
                        <a:pt x="196131" y="1081546"/>
                      </a:cubicBezTo>
                      <a:cubicBezTo>
                        <a:pt x="264609" y="1074635"/>
                        <a:pt x="330543" y="1017245"/>
                        <a:pt x="330541" y="936966"/>
                      </a:cubicBezTo>
                      <a:cubicBezTo>
                        <a:pt x="330541" y="887245"/>
                        <a:pt x="282587" y="780164"/>
                        <a:pt x="196131" y="789331"/>
                      </a:cubicBezTo>
                      <a:cubicBezTo>
                        <a:pt x="149737" y="792386"/>
                        <a:pt x="114943" y="824853"/>
                        <a:pt x="84678" y="861881"/>
                      </a:cubicBezTo>
                      <a:cubicBezTo>
                        <a:pt x="63967" y="876931"/>
                        <a:pt x="36912" y="878058"/>
                        <a:pt x="16002" y="862694"/>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7F7F7F"/>
                </a:solidFill>
                <a:ln w="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1" name="Freeform 40"/>
                <p:cNvSpPr/>
                <p:nvPr/>
              </p:nvSpPr>
              <p:spPr>
                <a:xfrm flipH="1">
                  <a:off x="2638086" y="3690790"/>
                  <a:ext cx="1041700"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3836 w 1542756"/>
                    <a:gd name="connsiteY8" fmla="*/ 852714 h 1543391"/>
                    <a:gd name="connsiteX9" fmla="*/ 1408346 w 1542756"/>
                    <a:gd name="connsiteY9" fmla="*/ 783220 h 1543391"/>
                    <a:gd name="connsiteX10" fmla="*/ 1542756 w 1542756"/>
                    <a:gd name="connsiteY10" fmla="*/ 936966 h 1543391"/>
                    <a:gd name="connsiteX11" fmla="*/ 1408346 w 1542756"/>
                    <a:gd name="connsiteY11" fmla="*/ 1087656 h 1543391"/>
                    <a:gd name="connsiteX12" fmla="*/ 1296893 w 1542756"/>
                    <a:gd name="connsiteY12" fmla="*/ 1024273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86276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4678 w 1542880"/>
                    <a:gd name="connsiteY32" fmla="*/ 852714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4678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87979 w 1542880"/>
                    <a:gd name="connsiteY18" fmla="*/ 1459189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54417 w 1542880"/>
                    <a:gd name="connsiteY19" fmla="*/ 1347735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8813 w 1542880"/>
                    <a:gd name="connsiteY18" fmla="*/ 1453077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30541 w 1542880"/>
                    <a:gd name="connsiteY30" fmla="*/ 936966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2694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9804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8806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 name="connsiteX0" fmla="*/ 603727 w 1542880"/>
                    <a:gd name="connsiteY0" fmla="*/ 0 h 1543391"/>
                    <a:gd name="connsiteX1" fmla="*/ 754417 w 1542880"/>
                    <a:gd name="connsiteY1" fmla="*/ 134410 h 1543391"/>
                    <a:gd name="connsiteX2" fmla="*/ 687979 w 1542880"/>
                    <a:gd name="connsiteY2" fmla="*/ 245864 h 1543391"/>
                    <a:gd name="connsiteX3" fmla="*/ 677999 w 1542880"/>
                    <a:gd name="connsiteY3" fmla="*/ 314539 h 1543391"/>
                    <a:gd name="connsiteX4" fmla="*/ 699473 w 1542880"/>
                    <a:gd name="connsiteY4" fmla="*/ 330541 h 1543391"/>
                    <a:gd name="connsiteX5" fmla="*/ 1212215 w 1542880"/>
                    <a:gd name="connsiteY5" fmla="*/ 330541 h 1543391"/>
                    <a:gd name="connsiteX6" fmla="*/ 1212215 w 1542880"/>
                    <a:gd name="connsiteY6" fmla="*/ 841219 h 1543391"/>
                    <a:gd name="connsiteX7" fmla="*/ 1228217 w 1542880"/>
                    <a:gd name="connsiteY7" fmla="*/ 862694 h 1543391"/>
                    <a:gd name="connsiteX8" fmla="*/ 1293836 w 1542880"/>
                    <a:gd name="connsiteY8" fmla="*/ 852714 h 1543391"/>
                    <a:gd name="connsiteX9" fmla="*/ 1408346 w 1542880"/>
                    <a:gd name="connsiteY9" fmla="*/ 783220 h 1543391"/>
                    <a:gd name="connsiteX10" fmla="*/ 1542756 w 1542880"/>
                    <a:gd name="connsiteY10" fmla="*/ 936966 h 1543391"/>
                    <a:gd name="connsiteX11" fmla="*/ 1408346 w 1542880"/>
                    <a:gd name="connsiteY11" fmla="*/ 1087656 h 1543391"/>
                    <a:gd name="connsiteX12" fmla="*/ 1296893 w 1542880"/>
                    <a:gd name="connsiteY12" fmla="*/ 1024273 h 1543391"/>
                    <a:gd name="connsiteX13" fmla="*/ 1227044 w 1542880"/>
                    <a:gd name="connsiteY13" fmla="*/ 1009804 h 1543391"/>
                    <a:gd name="connsiteX14" fmla="*/ 1212215 w 1542880"/>
                    <a:gd name="connsiteY14" fmla="*/ 1030456 h 1543391"/>
                    <a:gd name="connsiteX15" fmla="*/ 1212215 w 1542880"/>
                    <a:gd name="connsiteY15" fmla="*/ 1543391 h 1543391"/>
                    <a:gd name="connsiteX16" fmla="*/ 698836 w 1542880"/>
                    <a:gd name="connsiteY16" fmla="*/ 1543391 h 1543391"/>
                    <a:gd name="connsiteX17" fmla="*/ 677999 w 1542880"/>
                    <a:gd name="connsiteY17" fmla="*/ 1527864 h 1543391"/>
                    <a:gd name="connsiteX18" fmla="*/ 672702 w 1542880"/>
                    <a:gd name="connsiteY18" fmla="*/ 1450020 h 1543391"/>
                    <a:gd name="connsiteX19" fmla="*/ 745250 w 1542880"/>
                    <a:gd name="connsiteY19" fmla="*/ 1341623 h 1543391"/>
                    <a:gd name="connsiteX20" fmla="*/ 603727 w 1542880"/>
                    <a:gd name="connsiteY20" fmla="*/ 1213325 h 1543391"/>
                    <a:gd name="connsiteX21" fmla="*/ 457825 w 1542880"/>
                    <a:gd name="connsiteY21" fmla="*/ 1347735 h 1543391"/>
                    <a:gd name="connsiteX22" fmla="*/ 522614 w 1542880"/>
                    <a:gd name="connsiteY22" fmla="*/ 1456051 h 1543391"/>
                    <a:gd name="connsiteX23" fmla="*/ 530889 w 1542880"/>
                    <a:gd name="connsiteY23" fmla="*/ 1529038 h 1543391"/>
                    <a:gd name="connsiteX24" fmla="*/ 510900 w 1542880"/>
                    <a:gd name="connsiteY24" fmla="*/ 1543391 h 1543391"/>
                    <a:gd name="connsiteX25" fmla="*/ 0 w 1542880"/>
                    <a:gd name="connsiteY25" fmla="*/ 1543391 h 1543391"/>
                    <a:gd name="connsiteX26" fmla="*/ 0 w 1542880"/>
                    <a:gd name="connsiteY26" fmla="*/ 1030456 h 1543391"/>
                    <a:gd name="connsiteX27" fmla="*/ 14829 w 1542880"/>
                    <a:gd name="connsiteY27" fmla="*/ 1006748 h 1543391"/>
                    <a:gd name="connsiteX28" fmla="*/ 87734 w 1542880"/>
                    <a:gd name="connsiteY28" fmla="*/ 1021218 h 1543391"/>
                    <a:gd name="connsiteX29" fmla="*/ 196131 w 1542880"/>
                    <a:gd name="connsiteY29" fmla="*/ 1087656 h 1543391"/>
                    <a:gd name="connsiteX30" fmla="*/ 327484 w 1542880"/>
                    <a:gd name="connsiteY30" fmla="*/ 933909 h 1543391"/>
                    <a:gd name="connsiteX31" fmla="*/ 196131 w 1542880"/>
                    <a:gd name="connsiteY31" fmla="*/ 792388 h 1543391"/>
                    <a:gd name="connsiteX32" fmla="*/ 87734 w 1542880"/>
                    <a:gd name="connsiteY32" fmla="*/ 855769 h 1543391"/>
                    <a:gd name="connsiteX33" fmla="*/ 16002 w 1542880"/>
                    <a:gd name="connsiteY33" fmla="*/ 868806 h 1543391"/>
                    <a:gd name="connsiteX34" fmla="*/ 0 w 1542880"/>
                    <a:gd name="connsiteY34" fmla="*/ 841219 h 1543391"/>
                    <a:gd name="connsiteX35" fmla="*/ 0 w 1542880"/>
                    <a:gd name="connsiteY35" fmla="*/ 330541 h 1543391"/>
                    <a:gd name="connsiteX36" fmla="*/ 510238 w 1542880"/>
                    <a:gd name="connsiteY36" fmla="*/ 330541 h 1543391"/>
                    <a:gd name="connsiteX37" fmla="*/ 530889 w 1542880"/>
                    <a:gd name="connsiteY37" fmla="*/ 315713 h 1543391"/>
                    <a:gd name="connsiteX38" fmla="*/ 519475 w 1542880"/>
                    <a:gd name="connsiteY38" fmla="*/ 245864 h 1543391"/>
                    <a:gd name="connsiteX39" fmla="*/ 453037 w 1542880"/>
                    <a:gd name="connsiteY39" fmla="*/ 134410 h 1543391"/>
                    <a:gd name="connsiteX40" fmla="*/ 603727 w 1542880"/>
                    <a:gd name="connsiteY40"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42880"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0069" y="864708"/>
                        <a:pt x="1293836" y="852714"/>
                      </a:cubicBezTo>
                      <a:cubicBezTo>
                        <a:pt x="1317989" y="803465"/>
                        <a:pt x="1364555" y="778014"/>
                        <a:pt x="1408346" y="783220"/>
                      </a:cubicBezTo>
                      <a:cubicBezTo>
                        <a:pt x="1492614" y="775871"/>
                        <a:pt x="1545811" y="874003"/>
                        <a:pt x="1542756" y="936966"/>
                      </a:cubicBezTo>
                      <a:cubicBezTo>
                        <a:pt x="1545813" y="1012149"/>
                        <a:pt x="1485992" y="1094493"/>
                        <a:pt x="1408346" y="1087656"/>
                      </a:cubicBezTo>
                      <a:cubicBezTo>
                        <a:pt x="1367370" y="1093039"/>
                        <a:pt x="1321046" y="1064357"/>
                        <a:pt x="1296893" y="1024273"/>
                      </a:cubicBezTo>
                      <a:cubicBezTo>
                        <a:pt x="1274839" y="1006568"/>
                        <a:pt x="1248014" y="993403"/>
                        <a:pt x="1227044" y="1009804"/>
                      </a:cubicBezTo>
                      <a:lnTo>
                        <a:pt x="1212215" y="1030456"/>
                      </a:lnTo>
                      <a:lnTo>
                        <a:pt x="1212215" y="1543391"/>
                      </a:lnTo>
                      <a:lnTo>
                        <a:pt x="698836" y="1543391"/>
                      </a:lnTo>
                      <a:lnTo>
                        <a:pt x="677999" y="1527864"/>
                      </a:lnTo>
                      <a:cubicBezTo>
                        <a:pt x="662635" y="1506954"/>
                        <a:pt x="657652" y="1470730"/>
                        <a:pt x="672702" y="1450020"/>
                      </a:cubicBezTo>
                      <a:cubicBezTo>
                        <a:pt x="697508" y="1438088"/>
                        <a:pt x="742486" y="1402972"/>
                        <a:pt x="745250" y="1341623"/>
                      </a:cubicBezTo>
                      <a:cubicBezTo>
                        <a:pt x="748015" y="1280275"/>
                        <a:pt x="694182" y="1213241"/>
                        <a:pt x="603727" y="1213325"/>
                      </a:cubicBezTo>
                      <a:cubicBezTo>
                        <a:pt x="553497" y="1213325"/>
                        <a:pt x="464104" y="1254669"/>
                        <a:pt x="457825" y="1347735"/>
                      </a:cubicBezTo>
                      <a:cubicBezTo>
                        <a:pt x="464103" y="1395032"/>
                        <a:pt x="477743" y="1425622"/>
                        <a:pt x="522614" y="1456051"/>
                      </a:cubicBezTo>
                      <a:cubicBezTo>
                        <a:pt x="540319" y="1478105"/>
                        <a:pt x="547290" y="1508067"/>
                        <a:pt x="530889" y="1529038"/>
                      </a:cubicBezTo>
                      <a:lnTo>
                        <a:pt x="510900" y="1543391"/>
                      </a:lnTo>
                      <a:lnTo>
                        <a:pt x="0" y="1543391"/>
                      </a:lnTo>
                      <a:lnTo>
                        <a:pt x="0" y="1030456"/>
                      </a:lnTo>
                      <a:lnTo>
                        <a:pt x="14829" y="1006748"/>
                      </a:lnTo>
                      <a:cubicBezTo>
                        <a:pt x="35799" y="990347"/>
                        <a:pt x="68735" y="997403"/>
                        <a:pt x="87734" y="1021218"/>
                      </a:cubicBezTo>
                      <a:cubicBezTo>
                        <a:pt x="117999" y="1055190"/>
                        <a:pt x="158718" y="1083363"/>
                        <a:pt x="196131" y="1087656"/>
                      </a:cubicBezTo>
                      <a:cubicBezTo>
                        <a:pt x="261045" y="1079726"/>
                        <a:pt x="336653" y="1013676"/>
                        <a:pt x="327484" y="933909"/>
                      </a:cubicBezTo>
                      <a:cubicBezTo>
                        <a:pt x="330540" y="863308"/>
                        <a:pt x="270364" y="789332"/>
                        <a:pt x="196131" y="792388"/>
                      </a:cubicBezTo>
                      <a:cubicBezTo>
                        <a:pt x="149737" y="792388"/>
                        <a:pt x="111887" y="821798"/>
                        <a:pt x="87734" y="855769"/>
                      </a:cubicBezTo>
                      <a:cubicBezTo>
                        <a:pt x="67023" y="870819"/>
                        <a:pt x="36912" y="884170"/>
                        <a:pt x="16002" y="868806"/>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82AB4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42" name="Freeform 41"/>
                <p:cNvSpPr/>
                <p:nvPr/>
              </p:nvSpPr>
              <p:spPr>
                <a:xfrm flipH="1">
                  <a:off x="4272204" y="3689739"/>
                  <a:ext cx="1041616"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92388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7656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30541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25669 w 1542756"/>
                    <a:gd name="connsiteY22" fmla="*/ 1459107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37892 w 1542756"/>
                    <a:gd name="connsiteY22" fmla="*/ 1459107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37892 w 1542756"/>
                    <a:gd name="connsiteY22" fmla="*/ 1459107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3078 h 1543391"/>
                    <a:gd name="connsiteX19" fmla="*/ 748307 w 1542756"/>
                    <a:gd name="connsiteY19" fmla="*/ 1341623 h 1543391"/>
                    <a:gd name="connsiteX20" fmla="*/ 603727 w 1542756"/>
                    <a:gd name="connsiteY20" fmla="*/ 1213325 h 1543391"/>
                    <a:gd name="connsiteX21" fmla="*/ 457825 w 1542756"/>
                    <a:gd name="connsiteY21" fmla="*/ 1347735 h 1543391"/>
                    <a:gd name="connsiteX22" fmla="*/ 537892 w 1542756"/>
                    <a:gd name="connsiteY22" fmla="*/ 1459107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2051 h 1543391"/>
                    <a:gd name="connsiteX29" fmla="*/ 196131 w 1542756"/>
                    <a:gd name="connsiteY29" fmla="*/ 1084601 h 1543391"/>
                    <a:gd name="connsiteX30" fmla="*/ 327486 w 1542756"/>
                    <a:gd name="connsiteY30" fmla="*/ 936966 h 1543391"/>
                    <a:gd name="connsiteX31" fmla="*/ 199188 w 1542756"/>
                    <a:gd name="connsiteY31" fmla="*/ 78933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52784" y="780165"/>
                        <a:pt x="1408346" y="786276"/>
                      </a:cubicBezTo>
                      <a:cubicBezTo>
                        <a:pt x="1482579" y="786276"/>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698836" y="1543391"/>
                      </a:lnTo>
                      <a:lnTo>
                        <a:pt x="677999" y="1527864"/>
                      </a:lnTo>
                      <a:cubicBezTo>
                        <a:pt x="662635" y="1506954"/>
                        <a:pt x="660707" y="1476844"/>
                        <a:pt x="678812" y="1453078"/>
                      </a:cubicBezTo>
                      <a:cubicBezTo>
                        <a:pt x="718896" y="1441147"/>
                        <a:pt x="748598" y="1387695"/>
                        <a:pt x="748307" y="1341623"/>
                      </a:cubicBezTo>
                      <a:cubicBezTo>
                        <a:pt x="741903" y="1271108"/>
                        <a:pt x="688072" y="1210186"/>
                        <a:pt x="603727" y="1213325"/>
                      </a:cubicBezTo>
                      <a:cubicBezTo>
                        <a:pt x="553497" y="1213325"/>
                        <a:pt x="464104" y="1242447"/>
                        <a:pt x="457825" y="1347735"/>
                      </a:cubicBezTo>
                      <a:cubicBezTo>
                        <a:pt x="464103" y="1395032"/>
                        <a:pt x="493021" y="1440900"/>
                        <a:pt x="537892" y="1459107"/>
                      </a:cubicBezTo>
                      <a:cubicBezTo>
                        <a:pt x="555597" y="1481161"/>
                        <a:pt x="547290" y="1508067"/>
                        <a:pt x="530889" y="1529038"/>
                      </a:cubicBezTo>
                      <a:lnTo>
                        <a:pt x="510900" y="1543391"/>
                      </a:lnTo>
                      <a:lnTo>
                        <a:pt x="0" y="1543391"/>
                      </a:lnTo>
                      <a:lnTo>
                        <a:pt x="0" y="1030456"/>
                      </a:lnTo>
                      <a:lnTo>
                        <a:pt x="14829" y="1009804"/>
                      </a:lnTo>
                      <a:cubicBezTo>
                        <a:pt x="35799" y="993403"/>
                        <a:pt x="65680" y="994346"/>
                        <a:pt x="87734" y="1012051"/>
                      </a:cubicBezTo>
                      <a:cubicBezTo>
                        <a:pt x="111887" y="1052135"/>
                        <a:pt x="158718" y="1081837"/>
                        <a:pt x="196131" y="1084601"/>
                      </a:cubicBezTo>
                      <a:cubicBezTo>
                        <a:pt x="297713" y="1084310"/>
                        <a:pt x="326977" y="986178"/>
                        <a:pt x="327486" y="936966"/>
                      </a:cubicBezTo>
                      <a:cubicBezTo>
                        <a:pt x="327996" y="887755"/>
                        <a:pt x="289055" y="786568"/>
                        <a:pt x="199188" y="789332"/>
                      </a:cubicBezTo>
                      <a:cubicBezTo>
                        <a:pt x="149044" y="782930"/>
                        <a:pt x="108831" y="821798"/>
                        <a:pt x="84678" y="861881"/>
                      </a:cubicBezTo>
                      <a:cubicBezTo>
                        <a:pt x="63967" y="876931"/>
                        <a:pt x="36912" y="878058"/>
                        <a:pt x="16002" y="862694"/>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82AB40"/>
                </a:solidFill>
                <a:ln w="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3" name="Freeform 42"/>
                <p:cNvSpPr/>
                <p:nvPr/>
              </p:nvSpPr>
              <p:spPr>
                <a:xfrm flipH="1">
                  <a:off x="3453797" y="3688170"/>
                  <a:ext cx="1041616"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765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15107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58826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8812 w 1542756"/>
                    <a:gd name="connsiteY18" fmla="*/ 1459189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5669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6131 w 1542756"/>
                    <a:gd name="connsiteY31" fmla="*/ 789331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5669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9188 w 1542756"/>
                    <a:gd name="connsiteY31" fmla="*/ 789331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5669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9188 w 1542756"/>
                    <a:gd name="connsiteY31" fmla="*/ 79544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5669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9188 w 1542756"/>
                    <a:gd name="connsiteY31" fmla="*/ 795442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5669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9188 w 1542756"/>
                    <a:gd name="connsiteY31" fmla="*/ 792385 h 1543391"/>
                    <a:gd name="connsiteX32" fmla="*/ 84678 w 1542756"/>
                    <a:gd name="connsiteY32" fmla="*/ 861881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75755 w 1542756"/>
                    <a:gd name="connsiteY18" fmla="*/ 1456134 h 1543391"/>
                    <a:gd name="connsiteX19" fmla="*/ 748305 w 1542756"/>
                    <a:gd name="connsiteY19" fmla="*/ 1347735 h 1543391"/>
                    <a:gd name="connsiteX20" fmla="*/ 603727 w 1542756"/>
                    <a:gd name="connsiteY20" fmla="*/ 1213325 h 1543391"/>
                    <a:gd name="connsiteX21" fmla="*/ 457825 w 1542756"/>
                    <a:gd name="connsiteY21" fmla="*/ 1347735 h 1543391"/>
                    <a:gd name="connsiteX22" fmla="*/ 525669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08995 h 1543391"/>
                    <a:gd name="connsiteX29" fmla="*/ 196131 w 1542756"/>
                    <a:gd name="connsiteY29" fmla="*/ 1081546 h 1543391"/>
                    <a:gd name="connsiteX30" fmla="*/ 330541 w 1542756"/>
                    <a:gd name="connsiteY30" fmla="*/ 936966 h 1543391"/>
                    <a:gd name="connsiteX31" fmla="*/ 199188 w 1542756"/>
                    <a:gd name="connsiteY31" fmla="*/ 792385 h 1543391"/>
                    <a:gd name="connsiteX32" fmla="*/ 84678 w 1542756"/>
                    <a:gd name="connsiteY32" fmla="*/ 861881 h 1543391"/>
                    <a:gd name="connsiteX33" fmla="*/ 10241 w 1542756"/>
                    <a:gd name="connsiteY33" fmla="*/ 868456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61952" y="786276"/>
                        <a:pt x="1408346" y="786276"/>
                      </a:cubicBezTo>
                      <a:cubicBezTo>
                        <a:pt x="1482579" y="789331"/>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698836" y="1543391"/>
                      </a:lnTo>
                      <a:lnTo>
                        <a:pt x="677999" y="1527864"/>
                      </a:lnTo>
                      <a:cubicBezTo>
                        <a:pt x="662635" y="1506954"/>
                        <a:pt x="660705" y="1476844"/>
                        <a:pt x="675755" y="1456134"/>
                      </a:cubicBezTo>
                      <a:cubicBezTo>
                        <a:pt x="715839" y="1431980"/>
                        <a:pt x="742485" y="1394823"/>
                        <a:pt x="748305" y="1347735"/>
                      </a:cubicBezTo>
                      <a:cubicBezTo>
                        <a:pt x="748014" y="1273145"/>
                        <a:pt x="688070" y="1204075"/>
                        <a:pt x="603727" y="1213325"/>
                      </a:cubicBezTo>
                      <a:cubicBezTo>
                        <a:pt x="553497" y="1213325"/>
                        <a:pt x="464104" y="1254669"/>
                        <a:pt x="457825" y="1347735"/>
                      </a:cubicBezTo>
                      <a:cubicBezTo>
                        <a:pt x="464103" y="1395032"/>
                        <a:pt x="480798" y="1425622"/>
                        <a:pt x="525669" y="1456051"/>
                      </a:cubicBezTo>
                      <a:cubicBezTo>
                        <a:pt x="543374" y="1478105"/>
                        <a:pt x="547290" y="1508067"/>
                        <a:pt x="530889" y="1529038"/>
                      </a:cubicBezTo>
                      <a:lnTo>
                        <a:pt x="510900" y="1543391"/>
                      </a:lnTo>
                      <a:lnTo>
                        <a:pt x="0" y="1543391"/>
                      </a:lnTo>
                      <a:lnTo>
                        <a:pt x="0" y="1030456"/>
                      </a:lnTo>
                      <a:lnTo>
                        <a:pt x="14829" y="1009804"/>
                      </a:lnTo>
                      <a:cubicBezTo>
                        <a:pt x="35799" y="993403"/>
                        <a:pt x="62624" y="991290"/>
                        <a:pt x="84678" y="1008995"/>
                      </a:cubicBezTo>
                      <a:cubicBezTo>
                        <a:pt x="108831" y="1049079"/>
                        <a:pt x="152098" y="1082346"/>
                        <a:pt x="196131" y="1081546"/>
                      </a:cubicBezTo>
                      <a:cubicBezTo>
                        <a:pt x="264609" y="1074635"/>
                        <a:pt x="330543" y="1017245"/>
                        <a:pt x="330541" y="936966"/>
                      </a:cubicBezTo>
                      <a:cubicBezTo>
                        <a:pt x="330541" y="887245"/>
                        <a:pt x="285644" y="783218"/>
                        <a:pt x="199188" y="792385"/>
                      </a:cubicBezTo>
                      <a:cubicBezTo>
                        <a:pt x="140571" y="789329"/>
                        <a:pt x="114943" y="824853"/>
                        <a:pt x="84678" y="861881"/>
                      </a:cubicBezTo>
                      <a:cubicBezTo>
                        <a:pt x="63967" y="876931"/>
                        <a:pt x="31151" y="883820"/>
                        <a:pt x="10241" y="868456"/>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7F7F7F"/>
                </a:solidFill>
                <a:ln w="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4" name="Freeform 43"/>
                <p:cNvSpPr/>
                <p:nvPr/>
              </p:nvSpPr>
              <p:spPr>
                <a:xfrm flipH="1">
                  <a:off x="4272846" y="4505056"/>
                  <a:ext cx="1041616" cy="1042046"/>
                </a:xfrm>
                <a:custGeom>
                  <a:avLst/>
                  <a:gdLst>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19475 w 1542756"/>
                    <a:gd name="connsiteY22" fmla="*/ 1459189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3037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5431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2714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6276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7656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4678 w 1542756"/>
                    <a:gd name="connsiteY28" fmla="*/ 1021218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55769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754417 w 1542756"/>
                    <a:gd name="connsiteY19" fmla="*/ 1347735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603727 w 1542756"/>
                    <a:gd name="connsiteY19" fmla="*/ 1213325 h 1543391"/>
                    <a:gd name="connsiteX20" fmla="*/ 457825 w 1542756"/>
                    <a:gd name="connsiteY20" fmla="*/ 1347735 h 1543391"/>
                    <a:gd name="connsiteX21" fmla="*/ 522614 w 1542756"/>
                    <a:gd name="connsiteY21" fmla="*/ 1456051 h 1543391"/>
                    <a:gd name="connsiteX22" fmla="*/ 530889 w 1542756"/>
                    <a:gd name="connsiteY22" fmla="*/ 1529038 h 1543391"/>
                    <a:gd name="connsiteX23" fmla="*/ 510900 w 1542756"/>
                    <a:gd name="connsiteY23" fmla="*/ 1543391 h 1543391"/>
                    <a:gd name="connsiteX24" fmla="*/ 0 w 1542756"/>
                    <a:gd name="connsiteY24" fmla="*/ 1543391 h 1543391"/>
                    <a:gd name="connsiteX25" fmla="*/ 0 w 1542756"/>
                    <a:gd name="connsiteY25" fmla="*/ 1030456 h 1543391"/>
                    <a:gd name="connsiteX26" fmla="*/ 14829 w 1542756"/>
                    <a:gd name="connsiteY26" fmla="*/ 1009804 h 1543391"/>
                    <a:gd name="connsiteX27" fmla="*/ 87734 w 1542756"/>
                    <a:gd name="connsiteY27" fmla="*/ 1015107 h 1543391"/>
                    <a:gd name="connsiteX28" fmla="*/ 196131 w 1542756"/>
                    <a:gd name="connsiteY28" fmla="*/ 1084600 h 1543391"/>
                    <a:gd name="connsiteX29" fmla="*/ 330541 w 1542756"/>
                    <a:gd name="connsiteY29" fmla="*/ 936966 h 1543391"/>
                    <a:gd name="connsiteX30" fmla="*/ 196131 w 1542756"/>
                    <a:gd name="connsiteY30" fmla="*/ 789332 h 1543391"/>
                    <a:gd name="connsiteX31" fmla="*/ 84678 w 1542756"/>
                    <a:gd name="connsiteY31" fmla="*/ 861880 h 1543391"/>
                    <a:gd name="connsiteX32" fmla="*/ 16002 w 1542756"/>
                    <a:gd name="connsiteY32" fmla="*/ 862694 h 1543391"/>
                    <a:gd name="connsiteX33" fmla="*/ 0 w 1542756"/>
                    <a:gd name="connsiteY33" fmla="*/ 841219 h 1543391"/>
                    <a:gd name="connsiteX34" fmla="*/ 0 w 1542756"/>
                    <a:gd name="connsiteY34" fmla="*/ 330541 h 1543391"/>
                    <a:gd name="connsiteX35" fmla="*/ 510238 w 1542756"/>
                    <a:gd name="connsiteY35" fmla="*/ 330541 h 1543391"/>
                    <a:gd name="connsiteX36" fmla="*/ 530889 w 1542756"/>
                    <a:gd name="connsiteY36" fmla="*/ 315713 h 1543391"/>
                    <a:gd name="connsiteX37" fmla="*/ 519475 w 1542756"/>
                    <a:gd name="connsiteY37" fmla="*/ 245864 h 1543391"/>
                    <a:gd name="connsiteX38" fmla="*/ 453037 w 1542756"/>
                    <a:gd name="connsiteY38" fmla="*/ 134410 h 1543391"/>
                    <a:gd name="connsiteX39" fmla="*/ 603727 w 1542756"/>
                    <a:gd name="connsiteY39"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621423 w 1542756"/>
                    <a:gd name="connsiteY19" fmla="*/ 1237787 h 1543391"/>
                    <a:gd name="connsiteX20" fmla="*/ 603727 w 1542756"/>
                    <a:gd name="connsiteY20" fmla="*/ 1213325 h 1543391"/>
                    <a:gd name="connsiteX21" fmla="*/ 457825 w 1542756"/>
                    <a:gd name="connsiteY21" fmla="*/ 1347735 h 1543391"/>
                    <a:gd name="connsiteX22" fmla="*/ 522614 w 1542756"/>
                    <a:gd name="connsiteY22" fmla="*/ 1456051 h 1543391"/>
                    <a:gd name="connsiteX23" fmla="*/ 530889 w 1542756"/>
                    <a:gd name="connsiteY23" fmla="*/ 1529038 h 1543391"/>
                    <a:gd name="connsiteX24" fmla="*/ 510900 w 1542756"/>
                    <a:gd name="connsiteY24" fmla="*/ 1543391 h 1543391"/>
                    <a:gd name="connsiteX25" fmla="*/ 0 w 1542756"/>
                    <a:gd name="connsiteY25" fmla="*/ 1543391 h 1543391"/>
                    <a:gd name="connsiteX26" fmla="*/ 0 w 1542756"/>
                    <a:gd name="connsiteY26" fmla="*/ 1030456 h 1543391"/>
                    <a:gd name="connsiteX27" fmla="*/ 14829 w 1542756"/>
                    <a:gd name="connsiteY27" fmla="*/ 1009804 h 1543391"/>
                    <a:gd name="connsiteX28" fmla="*/ 87734 w 1542756"/>
                    <a:gd name="connsiteY28" fmla="*/ 1015107 h 1543391"/>
                    <a:gd name="connsiteX29" fmla="*/ 196131 w 1542756"/>
                    <a:gd name="connsiteY29" fmla="*/ 1084600 h 1543391"/>
                    <a:gd name="connsiteX30" fmla="*/ 330541 w 1542756"/>
                    <a:gd name="connsiteY30" fmla="*/ 936966 h 1543391"/>
                    <a:gd name="connsiteX31" fmla="*/ 196131 w 1542756"/>
                    <a:gd name="connsiteY31" fmla="*/ 789332 h 1543391"/>
                    <a:gd name="connsiteX32" fmla="*/ 84678 w 1542756"/>
                    <a:gd name="connsiteY32" fmla="*/ 861880 h 1543391"/>
                    <a:gd name="connsiteX33" fmla="*/ 16002 w 1542756"/>
                    <a:gd name="connsiteY33" fmla="*/ 862694 h 1543391"/>
                    <a:gd name="connsiteX34" fmla="*/ 0 w 1542756"/>
                    <a:gd name="connsiteY34" fmla="*/ 841219 h 1543391"/>
                    <a:gd name="connsiteX35" fmla="*/ 0 w 1542756"/>
                    <a:gd name="connsiteY35" fmla="*/ 330541 h 1543391"/>
                    <a:gd name="connsiteX36" fmla="*/ 510238 w 1542756"/>
                    <a:gd name="connsiteY36" fmla="*/ 330541 h 1543391"/>
                    <a:gd name="connsiteX37" fmla="*/ 530889 w 1542756"/>
                    <a:gd name="connsiteY37" fmla="*/ 315713 h 1543391"/>
                    <a:gd name="connsiteX38" fmla="*/ 519475 w 1542756"/>
                    <a:gd name="connsiteY38" fmla="*/ 245864 h 1543391"/>
                    <a:gd name="connsiteX39" fmla="*/ 453037 w 1542756"/>
                    <a:gd name="connsiteY39" fmla="*/ 134410 h 1543391"/>
                    <a:gd name="connsiteX40" fmla="*/ 603727 w 1542756"/>
                    <a:gd name="connsiteY40"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603727 w 1542756"/>
                    <a:gd name="connsiteY19" fmla="*/ 1213325 h 1543391"/>
                    <a:gd name="connsiteX20" fmla="*/ 457825 w 1542756"/>
                    <a:gd name="connsiteY20" fmla="*/ 1347735 h 1543391"/>
                    <a:gd name="connsiteX21" fmla="*/ 522614 w 1542756"/>
                    <a:gd name="connsiteY21" fmla="*/ 1456051 h 1543391"/>
                    <a:gd name="connsiteX22" fmla="*/ 530889 w 1542756"/>
                    <a:gd name="connsiteY22" fmla="*/ 1529038 h 1543391"/>
                    <a:gd name="connsiteX23" fmla="*/ 510900 w 1542756"/>
                    <a:gd name="connsiteY23" fmla="*/ 1543391 h 1543391"/>
                    <a:gd name="connsiteX24" fmla="*/ 0 w 1542756"/>
                    <a:gd name="connsiteY24" fmla="*/ 1543391 h 1543391"/>
                    <a:gd name="connsiteX25" fmla="*/ 0 w 1542756"/>
                    <a:gd name="connsiteY25" fmla="*/ 1030456 h 1543391"/>
                    <a:gd name="connsiteX26" fmla="*/ 14829 w 1542756"/>
                    <a:gd name="connsiteY26" fmla="*/ 1009804 h 1543391"/>
                    <a:gd name="connsiteX27" fmla="*/ 87734 w 1542756"/>
                    <a:gd name="connsiteY27" fmla="*/ 1015107 h 1543391"/>
                    <a:gd name="connsiteX28" fmla="*/ 196131 w 1542756"/>
                    <a:gd name="connsiteY28" fmla="*/ 1084600 h 1543391"/>
                    <a:gd name="connsiteX29" fmla="*/ 330541 w 1542756"/>
                    <a:gd name="connsiteY29" fmla="*/ 936966 h 1543391"/>
                    <a:gd name="connsiteX30" fmla="*/ 196131 w 1542756"/>
                    <a:gd name="connsiteY30" fmla="*/ 789332 h 1543391"/>
                    <a:gd name="connsiteX31" fmla="*/ 84678 w 1542756"/>
                    <a:gd name="connsiteY31" fmla="*/ 861880 h 1543391"/>
                    <a:gd name="connsiteX32" fmla="*/ 16002 w 1542756"/>
                    <a:gd name="connsiteY32" fmla="*/ 862694 h 1543391"/>
                    <a:gd name="connsiteX33" fmla="*/ 0 w 1542756"/>
                    <a:gd name="connsiteY33" fmla="*/ 841219 h 1543391"/>
                    <a:gd name="connsiteX34" fmla="*/ 0 w 1542756"/>
                    <a:gd name="connsiteY34" fmla="*/ 330541 h 1543391"/>
                    <a:gd name="connsiteX35" fmla="*/ 510238 w 1542756"/>
                    <a:gd name="connsiteY35" fmla="*/ 330541 h 1543391"/>
                    <a:gd name="connsiteX36" fmla="*/ 530889 w 1542756"/>
                    <a:gd name="connsiteY36" fmla="*/ 315713 h 1543391"/>
                    <a:gd name="connsiteX37" fmla="*/ 519475 w 1542756"/>
                    <a:gd name="connsiteY37" fmla="*/ 245864 h 1543391"/>
                    <a:gd name="connsiteX38" fmla="*/ 453037 w 1542756"/>
                    <a:gd name="connsiteY38" fmla="*/ 134410 h 1543391"/>
                    <a:gd name="connsiteX39" fmla="*/ 603727 w 1542756"/>
                    <a:gd name="connsiteY39"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457825 w 1542756"/>
                    <a:gd name="connsiteY19" fmla="*/ 1347735 h 1543391"/>
                    <a:gd name="connsiteX20" fmla="*/ 522614 w 1542756"/>
                    <a:gd name="connsiteY20" fmla="*/ 1456051 h 1543391"/>
                    <a:gd name="connsiteX21" fmla="*/ 530889 w 1542756"/>
                    <a:gd name="connsiteY21" fmla="*/ 1529038 h 1543391"/>
                    <a:gd name="connsiteX22" fmla="*/ 510900 w 1542756"/>
                    <a:gd name="connsiteY22" fmla="*/ 1543391 h 1543391"/>
                    <a:gd name="connsiteX23" fmla="*/ 0 w 1542756"/>
                    <a:gd name="connsiteY23" fmla="*/ 1543391 h 1543391"/>
                    <a:gd name="connsiteX24" fmla="*/ 0 w 1542756"/>
                    <a:gd name="connsiteY24" fmla="*/ 1030456 h 1543391"/>
                    <a:gd name="connsiteX25" fmla="*/ 14829 w 1542756"/>
                    <a:gd name="connsiteY25" fmla="*/ 1009804 h 1543391"/>
                    <a:gd name="connsiteX26" fmla="*/ 87734 w 1542756"/>
                    <a:gd name="connsiteY26" fmla="*/ 1015107 h 1543391"/>
                    <a:gd name="connsiteX27" fmla="*/ 196131 w 1542756"/>
                    <a:gd name="connsiteY27" fmla="*/ 1084600 h 1543391"/>
                    <a:gd name="connsiteX28" fmla="*/ 330541 w 1542756"/>
                    <a:gd name="connsiteY28" fmla="*/ 936966 h 1543391"/>
                    <a:gd name="connsiteX29" fmla="*/ 196131 w 1542756"/>
                    <a:gd name="connsiteY29" fmla="*/ 789332 h 1543391"/>
                    <a:gd name="connsiteX30" fmla="*/ 84678 w 1542756"/>
                    <a:gd name="connsiteY30" fmla="*/ 861880 h 1543391"/>
                    <a:gd name="connsiteX31" fmla="*/ 16002 w 1542756"/>
                    <a:gd name="connsiteY31" fmla="*/ 862694 h 1543391"/>
                    <a:gd name="connsiteX32" fmla="*/ 0 w 1542756"/>
                    <a:gd name="connsiteY32" fmla="*/ 841219 h 1543391"/>
                    <a:gd name="connsiteX33" fmla="*/ 0 w 1542756"/>
                    <a:gd name="connsiteY33" fmla="*/ 330541 h 1543391"/>
                    <a:gd name="connsiteX34" fmla="*/ 510238 w 1542756"/>
                    <a:gd name="connsiteY34" fmla="*/ 330541 h 1543391"/>
                    <a:gd name="connsiteX35" fmla="*/ 530889 w 1542756"/>
                    <a:gd name="connsiteY35" fmla="*/ 315713 h 1543391"/>
                    <a:gd name="connsiteX36" fmla="*/ 519475 w 1542756"/>
                    <a:gd name="connsiteY36" fmla="*/ 245864 h 1543391"/>
                    <a:gd name="connsiteX37" fmla="*/ 453037 w 1542756"/>
                    <a:gd name="connsiteY37" fmla="*/ 134410 h 1543391"/>
                    <a:gd name="connsiteX38" fmla="*/ 603727 w 1542756"/>
                    <a:gd name="connsiteY38"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522614 w 1542756"/>
                    <a:gd name="connsiteY19" fmla="*/ 1456051 h 1543391"/>
                    <a:gd name="connsiteX20" fmla="*/ 530889 w 1542756"/>
                    <a:gd name="connsiteY20" fmla="*/ 1529038 h 1543391"/>
                    <a:gd name="connsiteX21" fmla="*/ 510900 w 1542756"/>
                    <a:gd name="connsiteY21" fmla="*/ 1543391 h 1543391"/>
                    <a:gd name="connsiteX22" fmla="*/ 0 w 1542756"/>
                    <a:gd name="connsiteY22" fmla="*/ 1543391 h 1543391"/>
                    <a:gd name="connsiteX23" fmla="*/ 0 w 1542756"/>
                    <a:gd name="connsiteY23" fmla="*/ 1030456 h 1543391"/>
                    <a:gd name="connsiteX24" fmla="*/ 14829 w 1542756"/>
                    <a:gd name="connsiteY24" fmla="*/ 1009804 h 1543391"/>
                    <a:gd name="connsiteX25" fmla="*/ 87734 w 1542756"/>
                    <a:gd name="connsiteY25" fmla="*/ 1015107 h 1543391"/>
                    <a:gd name="connsiteX26" fmla="*/ 196131 w 1542756"/>
                    <a:gd name="connsiteY26" fmla="*/ 1084600 h 1543391"/>
                    <a:gd name="connsiteX27" fmla="*/ 330541 w 1542756"/>
                    <a:gd name="connsiteY27" fmla="*/ 936966 h 1543391"/>
                    <a:gd name="connsiteX28" fmla="*/ 196131 w 1542756"/>
                    <a:gd name="connsiteY28" fmla="*/ 789332 h 1543391"/>
                    <a:gd name="connsiteX29" fmla="*/ 84678 w 1542756"/>
                    <a:gd name="connsiteY29" fmla="*/ 861880 h 1543391"/>
                    <a:gd name="connsiteX30" fmla="*/ 16002 w 1542756"/>
                    <a:gd name="connsiteY30" fmla="*/ 862694 h 1543391"/>
                    <a:gd name="connsiteX31" fmla="*/ 0 w 1542756"/>
                    <a:gd name="connsiteY31" fmla="*/ 841219 h 1543391"/>
                    <a:gd name="connsiteX32" fmla="*/ 0 w 1542756"/>
                    <a:gd name="connsiteY32" fmla="*/ 330541 h 1543391"/>
                    <a:gd name="connsiteX33" fmla="*/ 510238 w 1542756"/>
                    <a:gd name="connsiteY33" fmla="*/ 330541 h 1543391"/>
                    <a:gd name="connsiteX34" fmla="*/ 530889 w 1542756"/>
                    <a:gd name="connsiteY34" fmla="*/ 315713 h 1543391"/>
                    <a:gd name="connsiteX35" fmla="*/ 519475 w 1542756"/>
                    <a:gd name="connsiteY35" fmla="*/ 245864 h 1543391"/>
                    <a:gd name="connsiteX36" fmla="*/ 453037 w 1542756"/>
                    <a:gd name="connsiteY36" fmla="*/ 134410 h 1543391"/>
                    <a:gd name="connsiteX37" fmla="*/ 603727 w 1542756"/>
                    <a:gd name="connsiteY37"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87979 w 1542756"/>
                    <a:gd name="connsiteY18" fmla="*/ 1459189 h 1543391"/>
                    <a:gd name="connsiteX19" fmla="*/ 530889 w 1542756"/>
                    <a:gd name="connsiteY19" fmla="*/ 1529038 h 1543391"/>
                    <a:gd name="connsiteX20" fmla="*/ 510900 w 1542756"/>
                    <a:gd name="connsiteY20" fmla="*/ 1543391 h 1543391"/>
                    <a:gd name="connsiteX21" fmla="*/ 0 w 1542756"/>
                    <a:gd name="connsiteY21" fmla="*/ 1543391 h 1543391"/>
                    <a:gd name="connsiteX22" fmla="*/ 0 w 1542756"/>
                    <a:gd name="connsiteY22" fmla="*/ 1030456 h 1543391"/>
                    <a:gd name="connsiteX23" fmla="*/ 14829 w 1542756"/>
                    <a:gd name="connsiteY23" fmla="*/ 1009804 h 1543391"/>
                    <a:gd name="connsiteX24" fmla="*/ 87734 w 1542756"/>
                    <a:gd name="connsiteY24" fmla="*/ 1015107 h 1543391"/>
                    <a:gd name="connsiteX25" fmla="*/ 196131 w 1542756"/>
                    <a:gd name="connsiteY25" fmla="*/ 1084600 h 1543391"/>
                    <a:gd name="connsiteX26" fmla="*/ 330541 w 1542756"/>
                    <a:gd name="connsiteY26" fmla="*/ 936966 h 1543391"/>
                    <a:gd name="connsiteX27" fmla="*/ 196131 w 1542756"/>
                    <a:gd name="connsiteY27" fmla="*/ 789332 h 1543391"/>
                    <a:gd name="connsiteX28" fmla="*/ 84678 w 1542756"/>
                    <a:gd name="connsiteY28" fmla="*/ 861880 h 1543391"/>
                    <a:gd name="connsiteX29" fmla="*/ 16002 w 1542756"/>
                    <a:gd name="connsiteY29" fmla="*/ 862694 h 1543391"/>
                    <a:gd name="connsiteX30" fmla="*/ 0 w 1542756"/>
                    <a:gd name="connsiteY30" fmla="*/ 841219 h 1543391"/>
                    <a:gd name="connsiteX31" fmla="*/ 0 w 1542756"/>
                    <a:gd name="connsiteY31" fmla="*/ 330541 h 1543391"/>
                    <a:gd name="connsiteX32" fmla="*/ 510238 w 1542756"/>
                    <a:gd name="connsiteY32" fmla="*/ 330541 h 1543391"/>
                    <a:gd name="connsiteX33" fmla="*/ 530889 w 1542756"/>
                    <a:gd name="connsiteY33" fmla="*/ 315713 h 1543391"/>
                    <a:gd name="connsiteX34" fmla="*/ 519475 w 1542756"/>
                    <a:gd name="connsiteY34" fmla="*/ 245864 h 1543391"/>
                    <a:gd name="connsiteX35" fmla="*/ 453037 w 1542756"/>
                    <a:gd name="connsiteY35" fmla="*/ 134410 h 1543391"/>
                    <a:gd name="connsiteX36" fmla="*/ 603727 w 1542756"/>
                    <a:gd name="connsiteY36"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530889 w 1542756"/>
                    <a:gd name="connsiteY18" fmla="*/ 1529038 h 1543391"/>
                    <a:gd name="connsiteX19" fmla="*/ 510900 w 1542756"/>
                    <a:gd name="connsiteY19" fmla="*/ 1543391 h 1543391"/>
                    <a:gd name="connsiteX20" fmla="*/ 0 w 1542756"/>
                    <a:gd name="connsiteY20" fmla="*/ 1543391 h 1543391"/>
                    <a:gd name="connsiteX21" fmla="*/ 0 w 1542756"/>
                    <a:gd name="connsiteY21" fmla="*/ 1030456 h 1543391"/>
                    <a:gd name="connsiteX22" fmla="*/ 14829 w 1542756"/>
                    <a:gd name="connsiteY22" fmla="*/ 1009804 h 1543391"/>
                    <a:gd name="connsiteX23" fmla="*/ 87734 w 1542756"/>
                    <a:gd name="connsiteY23" fmla="*/ 1015107 h 1543391"/>
                    <a:gd name="connsiteX24" fmla="*/ 196131 w 1542756"/>
                    <a:gd name="connsiteY24" fmla="*/ 1084600 h 1543391"/>
                    <a:gd name="connsiteX25" fmla="*/ 330541 w 1542756"/>
                    <a:gd name="connsiteY25" fmla="*/ 936966 h 1543391"/>
                    <a:gd name="connsiteX26" fmla="*/ 196131 w 1542756"/>
                    <a:gd name="connsiteY26" fmla="*/ 789332 h 1543391"/>
                    <a:gd name="connsiteX27" fmla="*/ 84678 w 1542756"/>
                    <a:gd name="connsiteY27" fmla="*/ 861880 h 1543391"/>
                    <a:gd name="connsiteX28" fmla="*/ 16002 w 1542756"/>
                    <a:gd name="connsiteY28" fmla="*/ 862694 h 1543391"/>
                    <a:gd name="connsiteX29" fmla="*/ 0 w 1542756"/>
                    <a:gd name="connsiteY29" fmla="*/ 841219 h 1543391"/>
                    <a:gd name="connsiteX30" fmla="*/ 0 w 1542756"/>
                    <a:gd name="connsiteY30" fmla="*/ 330541 h 1543391"/>
                    <a:gd name="connsiteX31" fmla="*/ 510238 w 1542756"/>
                    <a:gd name="connsiteY31" fmla="*/ 330541 h 1543391"/>
                    <a:gd name="connsiteX32" fmla="*/ 530889 w 1542756"/>
                    <a:gd name="connsiteY32" fmla="*/ 315713 h 1543391"/>
                    <a:gd name="connsiteX33" fmla="*/ 519475 w 1542756"/>
                    <a:gd name="connsiteY33" fmla="*/ 245864 h 1543391"/>
                    <a:gd name="connsiteX34" fmla="*/ 453037 w 1542756"/>
                    <a:gd name="connsiteY34" fmla="*/ 134410 h 1543391"/>
                    <a:gd name="connsiteX35" fmla="*/ 603727 w 1542756"/>
                    <a:gd name="connsiteY35"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56239 w 1542756"/>
                    <a:gd name="connsiteY18" fmla="*/ 1527917 h 1543391"/>
                    <a:gd name="connsiteX19" fmla="*/ 530889 w 1542756"/>
                    <a:gd name="connsiteY19" fmla="*/ 1529038 h 1543391"/>
                    <a:gd name="connsiteX20" fmla="*/ 510900 w 1542756"/>
                    <a:gd name="connsiteY20" fmla="*/ 1543391 h 1543391"/>
                    <a:gd name="connsiteX21" fmla="*/ 0 w 1542756"/>
                    <a:gd name="connsiteY21" fmla="*/ 1543391 h 1543391"/>
                    <a:gd name="connsiteX22" fmla="*/ 0 w 1542756"/>
                    <a:gd name="connsiteY22" fmla="*/ 1030456 h 1543391"/>
                    <a:gd name="connsiteX23" fmla="*/ 14829 w 1542756"/>
                    <a:gd name="connsiteY23" fmla="*/ 1009804 h 1543391"/>
                    <a:gd name="connsiteX24" fmla="*/ 87734 w 1542756"/>
                    <a:gd name="connsiteY24" fmla="*/ 1015107 h 1543391"/>
                    <a:gd name="connsiteX25" fmla="*/ 196131 w 1542756"/>
                    <a:gd name="connsiteY25" fmla="*/ 1084600 h 1543391"/>
                    <a:gd name="connsiteX26" fmla="*/ 330541 w 1542756"/>
                    <a:gd name="connsiteY26" fmla="*/ 936966 h 1543391"/>
                    <a:gd name="connsiteX27" fmla="*/ 196131 w 1542756"/>
                    <a:gd name="connsiteY27" fmla="*/ 789332 h 1543391"/>
                    <a:gd name="connsiteX28" fmla="*/ 84678 w 1542756"/>
                    <a:gd name="connsiteY28" fmla="*/ 861880 h 1543391"/>
                    <a:gd name="connsiteX29" fmla="*/ 16002 w 1542756"/>
                    <a:gd name="connsiteY29" fmla="*/ 862694 h 1543391"/>
                    <a:gd name="connsiteX30" fmla="*/ 0 w 1542756"/>
                    <a:gd name="connsiteY30" fmla="*/ 841219 h 1543391"/>
                    <a:gd name="connsiteX31" fmla="*/ 0 w 1542756"/>
                    <a:gd name="connsiteY31" fmla="*/ 330541 h 1543391"/>
                    <a:gd name="connsiteX32" fmla="*/ 510238 w 1542756"/>
                    <a:gd name="connsiteY32" fmla="*/ 330541 h 1543391"/>
                    <a:gd name="connsiteX33" fmla="*/ 530889 w 1542756"/>
                    <a:gd name="connsiteY33" fmla="*/ 315713 h 1543391"/>
                    <a:gd name="connsiteX34" fmla="*/ 519475 w 1542756"/>
                    <a:gd name="connsiteY34" fmla="*/ 245864 h 1543391"/>
                    <a:gd name="connsiteX35" fmla="*/ 453037 w 1542756"/>
                    <a:gd name="connsiteY35" fmla="*/ 134410 h 1543391"/>
                    <a:gd name="connsiteX36" fmla="*/ 603727 w 1542756"/>
                    <a:gd name="connsiteY36"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56239 w 1542756"/>
                    <a:gd name="connsiteY18" fmla="*/ 1527917 h 1543391"/>
                    <a:gd name="connsiteX19" fmla="*/ 510900 w 1542756"/>
                    <a:gd name="connsiteY19" fmla="*/ 1543391 h 1543391"/>
                    <a:gd name="connsiteX20" fmla="*/ 0 w 1542756"/>
                    <a:gd name="connsiteY20" fmla="*/ 1543391 h 1543391"/>
                    <a:gd name="connsiteX21" fmla="*/ 0 w 1542756"/>
                    <a:gd name="connsiteY21" fmla="*/ 1030456 h 1543391"/>
                    <a:gd name="connsiteX22" fmla="*/ 14829 w 1542756"/>
                    <a:gd name="connsiteY22" fmla="*/ 1009804 h 1543391"/>
                    <a:gd name="connsiteX23" fmla="*/ 87734 w 1542756"/>
                    <a:gd name="connsiteY23" fmla="*/ 1015107 h 1543391"/>
                    <a:gd name="connsiteX24" fmla="*/ 196131 w 1542756"/>
                    <a:gd name="connsiteY24" fmla="*/ 1084600 h 1543391"/>
                    <a:gd name="connsiteX25" fmla="*/ 330541 w 1542756"/>
                    <a:gd name="connsiteY25" fmla="*/ 936966 h 1543391"/>
                    <a:gd name="connsiteX26" fmla="*/ 196131 w 1542756"/>
                    <a:gd name="connsiteY26" fmla="*/ 789332 h 1543391"/>
                    <a:gd name="connsiteX27" fmla="*/ 84678 w 1542756"/>
                    <a:gd name="connsiteY27" fmla="*/ 861880 h 1543391"/>
                    <a:gd name="connsiteX28" fmla="*/ 16002 w 1542756"/>
                    <a:gd name="connsiteY28" fmla="*/ 862694 h 1543391"/>
                    <a:gd name="connsiteX29" fmla="*/ 0 w 1542756"/>
                    <a:gd name="connsiteY29" fmla="*/ 841219 h 1543391"/>
                    <a:gd name="connsiteX30" fmla="*/ 0 w 1542756"/>
                    <a:gd name="connsiteY30" fmla="*/ 330541 h 1543391"/>
                    <a:gd name="connsiteX31" fmla="*/ 510238 w 1542756"/>
                    <a:gd name="connsiteY31" fmla="*/ 330541 h 1543391"/>
                    <a:gd name="connsiteX32" fmla="*/ 530889 w 1542756"/>
                    <a:gd name="connsiteY32" fmla="*/ 315713 h 1543391"/>
                    <a:gd name="connsiteX33" fmla="*/ 519475 w 1542756"/>
                    <a:gd name="connsiteY33" fmla="*/ 245864 h 1543391"/>
                    <a:gd name="connsiteX34" fmla="*/ 453037 w 1542756"/>
                    <a:gd name="connsiteY34" fmla="*/ 134410 h 1543391"/>
                    <a:gd name="connsiteX35" fmla="*/ 603727 w 1542756"/>
                    <a:gd name="connsiteY35"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698836 w 1542756"/>
                    <a:gd name="connsiteY16" fmla="*/ 1543391 h 1543391"/>
                    <a:gd name="connsiteX17" fmla="*/ 677999 w 1542756"/>
                    <a:gd name="connsiteY17" fmla="*/ 1527864 h 1543391"/>
                    <a:gd name="connsiteX18" fmla="*/ 656239 w 1542756"/>
                    <a:gd name="connsiteY18" fmla="*/ 1527917 h 1543391"/>
                    <a:gd name="connsiteX19" fmla="*/ 0 w 1542756"/>
                    <a:gd name="connsiteY19" fmla="*/ 1543391 h 1543391"/>
                    <a:gd name="connsiteX20" fmla="*/ 0 w 1542756"/>
                    <a:gd name="connsiteY20" fmla="*/ 1030456 h 1543391"/>
                    <a:gd name="connsiteX21" fmla="*/ 14829 w 1542756"/>
                    <a:gd name="connsiteY21" fmla="*/ 1009804 h 1543391"/>
                    <a:gd name="connsiteX22" fmla="*/ 87734 w 1542756"/>
                    <a:gd name="connsiteY22" fmla="*/ 1015107 h 1543391"/>
                    <a:gd name="connsiteX23" fmla="*/ 196131 w 1542756"/>
                    <a:gd name="connsiteY23" fmla="*/ 1084600 h 1543391"/>
                    <a:gd name="connsiteX24" fmla="*/ 330541 w 1542756"/>
                    <a:gd name="connsiteY24" fmla="*/ 936966 h 1543391"/>
                    <a:gd name="connsiteX25" fmla="*/ 196131 w 1542756"/>
                    <a:gd name="connsiteY25" fmla="*/ 789332 h 1543391"/>
                    <a:gd name="connsiteX26" fmla="*/ 84678 w 1542756"/>
                    <a:gd name="connsiteY26" fmla="*/ 861880 h 1543391"/>
                    <a:gd name="connsiteX27" fmla="*/ 16002 w 1542756"/>
                    <a:gd name="connsiteY27" fmla="*/ 862694 h 1543391"/>
                    <a:gd name="connsiteX28" fmla="*/ 0 w 1542756"/>
                    <a:gd name="connsiteY28" fmla="*/ 841219 h 1543391"/>
                    <a:gd name="connsiteX29" fmla="*/ 0 w 1542756"/>
                    <a:gd name="connsiteY29" fmla="*/ 330541 h 1543391"/>
                    <a:gd name="connsiteX30" fmla="*/ 510238 w 1542756"/>
                    <a:gd name="connsiteY30" fmla="*/ 330541 h 1543391"/>
                    <a:gd name="connsiteX31" fmla="*/ 530889 w 1542756"/>
                    <a:gd name="connsiteY31" fmla="*/ 315713 h 1543391"/>
                    <a:gd name="connsiteX32" fmla="*/ 519475 w 1542756"/>
                    <a:gd name="connsiteY32" fmla="*/ 245864 h 1543391"/>
                    <a:gd name="connsiteX33" fmla="*/ 453037 w 1542756"/>
                    <a:gd name="connsiteY33" fmla="*/ 134410 h 1543391"/>
                    <a:gd name="connsiteX34" fmla="*/ 603727 w 1542756"/>
                    <a:gd name="connsiteY34" fmla="*/ 0 h 1543391"/>
                    <a:gd name="connsiteX0" fmla="*/ 603727 w 1542756"/>
                    <a:gd name="connsiteY0" fmla="*/ 0 h 1576600"/>
                    <a:gd name="connsiteX1" fmla="*/ 754417 w 1542756"/>
                    <a:gd name="connsiteY1" fmla="*/ 134410 h 1576600"/>
                    <a:gd name="connsiteX2" fmla="*/ 687979 w 1542756"/>
                    <a:gd name="connsiteY2" fmla="*/ 245864 h 1576600"/>
                    <a:gd name="connsiteX3" fmla="*/ 677999 w 1542756"/>
                    <a:gd name="connsiteY3" fmla="*/ 314539 h 1576600"/>
                    <a:gd name="connsiteX4" fmla="*/ 699473 w 1542756"/>
                    <a:gd name="connsiteY4" fmla="*/ 330541 h 1576600"/>
                    <a:gd name="connsiteX5" fmla="*/ 1212215 w 1542756"/>
                    <a:gd name="connsiteY5" fmla="*/ 330541 h 1576600"/>
                    <a:gd name="connsiteX6" fmla="*/ 1212215 w 1542756"/>
                    <a:gd name="connsiteY6" fmla="*/ 841219 h 1576600"/>
                    <a:gd name="connsiteX7" fmla="*/ 1228217 w 1542756"/>
                    <a:gd name="connsiteY7" fmla="*/ 862694 h 1576600"/>
                    <a:gd name="connsiteX8" fmla="*/ 1296893 w 1542756"/>
                    <a:gd name="connsiteY8" fmla="*/ 852714 h 1576600"/>
                    <a:gd name="connsiteX9" fmla="*/ 1408346 w 1542756"/>
                    <a:gd name="connsiteY9" fmla="*/ 786276 h 1576600"/>
                    <a:gd name="connsiteX10" fmla="*/ 1542756 w 1542756"/>
                    <a:gd name="connsiteY10" fmla="*/ 936966 h 1576600"/>
                    <a:gd name="connsiteX11" fmla="*/ 1408346 w 1542756"/>
                    <a:gd name="connsiteY11" fmla="*/ 1087656 h 1576600"/>
                    <a:gd name="connsiteX12" fmla="*/ 1296893 w 1542756"/>
                    <a:gd name="connsiteY12" fmla="*/ 1021218 h 1576600"/>
                    <a:gd name="connsiteX13" fmla="*/ 1227044 w 1542756"/>
                    <a:gd name="connsiteY13" fmla="*/ 1009804 h 1576600"/>
                    <a:gd name="connsiteX14" fmla="*/ 1212215 w 1542756"/>
                    <a:gd name="connsiteY14" fmla="*/ 1030456 h 1576600"/>
                    <a:gd name="connsiteX15" fmla="*/ 1212215 w 1542756"/>
                    <a:gd name="connsiteY15" fmla="*/ 1543391 h 1576600"/>
                    <a:gd name="connsiteX16" fmla="*/ 698836 w 1542756"/>
                    <a:gd name="connsiteY16" fmla="*/ 1543391 h 1576600"/>
                    <a:gd name="connsiteX17" fmla="*/ 677999 w 1542756"/>
                    <a:gd name="connsiteY17" fmla="*/ 1527864 h 1576600"/>
                    <a:gd name="connsiteX18" fmla="*/ 0 w 1542756"/>
                    <a:gd name="connsiteY18" fmla="*/ 1543391 h 1576600"/>
                    <a:gd name="connsiteX19" fmla="*/ 0 w 1542756"/>
                    <a:gd name="connsiteY19" fmla="*/ 1030456 h 1576600"/>
                    <a:gd name="connsiteX20" fmla="*/ 14829 w 1542756"/>
                    <a:gd name="connsiteY20" fmla="*/ 1009804 h 1576600"/>
                    <a:gd name="connsiteX21" fmla="*/ 87734 w 1542756"/>
                    <a:gd name="connsiteY21" fmla="*/ 1015107 h 1576600"/>
                    <a:gd name="connsiteX22" fmla="*/ 196131 w 1542756"/>
                    <a:gd name="connsiteY22" fmla="*/ 1084600 h 1576600"/>
                    <a:gd name="connsiteX23" fmla="*/ 330541 w 1542756"/>
                    <a:gd name="connsiteY23" fmla="*/ 936966 h 1576600"/>
                    <a:gd name="connsiteX24" fmla="*/ 196131 w 1542756"/>
                    <a:gd name="connsiteY24" fmla="*/ 789332 h 1576600"/>
                    <a:gd name="connsiteX25" fmla="*/ 84678 w 1542756"/>
                    <a:gd name="connsiteY25" fmla="*/ 861880 h 1576600"/>
                    <a:gd name="connsiteX26" fmla="*/ 16002 w 1542756"/>
                    <a:gd name="connsiteY26" fmla="*/ 862694 h 1576600"/>
                    <a:gd name="connsiteX27" fmla="*/ 0 w 1542756"/>
                    <a:gd name="connsiteY27" fmla="*/ 841219 h 1576600"/>
                    <a:gd name="connsiteX28" fmla="*/ 0 w 1542756"/>
                    <a:gd name="connsiteY28" fmla="*/ 330541 h 1576600"/>
                    <a:gd name="connsiteX29" fmla="*/ 510238 w 1542756"/>
                    <a:gd name="connsiteY29" fmla="*/ 330541 h 1576600"/>
                    <a:gd name="connsiteX30" fmla="*/ 530889 w 1542756"/>
                    <a:gd name="connsiteY30" fmla="*/ 315713 h 1576600"/>
                    <a:gd name="connsiteX31" fmla="*/ 519475 w 1542756"/>
                    <a:gd name="connsiteY31" fmla="*/ 245864 h 1576600"/>
                    <a:gd name="connsiteX32" fmla="*/ 453037 w 1542756"/>
                    <a:gd name="connsiteY32" fmla="*/ 134410 h 1576600"/>
                    <a:gd name="connsiteX33" fmla="*/ 603727 w 1542756"/>
                    <a:gd name="connsiteY33" fmla="*/ 0 h 1576600"/>
                    <a:gd name="connsiteX0" fmla="*/ 603727 w 1542756"/>
                    <a:gd name="connsiteY0" fmla="*/ 0 h 1576600"/>
                    <a:gd name="connsiteX1" fmla="*/ 754417 w 1542756"/>
                    <a:gd name="connsiteY1" fmla="*/ 134410 h 1576600"/>
                    <a:gd name="connsiteX2" fmla="*/ 687979 w 1542756"/>
                    <a:gd name="connsiteY2" fmla="*/ 245864 h 1576600"/>
                    <a:gd name="connsiteX3" fmla="*/ 677999 w 1542756"/>
                    <a:gd name="connsiteY3" fmla="*/ 314539 h 1576600"/>
                    <a:gd name="connsiteX4" fmla="*/ 699473 w 1542756"/>
                    <a:gd name="connsiteY4" fmla="*/ 330541 h 1576600"/>
                    <a:gd name="connsiteX5" fmla="*/ 1212215 w 1542756"/>
                    <a:gd name="connsiteY5" fmla="*/ 330541 h 1576600"/>
                    <a:gd name="connsiteX6" fmla="*/ 1212215 w 1542756"/>
                    <a:gd name="connsiteY6" fmla="*/ 841219 h 1576600"/>
                    <a:gd name="connsiteX7" fmla="*/ 1228217 w 1542756"/>
                    <a:gd name="connsiteY7" fmla="*/ 862694 h 1576600"/>
                    <a:gd name="connsiteX8" fmla="*/ 1296893 w 1542756"/>
                    <a:gd name="connsiteY8" fmla="*/ 852714 h 1576600"/>
                    <a:gd name="connsiteX9" fmla="*/ 1408346 w 1542756"/>
                    <a:gd name="connsiteY9" fmla="*/ 786276 h 1576600"/>
                    <a:gd name="connsiteX10" fmla="*/ 1542756 w 1542756"/>
                    <a:gd name="connsiteY10" fmla="*/ 936966 h 1576600"/>
                    <a:gd name="connsiteX11" fmla="*/ 1408346 w 1542756"/>
                    <a:gd name="connsiteY11" fmla="*/ 1087656 h 1576600"/>
                    <a:gd name="connsiteX12" fmla="*/ 1296893 w 1542756"/>
                    <a:gd name="connsiteY12" fmla="*/ 1021218 h 1576600"/>
                    <a:gd name="connsiteX13" fmla="*/ 1227044 w 1542756"/>
                    <a:gd name="connsiteY13" fmla="*/ 1009804 h 1576600"/>
                    <a:gd name="connsiteX14" fmla="*/ 1212215 w 1542756"/>
                    <a:gd name="connsiteY14" fmla="*/ 1030456 h 1576600"/>
                    <a:gd name="connsiteX15" fmla="*/ 1212215 w 1542756"/>
                    <a:gd name="connsiteY15" fmla="*/ 1543391 h 1576600"/>
                    <a:gd name="connsiteX16" fmla="*/ 677999 w 1542756"/>
                    <a:gd name="connsiteY16" fmla="*/ 1527864 h 1576600"/>
                    <a:gd name="connsiteX17" fmla="*/ 0 w 1542756"/>
                    <a:gd name="connsiteY17" fmla="*/ 1543391 h 1576600"/>
                    <a:gd name="connsiteX18" fmla="*/ 0 w 1542756"/>
                    <a:gd name="connsiteY18" fmla="*/ 1030456 h 1576600"/>
                    <a:gd name="connsiteX19" fmla="*/ 14829 w 1542756"/>
                    <a:gd name="connsiteY19" fmla="*/ 1009804 h 1576600"/>
                    <a:gd name="connsiteX20" fmla="*/ 87734 w 1542756"/>
                    <a:gd name="connsiteY20" fmla="*/ 1015107 h 1576600"/>
                    <a:gd name="connsiteX21" fmla="*/ 196131 w 1542756"/>
                    <a:gd name="connsiteY21" fmla="*/ 1084600 h 1576600"/>
                    <a:gd name="connsiteX22" fmla="*/ 330541 w 1542756"/>
                    <a:gd name="connsiteY22" fmla="*/ 936966 h 1576600"/>
                    <a:gd name="connsiteX23" fmla="*/ 196131 w 1542756"/>
                    <a:gd name="connsiteY23" fmla="*/ 789332 h 1576600"/>
                    <a:gd name="connsiteX24" fmla="*/ 84678 w 1542756"/>
                    <a:gd name="connsiteY24" fmla="*/ 861880 h 1576600"/>
                    <a:gd name="connsiteX25" fmla="*/ 16002 w 1542756"/>
                    <a:gd name="connsiteY25" fmla="*/ 862694 h 1576600"/>
                    <a:gd name="connsiteX26" fmla="*/ 0 w 1542756"/>
                    <a:gd name="connsiteY26" fmla="*/ 841219 h 1576600"/>
                    <a:gd name="connsiteX27" fmla="*/ 0 w 1542756"/>
                    <a:gd name="connsiteY27" fmla="*/ 330541 h 1576600"/>
                    <a:gd name="connsiteX28" fmla="*/ 510238 w 1542756"/>
                    <a:gd name="connsiteY28" fmla="*/ 330541 h 1576600"/>
                    <a:gd name="connsiteX29" fmla="*/ 530889 w 1542756"/>
                    <a:gd name="connsiteY29" fmla="*/ 315713 h 1576600"/>
                    <a:gd name="connsiteX30" fmla="*/ 519475 w 1542756"/>
                    <a:gd name="connsiteY30" fmla="*/ 245864 h 1576600"/>
                    <a:gd name="connsiteX31" fmla="*/ 453037 w 1542756"/>
                    <a:gd name="connsiteY31" fmla="*/ 134410 h 1576600"/>
                    <a:gd name="connsiteX32" fmla="*/ 603727 w 1542756"/>
                    <a:gd name="connsiteY32" fmla="*/ 0 h 1576600"/>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7734 w 1542756"/>
                    <a:gd name="connsiteY19" fmla="*/ 1015107 h 1543391"/>
                    <a:gd name="connsiteX20" fmla="*/ 196131 w 1542756"/>
                    <a:gd name="connsiteY20" fmla="*/ 1084600 h 1543391"/>
                    <a:gd name="connsiteX21" fmla="*/ 330541 w 1542756"/>
                    <a:gd name="connsiteY21" fmla="*/ 936966 h 1543391"/>
                    <a:gd name="connsiteX22" fmla="*/ 196131 w 1542756"/>
                    <a:gd name="connsiteY22" fmla="*/ 789332 h 1543391"/>
                    <a:gd name="connsiteX23" fmla="*/ 84678 w 1542756"/>
                    <a:gd name="connsiteY23" fmla="*/ 861880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7734 w 1542756"/>
                    <a:gd name="connsiteY19" fmla="*/ 1015107 h 1543391"/>
                    <a:gd name="connsiteX20" fmla="*/ 196131 w 1542756"/>
                    <a:gd name="connsiteY20" fmla="*/ 1084600 h 1543391"/>
                    <a:gd name="connsiteX21" fmla="*/ 330541 w 1542756"/>
                    <a:gd name="connsiteY21" fmla="*/ 936966 h 1543391"/>
                    <a:gd name="connsiteX22" fmla="*/ 196131 w 1542756"/>
                    <a:gd name="connsiteY22" fmla="*/ 789332 h 1543391"/>
                    <a:gd name="connsiteX23" fmla="*/ 84678 w 1542756"/>
                    <a:gd name="connsiteY23" fmla="*/ 861880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7734 w 1542756"/>
                    <a:gd name="connsiteY19" fmla="*/ 1015107 h 1543391"/>
                    <a:gd name="connsiteX20" fmla="*/ 196131 w 1542756"/>
                    <a:gd name="connsiteY20" fmla="*/ 1072995 h 1543391"/>
                    <a:gd name="connsiteX21" fmla="*/ 330541 w 1542756"/>
                    <a:gd name="connsiteY21" fmla="*/ 936966 h 1543391"/>
                    <a:gd name="connsiteX22" fmla="*/ 196131 w 1542756"/>
                    <a:gd name="connsiteY22" fmla="*/ 789332 h 1543391"/>
                    <a:gd name="connsiteX23" fmla="*/ 84678 w 1542756"/>
                    <a:gd name="connsiteY23" fmla="*/ 861880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7734 w 1542756"/>
                    <a:gd name="connsiteY19" fmla="*/ 1015107 h 1543391"/>
                    <a:gd name="connsiteX20" fmla="*/ 196131 w 1542756"/>
                    <a:gd name="connsiteY20" fmla="*/ 1072995 h 1543391"/>
                    <a:gd name="connsiteX21" fmla="*/ 330541 w 1542756"/>
                    <a:gd name="connsiteY21" fmla="*/ 936966 h 1543391"/>
                    <a:gd name="connsiteX22" fmla="*/ 196131 w 1542756"/>
                    <a:gd name="connsiteY22" fmla="*/ 789332 h 1543391"/>
                    <a:gd name="connsiteX23" fmla="*/ 84678 w 1542756"/>
                    <a:gd name="connsiteY23" fmla="*/ 861880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4829 w 1542756"/>
                    <a:gd name="connsiteY18" fmla="*/ 1009804 h 1543391"/>
                    <a:gd name="connsiteX19" fmla="*/ 87734 w 1542756"/>
                    <a:gd name="connsiteY19" fmla="*/ 1015107 h 1543391"/>
                    <a:gd name="connsiteX20" fmla="*/ 196131 w 1542756"/>
                    <a:gd name="connsiteY20" fmla="*/ 1072995 h 1543391"/>
                    <a:gd name="connsiteX21" fmla="*/ 330541 w 1542756"/>
                    <a:gd name="connsiteY21" fmla="*/ 936966 h 1543391"/>
                    <a:gd name="connsiteX22" fmla="*/ 196131 w 1542756"/>
                    <a:gd name="connsiteY22" fmla="*/ 789332 h 1543391"/>
                    <a:gd name="connsiteX23" fmla="*/ 84678 w 1542756"/>
                    <a:gd name="connsiteY23" fmla="*/ 861880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 name="connsiteX0" fmla="*/ 603727 w 1542756"/>
                    <a:gd name="connsiteY0" fmla="*/ 0 h 1543391"/>
                    <a:gd name="connsiteX1" fmla="*/ 754417 w 1542756"/>
                    <a:gd name="connsiteY1" fmla="*/ 134410 h 1543391"/>
                    <a:gd name="connsiteX2" fmla="*/ 687979 w 1542756"/>
                    <a:gd name="connsiteY2" fmla="*/ 245864 h 1543391"/>
                    <a:gd name="connsiteX3" fmla="*/ 677999 w 1542756"/>
                    <a:gd name="connsiteY3" fmla="*/ 314539 h 1543391"/>
                    <a:gd name="connsiteX4" fmla="*/ 699473 w 1542756"/>
                    <a:gd name="connsiteY4" fmla="*/ 330541 h 1543391"/>
                    <a:gd name="connsiteX5" fmla="*/ 1212215 w 1542756"/>
                    <a:gd name="connsiteY5" fmla="*/ 330541 h 1543391"/>
                    <a:gd name="connsiteX6" fmla="*/ 1212215 w 1542756"/>
                    <a:gd name="connsiteY6" fmla="*/ 841219 h 1543391"/>
                    <a:gd name="connsiteX7" fmla="*/ 1228217 w 1542756"/>
                    <a:gd name="connsiteY7" fmla="*/ 862694 h 1543391"/>
                    <a:gd name="connsiteX8" fmla="*/ 1296893 w 1542756"/>
                    <a:gd name="connsiteY8" fmla="*/ 852714 h 1543391"/>
                    <a:gd name="connsiteX9" fmla="*/ 1408346 w 1542756"/>
                    <a:gd name="connsiteY9" fmla="*/ 786276 h 1543391"/>
                    <a:gd name="connsiteX10" fmla="*/ 1542756 w 1542756"/>
                    <a:gd name="connsiteY10" fmla="*/ 936966 h 1543391"/>
                    <a:gd name="connsiteX11" fmla="*/ 1408346 w 1542756"/>
                    <a:gd name="connsiteY11" fmla="*/ 1087656 h 1543391"/>
                    <a:gd name="connsiteX12" fmla="*/ 1296893 w 1542756"/>
                    <a:gd name="connsiteY12" fmla="*/ 1021218 h 1543391"/>
                    <a:gd name="connsiteX13" fmla="*/ 1227044 w 1542756"/>
                    <a:gd name="connsiteY13" fmla="*/ 1009804 h 1543391"/>
                    <a:gd name="connsiteX14" fmla="*/ 1212215 w 1542756"/>
                    <a:gd name="connsiteY14" fmla="*/ 1030456 h 1543391"/>
                    <a:gd name="connsiteX15" fmla="*/ 1212215 w 1542756"/>
                    <a:gd name="connsiteY15" fmla="*/ 1543391 h 1543391"/>
                    <a:gd name="connsiteX16" fmla="*/ 0 w 1542756"/>
                    <a:gd name="connsiteY16" fmla="*/ 1543391 h 1543391"/>
                    <a:gd name="connsiteX17" fmla="*/ 0 w 1542756"/>
                    <a:gd name="connsiteY17" fmla="*/ 1030456 h 1543391"/>
                    <a:gd name="connsiteX18" fmla="*/ 10961 w 1542756"/>
                    <a:gd name="connsiteY18" fmla="*/ 998199 h 1543391"/>
                    <a:gd name="connsiteX19" fmla="*/ 87734 w 1542756"/>
                    <a:gd name="connsiteY19" fmla="*/ 1015107 h 1543391"/>
                    <a:gd name="connsiteX20" fmla="*/ 196131 w 1542756"/>
                    <a:gd name="connsiteY20" fmla="*/ 1072995 h 1543391"/>
                    <a:gd name="connsiteX21" fmla="*/ 330541 w 1542756"/>
                    <a:gd name="connsiteY21" fmla="*/ 936966 h 1543391"/>
                    <a:gd name="connsiteX22" fmla="*/ 196131 w 1542756"/>
                    <a:gd name="connsiteY22" fmla="*/ 789332 h 1543391"/>
                    <a:gd name="connsiteX23" fmla="*/ 84678 w 1542756"/>
                    <a:gd name="connsiteY23" fmla="*/ 861880 h 1543391"/>
                    <a:gd name="connsiteX24" fmla="*/ 16002 w 1542756"/>
                    <a:gd name="connsiteY24" fmla="*/ 862694 h 1543391"/>
                    <a:gd name="connsiteX25" fmla="*/ 0 w 1542756"/>
                    <a:gd name="connsiteY25" fmla="*/ 841219 h 1543391"/>
                    <a:gd name="connsiteX26" fmla="*/ 0 w 1542756"/>
                    <a:gd name="connsiteY26" fmla="*/ 330541 h 1543391"/>
                    <a:gd name="connsiteX27" fmla="*/ 510238 w 1542756"/>
                    <a:gd name="connsiteY27" fmla="*/ 330541 h 1543391"/>
                    <a:gd name="connsiteX28" fmla="*/ 530889 w 1542756"/>
                    <a:gd name="connsiteY28" fmla="*/ 315713 h 1543391"/>
                    <a:gd name="connsiteX29" fmla="*/ 519475 w 1542756"/>
                    <a:gd name="connsiteY29" fmla="*/ 245864 h 1543391"/>
                    <a:gd name="connsiteX30" fmla="*/ 453037 w 1542756"/>
                    <a:gd name="connsiteY30" fmla="*/ 134410 h 1543391"/>
                    <a:gd name="connsiteX31" fmla="*/ 603727 w 1542756"/>
                    <a:gd name="connsiteY31" fmla="*/ 0 h 15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42756" h="1543391">
                      <a:moveTo>
                        <a:pt x="603727" y="0"/>
                      </a:moveTo>
                      <a:cubicBezTo>
                        <a:pt x="686950" y="0"/>
                        <a:pt x="754417" y="60177"/>
                        <a:pt x="754417" y="134410"/>
                      </a:cubicBezTo>
                      <a:cubicBezTo>
                        <a:pt x="754417" y="180805"/>
                        <a:pt x="728063" y="221710"/>
                        <a:pt x="687979" y="245864"/>
                      </a:cubicBezTo>
                      <a:cubicBezTo>
                        <a:pt x="672929" y="266574"/>
                        <a:pt x="662635" y="293629"/>
                        <a:pt x="677999" y="314539"/>
                      </a:cubicBezTo>
                      <a:lnTo>
                        <a:pt x="699473" y="330541"/>
                      </a:lnTo>
                      <a:lnTo>
                        <a:pt x="1212215" y="330541"/>
                      </a:lnTo>
                      <a:lnTo>
                        <a:pt x="1212215" y="841219"/>
                      </a:lnTo>
                      <a:lnTo>
                        <a:pt x="1228217" y="862694"/>
                      </a:lnTo>
                      <a:cubicBezTo>
                        <a:pt x="1249127" y="878058"/>
                        <a:pt x="1276182" y="867764"/>
                        <a:pt x="1296893" y="852714"/>
                      </a:cubicBezTo>
                      <a:cubicBezTo>
                        <a:pt x="1321046" y="812631"/>
                        <a:pt x="1361952" y="786276"/>
                        <a:pt x="1408346" y="786276"/>
                      </a:cubicBezTo>
                      <a:cubicBezTo>
                        <a:pt x="1482579" y="786276"/>
                        <a:pt x="1542756" y="853743"/>
                        <a:pt x="1542756" y="936966"/>
                      </a:cubicBezTo>
                      <a:cubicBezTo>
                        <a:pt x="1542756" y="1020190"/>
                        <a:pt x="1482579" y="1087656"/>
                        <a:pt x="1408346" y="1087656"/>
                      </a:cubicBezTo>
                      <a:cubicBezTo>
                        <a:pt x="1361952" y="1087656"/>
                        <a:pt x="1321046" y="1061302"/>
                        <a:pt x="1296893" y="1021218"/>
                      </a:cubicBezTo>
                      <a:cubicBezTo>
                        <a:pt x="1274839" y="1003513"/>
                        <a:pt x="1248014" y="993403"/>
                        <a:pt x="1227044" y="1009804"/>
                      </a:cubicBezTo>
                      <a:lnTo>
                        <a:pt x="1212215" y="1030456"/>
                      </a:lnTo>
                      <a:lnTo>
                        <a:pt x="1212215" y="1543391"/>
                      </a:lnTo>
                      <a:lnTo>
                        <a:pt x="0" y="1543391"/>
                      </a:lnTo>
                      <a:lnTo>
                        <a:pt x="0" y="1030456"/>
                      </a:lnTo>
                      <a:lnTo>
                        <a:pt x="10961" y="998199"/>
                      </a:lnTo>
                      <a:cubicBezTo>
                        <a:pt x="31932" y="970193"/>
                        <a:pt x="65680" y="997402"/>
                        <a:pt x="87734" y="1015107"/>
                      </a:cubicBezTo>
                      <a:cubicBezTo>
                        <a:pt x="111887" y="1055191"/>
                        <a:pt x="149737" y="1072995"/>
                        <a:pt x="196131" y="1072995"/>
                      </a:cubicBezTo>
                      <a:cubicBezTo>
                        <a:pt x="280344" y="1089086"/>
                        <a:pt x="330541" y="984243"/>
                        <a:pt x="330541" y="936966"/>
                      </a:cubicBezTo>
                      <a:cubicBezTo>
                        <a:pt x="330541" y="889689"/>
                        <a:pt x="298222" y="790642"/>
                        <a:pt x="196131" y="789332"/>
                      </a:cubicBezTo>
                      <a:cubicBezTo>
                        <a:pt x="152097" y="794134"/>
                        <a:pt x="108831" y="821797"/>
                        <a:pt x="84678" y="861880"/>
                      </a:cubicBezTo>
                      <a:cubicBezTo>
                        <a:pt x="63967" y="876930"/>
                        <a:pt x="36912" y="878058"/>
                        <a:pt x="16002" y="862694"/>
                      </a:cubicBezTo>
                      <a:lnTo>
                        <a:pt x="0" y="841219"/>
                      </a:lnTo>
                      <a:lnTo>
                        <a:pt x="0" y="330541"/>
                      </a:lnTo>
                      <a:lnTo>
                        <a:pt x="510238" y="330541"/>
                      </a:lnTo>
                      <a:lnTo>
                        <a:pt x="530889" y="315713"/>
                      </a:lnTo>
                      <a:cubicBezTo>
                        <a:pt x="547290" y="294742"/>
                        <a:pt x="537180" y="267918"/>
                        <a:pt x="519475" y="245864"/>
                      </a:cubicBezTo>
                      <a:cubicBezTo>
                        <a:pt x="479391" y="221710"/>
                        <a:pt x="453037" y="180805"/>
                        <a:pt x="453037" y="134410"/>
                      </a:cubicBezTo>
                      <a:cubicBezTo>
                        <a:pt x="453037" y="60177"/>
                        <a:pt x="520503" y="0"/>
                        <a:pt x="603727" y="0"/>
                      </a:cubicBezTo>
                      <a:close/>
                    </a:path>
                  </a:pathLst>
                </a:custGeom>
                <a:solidFill>
                  <a:srgbClr val="7F7F7F"/>
                </a:solidFill>
                <a:ln w="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13" name="Group 12"/>
              <p:cNvGrpSpPr/>
              <p:nvPr/>
            </p:nvGrpSpPr>
            <p:grpSpPr>
              <a:xfrm>
                <a:off x="4768781" y="3359003"/>
                <a:ext cx="229649" cy="220998"/>
                <a:chOff x="6366103" y="5656329"/>
                <a:chExt cx="798116" cy="768056"/>
              </a:xfrm>
              <a:solidFill>
                <a:sysClr val="window" lastClr="FFFFFF"/>
              </a:solidFill>
            </p:grpSpPr>
            <p:sp>
              <p:nvSpPr>
                <p:cNvPr id="31" name="Freeform 30"/>
                <p:cNvSpPr>
                  <a:spLocks/>
                </p:cNvSpPr>
                <p:nvPr/>
              </p:nvSpPr>
              <p:spPr bwMode="auto">
                <a:xfrm>
                  <a:off x="6951657" y="5656329"/>
                  <a:ext cx="212562" cy="768056"/>
                </a:xfrm>
                <a:custGeom>
                  <a:avLst/>
                  <a:gdLst>
                    <a:gd name="connsiteX0" fmla="*/ 0 w 212562"/>
                    <a:gd name="connsiteY0" fmla="*/ 0 h 768056"/>
                    <a:gd name="connsiteX1" fmla="*/ 212562 w 212562"/>
                    <a:gd name="connsiteY1" fmla="*/ 0 h 768056"/>
                    <a:gd name="connsiteX2" fmla="*/ 212562 w 212562"/>
                    <a:gd name="connsiteY2" fmla="*/ 768056 h 768056"/>
                    <a:gd name="connsiteX3" fmla="*/ 0 w 212562"/>
                    <a:gd name="connsiteY3" fmla="*/ 768056 h 768056"/>
                    <a:gd name="connsiteX4" fmla="*/ 0 w 212562"/>
                    <a:gd name="connsiteY4" fmla="*/ 441563 h 768056"/>
                    <a:gd name="connsiteX5" fmla="*/ 20653 w 212562"/>
                    <a:gd name="connsiteY5" fmla="*/ 416532 h 768056"/>
                    <a:gd name="connsiteX6" fmla="*/ 60383 w 212562"/>
                    <a:gd name="connsiteY6" fmla="*/ 286462 h 768056"/>
                    <a:gd name="connsiteX7" fmla="*/ 20653 w 212562"/>
                    <a:gd name="connsiteY7" fmla="*/ 156393 h 768056"/>
                    <a:gd name="connsiteX8" fmla="*/ 0 w 212562"/>
                    <a:gd name="connsiteY8" fmla="*/ 131362 h 7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562" h="768056">
                      <a:moveTo>
                        <a:pt x="0" y="0"/>
                      </a:moveTo>
                      <a:lnTo>
                        <a:pt x="212562" y="0"/>
                      </a:lnTo>
                      <a:lnTo>
                        <a:pt x="212562" y="768056"/>
                      </a:lnTo>
                      <a:lnTo>
                        <a:pt x="0" y="768056"/>
                      </a:lnTo>
                      <a:lnTo>
                        <a:pt x="0" y="441563"/>
                      </a:lnTo>
                      <a:lnTo>
                        <a:pt x="20653" y="416532"/>
                      </a:lnTo>
                      <a:cubicBezTo>
                        <a:pt x="45736" y="379403"/>
                        <a:pt x="60383" y="334643"/>
                        <a:pt x="60383" y="286462"/>
                      </a:cubicBezTo>
                      <a:cubicBezTo>
                        <a:pt x="60383" y="238282"/>
                        <a:pt x="45736" y="193522"/>
                        <a:pt x="20653" y="156393"/>
                      </a:cubicBezTo>
                      <a:lnTo>
                        <a:pt x="0" y="131362"/>
                      </a:lnTo>
                      <a:close/>
                    </a:path>
                  </a:pathLst>
                </a:custGeom>
                <a:grpFill/>
                <a:ln w="0">
                  <a:noFill/>
                  <a:prstDash val="solid"/>
                  <a:round/>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Freeform 31"/>
                <p:cNvSpPr>
                  <a:spLocks/>
                </p:cNvSpPr>
                <p:nvPr/>
              </p:nvSpPr>
              <p:spPr bwMode="auto">
                <a:xfrm>
                  <a:off x="6659738" y="6143804"/>
                  <a:ext cx="218230" cy="280581"/>
                </a:xfrm>
                <a:custGeom>
                  <a:avLst/>
                  <a:gdLst>
                    <a:gd name="T0" fmla="*/ 39 w 77"/>
                    <a:gd name="T1" fmla="*/ 10 h 99"/>
                    <a:gd name="T2" fmla="*/ 58 w 77"/>
                    <a:gd name="T3" fmla="*/ 7 h 99"/>
                    <a:gd name="T4" fmla="*/ 77 w 77"/>
                    <a:gd name="T5" fmla="*/ 1 h 99"/>
                    <a:gd name="T6" fmla="*/ 77 w 77"/>
                    <a:gd name="T7" fmla="*/ 99 h 99"/>
                    <a:gd name="T8" fmla="*/ 0 w 77"/>
                    <a:gd name="T9" fmla="*/ 99 h 99"/>
                    <a:gd name="T10" fmla="*/ 0 w 77"/>
                    <a:gd name="T11" fmla="*/ 0 h 99"/>
                    <a:gd name="T12" fmla="*/ 19 w 77"/>
                    <a:gd name="T13" fmla="*/ 7 h 99"/>
                    <a:gd name="T14" fmla="*/ 39 w 77"/>
                    <a:gd name="T15" fmla="*/ 10 h 99"/>
                    <a:gd name="connsiteX0" fmla="*/ 5065 w 10000"/>
                    <a:gd name="connsiteY0" fmla="*/ 1010 h 10000"/>
                    <a:gd name="connsiteX1" fmla="*/ 7532 w 10000"/>
                    <a:gd name="connsiteY1" fmla="*/ 707 h 10000"/>
                    <a:gd name="connsiteX2" fmla="*/ 10000 w 10000"/>
                    <a:gd name="connsiteY2" fmla="*/ 101 h 10000"/>
                    <a:gd name="connsiteX3" fmla="*/ 10000 w 10000"/>
                    <a:gd name="connsiteY3" fmla="*/ 10000 h 10000"/>
                    <a:gd name="connsiteX4" fmla="*/ 0 w 10000"/>
                    <a:gd name="connsiteY4" fmla="*/ 10000 h 10000"/>
                    <a:gd name="connsiteX5" fmla="*/ 0 w 10000"/>
                    <a:gd name="connsiteY5" fmla="*/ 0 h 10000"/>
                    <a:gd name="connsiteX6" fmla="*/ 5065 w 10000"/>
                    <a:gd name="connsiteY6" fmla="*/ 1010 h 10000"/>
                    <a:gd name="connsiteX0" fmla="*/ 0 w 10000"/>
                    <a:gd name="connsiteY0" fmla="*/ 0 h 10000"/>
                    <a:gd name="connsiteX1" fmla="*/ 7532 w 10000"/>
                    <a:gd name="connsiteY1" fmla="*/ 707 h 10000"/>
                    <a:gd name="connsiteX2" fmla="*/ 10000 w 10000"/>
                    <a:gd name="connsiteY2" fmla="*/ 101 h 10000"/>
                    <a:gd name="connsiteX3" fmla="*/ 10000 w 10000"/>
                    <a:gd name="connsiteY3" fmla="*/ 10000 h 10000"/>
                    <a:gd name="connsiteX4" fmla="*/ 0 w 10000"/>
                    <a:gd name="connsiteY4" fmla="*/ 10000 h 10000"/>
                    <a:gd name="connsiteX5" fmla="*/ 0 w 10000"/>
                    <a:gd name="connsiteY5"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cubicBezTo>
                        <a:pt x="1446" y="811"/>
                        <a:pt x="5778" y="2053"/>
                        <a:pt x="10000" y="101"/>
                      </a:cubicBezTo>
                      <a:lnTo>
                        <a:pt x="10000" y="10000"/>
                      </a:lnTo>
                      <a:lnTo>
                        <a:pt x="0" y="10000"/>
                      </a:lnTo>
                      <a:lnTo>
                        <a:pt x="0" y="0"/>
                      </a:lnTo>
                      <a:close/>
                    </a:path>
                  </a:pathLst>
                </a:custGeom>
                <a:grp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3" name="Freeform 35"/>
                <p:cNvSpPr>
                  <a:spLocks/>
                </p:cNvSpPr>
                <p:nvPr/>
              </p:nvSpPr>
              <p:spPr bwMode="auto">
                <a:xfrm>
                  <a:off x="6381140" y="6046666"/>
                  <a:ext cx="219081" cy="377717"/>
                </a:xfrm>
                <a:custGeom>
                  <a:avLst/>
                  <a:gdLst>
                    <a:gd name="T0" fmla="*/ 77 w 77"/>
                    <a:gd name="T1" fmla="*/ 55 h 140"/>
                    <a:gd name="T2" fmla="*/ 77 w 77"/>
                    <a:gd name="T3" fmla="*/ 140 h 140"/>
                    <a:gd name="T4" fmla="*/ 0 w 77"/>
                    <a:gd name="T5" fmla="*/ 140 h 140"/>
                    <a:gd name="T6" fmla="*/ 0 w 77"/>
                    <a:gd name="T7" fmla="*/ 0 h 140"/>
                    <a:gd name="T8" fmla="*/ 61 w 77"/>
                    <a:gd name="T9" fmla="*/ 0 h 140"/>
                    <a:gd name="T10" fmla="*/ 67 w 77"/>
                    <a:gd name="T11" fmla="*/ 10 h 140"/>
                    <a:gd name="T12" fmla="*/ 22 w 77"/>
                    <a:gd name="T13" fmla="*/ 54 h 140"/>
                    <a:gd name="T14" fmla="*/ 16 w 77"/>
                    <a:gd name="T15" fmla="*/ 62 h 140"/>
                    <a:gd name="T16" fmla="*/ 16 w 77"/>
                    <a:gd name="T17" fmla="*/ 72 h 140"/>
                    <a:gd name="T18" fmla="*/ 20 w 77"/>
                    <a:gd name="T19" fmla="*/ 83 h 140"/>
                    <a:gd name="T20" fmla="*/ 29 w 77"/>
                    <a:gd name="T21" fmla="*/ 87 h 140"/>
                    <a:gd name="T22" fmla="*/ 39 w 77"/>
                    <a:gd name="T23" fmla="*/ 87 h 140"/>
                    <a:gd name="T24" fmla="*/ 48 w 77"/>
                    <a:gd name="T25" fmla="*/ 83 h 140"/>
                    <a:gd name="T26" fmla="*/ 77 w 77"/>
                    <a:gd name="T27" fmla="*/ 55 h 14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2078 w 10000"/>
                    <a:gd name="connsiteY7" fmla="*/ 5143 h 10000"/>
                    <a:gd name="connsiteX8" fmla="*/ 2597 w 10000"/>
                    <a:gd name="connsiteY8" fmla="*/ 5929 h 10000"/>
                    <a:gd name="connsiteX9" fmla="*/ 3766 w 10000"/>
                    <a:gd name="connsiteY9" fmla="*/ 6214 h 10000"/>
                    <a:gd name="connsiteX10" fmla="*/ 5065 w 10000"/>
                    <a:gd name="connsiteY10" fmla="*/ 6214 h 10000"/>
                    <a:gd name="connsiteX11" fmla="*/ 6234 w 10000"/>
                    <a:gd name="connsiteY11" fmla="*/ 5929 h 10000"/>
                    <a:gd name="connsiteX12" fmla="*/ 10000 w 10000"/>
                    <a:gd name="connsiteY12"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2597 w 10000"/>
                    <a:gd name="connsiteY7" fmla="*/ 5929 h 10000"/>
                    <a:gd name="connsiteX8" fmla="*/ 3766 w 10000"/>
                    <a:gd name="connsiteY8" fmla="*/ 6214 h 10000"/>
                    <a:gd name="connsiteX9" fmla="*/ 5065 w 10000"/>
                    <a:gd name="connsiteY9" fmla="*/ 6214 h 10000"/>
                    <a:gd name="connsiteX10" fmla="*/ 6234 w 10000"/>
                    <a:gd name="connsiteY10" fmla="*/ 5929 h 10000"/>
                    <a:gd name="connsiteX11" fmla="*/ 10000 w 10000"/>
                    <a:gd name="connsiteY11"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3766 w 10000"/>
                    <a:gd name="connsiteY7" fmla="*/ 6214 h 10000"/>
                    <a:gd name="connsiteX8" fmla="*/ 5065 w 10000"/>
                    <a:gd name="connsiteY8" fmla="*/ 6214 h 10000"/>
                    <a:gd name="connsiteX9" fmla="*/ 6234 w 10000"/>
                    <a:gd name="connsiteY9" fmla="*/ 5929 h 10000"/>
                    <a:gd name="connsiteX10" fmla="*/ 10000 w 10000"/>
                    <a:gd name="connsiteY10"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5065 w 10000"/>
                    <a:gd name="connsiteY7" fmla="*/ 6214 h 10000"/>
                    <a:gd name="connsiteX8" fmla="*/ 6234 w 10000"/>
                    <a:gd name="connsiteY8" fmla="*/ 5929 h 10000"/>
                    <a:gd name="connsiteX9" fmla="*/ 10000 w 10000"/>
                    <a:gd name="connsiteY9"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9034 w 10000"/>
                    <a:gd name="connsiteY5" fmla="*/ 531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48 h 10019"/>
                    <a:gd name="connsiteX1" fmla="*/ 10000 w 10000"/>
                    <a:gd name="connsiteY1" fmla="*/ 10019 h 10019"/>
                    <a:gd name="connsiteX2" fmla="*/ 0 w 10000"/>
                    <a:gd name="connsiteY2" fmla="*/ 10019 h 10019"/>
                    <a:gd name="connsiteX3" fmla="*/ 0 w 10000"/>
                    <a:gd name="connsiteY3" fmla="*/ 19 h 10019"/>
                    <a:gd name="connsiteX4" fmla="*/ 7922 w 10000"/>
                    <a:gd name="connsiteY4" fmla="*/ 19 h 10019"/>
                    <a:gd name="connsiteX5" fmla="*/ 9589 w 10000"/>
                    <a:gd name="connsiteY5" fmla="*/ 0 h 10019"/>
                    <a:gd name="connsiteX6" fmla="*/ 2857 w 10000"/>
                    <a:gd name="connsiteY6" fmla="*/ 3876 h 10019"/>
                    <a:gd name="connsiteX7" fmla="*/ 6234 w 10000"/>
                    <a:gd name="connsiteY7" fmla="*/ 5948 h 10019"/>
                    <a:gd name="connsiteX8" fmla="*/ 10000 w 10000"/>
                    <a:gd name="connsiteY8" fmla="*/ 3948 h 10019"/>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9034 w 10000"/>
                    <a:gd name="connsiteY5" fmla="*/ 347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9034 w 10000"/>
                    <a:gd name="connsiteY4" fmla="*/ 347 h 10000"/>
                    <a:gd name="connsiteX5" fmla="*/ 2857 w 10000"/>
                    <a:gd name="connsiteY5" fmla="*/ 3857 h 10000"/>
                    <a:gd name="connsiteX6" fmla="*/ 6234 w 10000"/>
                    <a:gd name="connsiteY6" fmla="*/ 5929 h 10000"/>
                    <a:gd name="connsiteX7" fmla="*/ 10000 w 10000"/>
                    <a:gd name="connsiteY7"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8701 w 10000"/>
                    <a:gd name="connsiteY4" fmla="*/ 42 h 10000"/>
                    <a:gd name="connsiteX5" fmla="*/ 2857 w 10000"/>
                    <a:gd name="connsiteY5" fmla="*/ 3857 h 10000"/>
                    <a:gd name="connsiteX6" fmla="*/ 6234 w 10000"/>
                    <a:gd name="connsiteY6" fmla="*/ 5929 h 10000"/>
                    <a:gd name="connsiteX7" fmla="*/ 10000 w 10000"/>
                    <a:gd name="connsiteY7"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9145 w 10000"/>
                    <a:gd name="connsiteY4" fmla="*/ 469 h 10000"/>
                    <a:gd name="connsiteX5" fmla="*/ 2857 w 10000"/>
                    <a:gd name="connsiteY5" fmla="*/ 3857 h 10000"/>
                    <a:gd name="connsiteX6" fmla="*/ 6234 w 10000"/>
                    <a:gd name="connsiteY6" fmla="*/ 5929 h 10000"/>
                    <a:gd name="connsiteX7" fmla="*/ 10000 w 10000"/>
                    <a:gd name="connsiteY7" fmla="*/ 3929 h 10000"/>
                    <a:gd name="connsiteX0" fmla="*/ 10000 w 10000"/>
                    <a:gd name="connsiteY0" fmla="*/ 3460 h 9531"/>
                    <a:gd name="connsiteX1" fmla="*/ 10000 w 10000"/>
                    <a:gd name="connsiteY1" fmla="*/ 9531 h 9531"/>
                    <a:gd name="connsiteX2" fmla="*/ 0 w 10000"/>
                    <a:gd name="connsiteY2" fmla="*/ 9531 h 9531"/>
                    <a:gd name="connsiteX3" fmla="*/ 111 w 10000"/>
                    <a:gd name="connsiteY3" fmla="*/ 20 h 9531"/>
                    <a:gd name="connsiteX4" fmla="*/ 9145 w 10000"/>
                    <a:gd name="connsiteY4" fmla="*/ 0 h 9531"/>
                    <a:gd name="connsiteX5" fmla="*/ 2857 w 10000"/>
                    <a:gd name="connsiteY5" fmla="*/ 3388 h 9531"/>
                    <a:gd name="connsiteX6" fmla="*/ 6234 w 10000"/>
                    <a:gd name="connsiteY6" fmla="*/ 5460 h 9531"/>
                    <a:gd name="connsiteX7" fmla="*/ 10000 w 10000"/>
                    <a:gd name="connsiteY7" fmla="*/ 3460 h 9531"/>
                    <a:gd name="connsiteX0" fmla="*/ 10000 w 10000"/>
                    <a:gd name="connsiteY0" fmla="*/ 3630 h 10000"/>
                    <a:gd name="connsiteX1" fmla="*/ 10000 w 10000"/>
                    <a:gd name="connsiteY1" fmla="*/ 10000 h 10000"/>
                    <a:gd name="connsiteX2" fmla="*/ 0 w 10000"/>
                    <a:gd name="connsiteY2" fmla="*/ 10000 h 10000"/>
                    <a:gd name="connsiteX3" fmla="*/ 111 w 10000"/>
                    <a:gd name="connsiteY3" fmla="*/ 21 h 10000"/>
                    <a:gd name="connsiteX4" fmla="*/ 8479 w 10000"/>
                    <a:gd name="connsiteY4" fmla="*/ 0 h 10000"/>
                    <a:gd name="connsiteX5" fmla="*/ 2857 w 10000"/>
                    <a:gd name="connsiteY5" fmla="*/ 3555 h 10000"/>
                    <a:gd name="connsiteX6" fmla="*/ 6234 w 10000"/>
                    <a:gd name="connsiteY6" fmla="*/ 5729 h 10000"/>
                    <a:gd name="connsiteX7" fmla="*/ 10000 w 10000"/>
                    <a:gd name="connsiteY7" fmla="*/ 3630 h 10000"/>
                    <a:gd name="connsiteX0" fmla="*/ 10000 w 10000"/>
                    <a:gd name="connsiteY0" fmla="*/ 3609 h 9979"/>
                    <a:gd name="connsiteX1" fmla="*/ 10000 w 10000"/>
                    <a:gd name="connsiteY1" fmla="*/ 9979 h 9979"/>
                    <a:gd name="connsiteX2" fmla="*/ 0 w 10000"/>
                    <a:gd name="connsiteY2" fmla="*/ 9979 h 9979"/>
                    <a:gd name="connsiteX3" fmla="*/ 111 w 10000"/>
                    <a:gd name="connsiteY3" fmla="*/ 0 h 9979"/>
                    <a:gd name="connsiteX4" fmla="*/ 8923 w 10000"/>
                    <a:gd name="connsiteY4" fmla="*/ 107 h 9979"/>
                    <a:gd name="connsiteX5" fmla="*/ 2857 w 10000"/>
                    <a:gd name="connsiteY5" fmla="*/ 3534 h 9979"/>
                    <a:gd name="connsiteX6" fmla="*/ 6234 w 10000"/>
                    <a:gd name="connsiteY6" fmla="*/ 5708 h 9979"/>
                    <a:gd name="connsiteX7" fmla="*/ 10000 w 10000"/>
                    <a:gd name="connsiteY7" fmla="*/ 3609 h 9979"/>
                    <a:gd name="connsiteX0" fmla="*/ 10000 w 10000"/>
                    <a:gd name="connsiteY0" fmla="*/ 3617 h 10000"/>
                    <a:gd name="connsiteX1" fmla="*/ 10000 w 10000"/>
                    <a:gd name="connsiteY1" fmla="*/ 10000 h 10000"/>
                    <a:gd name="connsiteX2" fmla="*/ 0 w 10000"/>
                    <a:gd name="connsiteY2" fmla="*/ 10000 h 10000"/>
                    <a:gd name="connsiteX3" fmla="*/ 11 w 10000"/>
                    <a:gd name="connsiteY3" fmla="*/ 0 h 10000"/>
                    <a:gd name="connsiteX4" fmla="*/ 8923 w 10000"/>
                    <a:gd name="connsiteY4" fmla="*/ 107 h 10000"/>
                    <a:gd name="connsiteX5" fmla="*/ 2857 w 10000"/>
                    <a:gd name="connsiteY5" fmla="*/ 3541 h 10000"/>
                    <a:gd name="connsiteX6" fmla="*/ 6234 w 10000"/>
                    <a:gd name="connsiteY6" fmla="*/ 5720 h 10000"/>
                    <a:gd name="connsiteX7" fmla="*/ 10000 w 10000"/>
                    <a:gd name="connsiteY7" fmla="*/ 3617 h 10000"/>
                    <a:gd name="connsiteX0" fmla="*/ 10039 w 10039"/>
                    <a:gd name="connsiteY0" fmla="*/ 3617 h 10000"/>
                    <a:gd name="connsiteX1" fmla="*/ 10039 w 10039"/>
                    <a:gd name="connsiteY1" fmla="*/ 10000 h 10000"/>
                    <a:gd name="connsiteX2" fmla="*/ 39 w 10039"/>
                    <a:gd name="connsiteY2" fmla="*/ 10000 h 10000"/>
                    <a:gd name="connsiteX3" fmla="*/ 0 w 10039"/>
                    <a:gd name="connsiteY3" fmla="*/ 0 h 10000"/>
                    <a:gd name="connsiteX4" fmla="*/ 8962 w 10039"/>
                    <a:gd name="connsiteY4" fmla="*/ 107 h 10000"/>
                    <a:gd name="connsiteX5" fmla="*/ 2896 w 10039"/>
                    <a:gd name="connsiteY5" fmla="*/ 3541 h 10000"/>
                    <a:gd name="connsiteX6" fmla="*/ 6273 w 10039"/>
                    <a:gd name="connsiteY6" fmla="*/ 5720 h 10000"/>
                    <a:gd name="connsiteX7" fmla="*/ 10039 w 10039"/>
                    <a:gd name="connsiteY7" fmla="*/ 3617 h 10000"/>
                    <a:gd name="connsiteX0" fmla="*/ 10039 w 10039"/>
                    <a:gd name="connsiteY0" fmla="*/ 3617 h 10000"/>
                    <a:gd name="connsiteX1" fmla="*/ 10039 w 10039"/>
                    <a:gd name="connsiteY1" fmla="*/ 10000 h 10000"/>
                    <a:gd name="connsiteX2" fmla="*/ 39 w 10039"/>
                    <a:gd name="connsiteY2" fmla="*/ 10000 h 10000"/>
                    <a:gd name="connsiteX3" fmla="*/ 0 w 10039"/>
                    <a:gd name="connsiteY3" fmla="*/ 0 h 10000"/>
                    <a:gd name="connsiteX4" fmla="*/ 9012 w 10039"/>
                    <a:gd name="connsiteY4" fmla="*/ 20 h 10000"/>
                    <a:gd name="connsiteX5" fmla="*/ 2896 w 10039"/>
                    <a:gd name="connsiteY5" fmla="*/ 3541 h 10000"/>
                    <a:gd name="connsiteX6" fmla="*/ 6273 w 10039"/>
                    <a:gd name="connsiteY6" fmla="*/ 5720 h 10000"/>
                    <a:gd name="connsiteX7" fmla="*/ 10039 w 10039"/>
                    <a:gd name="connsiteY7" fmla="*/ 3617 h 10000"/>
                    <a:gd name="connsiteX0" fmla="*/ 10039 w 10039"/>
                    <a:gd name="connsiteY0" fmla="*/ 3626 h 10009"/>
                    <a:gd name="connsiteX1" fmla="*/ 10039 w 10039"/>
                    <a:gd name="connsiteY1" fmla="*/ 10009 h 10009"/>
                    <a:gd name="connsiteX2" fmla="*/ 39 w 10039"/>
                    <a:gd name="connsiteY2" fmla="*/ 10009 h 10009"/>
                    <a:gd name="connsiteX3" fmla="*/ 0 w 10039"/>
                    <a:gd name="connsiteY3" fmla="*/ 9 h 10009"/>
                    <a:gd name="connsiteX4" fmla="*/ 9062 w 10039"/>
                    <a:gd name="connsiteY4" fmla="*/ 0 h 10009"/>
                    <a:gd name="connsiteX5" fmla="*/ 2896 w 10039"/>
                    <a:gd name="connsiteY5" fmla="*/ 3550 h 10009"/>
                    <a:gd name="connsiteX6" fmla="*/ 6273 w 10039"/>
                    <a:gd name="connsiteY6" fmla="*/ 5729 h 10009"/>
                    <a:gd name="connsiteX7" fmla="*/ 10039 w 10039"/>
                    <a:gd name="connsiteY7" fmla="*/ 3626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9" h="10009">
                      <a:moveTo>
                        <a:pt x="10039" y="3626"/>
                      </a:moveTo>
                      <a:lnTo>
                        <a:pt x="10039" y="10009"/>
                      </a:lnTo>
                      <a:lnTo>
                        <a:pt x="39" y="10009"/>
                      </a:lnTo>
                      <a:cubicBezTo>
                        <a:pt x="43" y="6676"/>
                        <a:pt x="-4" y="3342"/>
                        <a:pt x="0" y="9"/>
                      </a:cubicBezTo>
                      <a:lnTo>
                        <a:pt x="9062" y="0"/>
                      </a:lnTo>
                      <a:lnTo>
                        <a:pt x="2896" y="3550"/>
                      </a:lnTo>
                      <a:cubicBezTo>
                        <a:pt x="819" y="4463"/>
                        <a:pt x="3528" y="6871"/>
                        <a:pt x="6273" y="5729"/>
                      </a:cubicBezTo>
                      <a:lnTo>
                        <a:pt x="10039" y="3626"/>
                      </a:lnTo>
                      <a:close/>
                    </a:path>
                  </a:pathLst>
                </a:custGeom>
                <a:grp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34" name="Group 33"/>
                <p:cNvGrpSpPr/>
                <p:nvPr/>
              </p:nvGrpSpPr>
              <p:grpSpPr>
                <a:xfrm>
                  <a:off x="6366103" y="5821305"/>
                  <a:ext cx="635574" cy="400419"/>
                  <a:chOff x="-1645415" y="359051"/>
                  <a:chExt cx="4135140" cy="2605176"/>
                </a:xfrm>
                <a:grpFill/>
              </p:grpSpPr>
              <p:sp>
                <p:nvSpPr>
                  <p:cNvPr id="35" name="Freeform 32"/>
                  <p:cNvSpPr>
                    <a:spLocks/>
                  </p:cNvSpPr>
                  <p:nvPr/>
                </p:nvSpPr>
                <p:spPr bwMode="auto">
                  <a:xfrm>
                    <a:off x="1092128" y="900613"/>
                    <a:ext cx="479428" cy="682262"/>
                  </a:xfrm>
                  <a:custGeom>
                    <a:avLst/>
                    <a:gdLst>
                      <a:gd name="T0" fmla="*/ 26 w 26"/>
                      <a:gd name="T1" fmla="*/ 19 h 37"/>
                      <a:gd name="T2" fmla="*/ 13 w 26"/>
                      <a:gd name="T3" fmla="*/ 37 h 37"/>
                      <a:gd name="T4" fmla="*/ 0 w 26"/>
                      <a:gd name="T5" fmla="*/ 19 h 37"/>
                      <a:gd name="T6" fmla="*/ 7 w 26"/>
                      <a:gd name="T7" fmla="*/ 19 h 37"/>
                      <a:gd name="T8" fmla="*/ 7 w 26"/>
                      <a:gd name="T9" fmla="*/ 0 h 37"/>
                      <a:gd name="T10" fmla="*/ 18 w 26"/>
                      <a:gd name="T11" fmla="*/ 0 h 37"/>
                      <a:gd name="T12" fmla="*/ 18 w 26"/>
                      <a:gd name="T13" fmla="*/ 19 h 37"/>
                      <a:gd name="T14" fmla="*/ 26 w 26"/>
                      <a:gd name="T15" fmla="*/ 19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7">
                        <a:moveTo>
                          <a:pt x="26" y="19"/>
                        </a:moveTo>
                        <a:lnTo>
                          <a:pt x="13" y="37"/>
                        </a:lnTo>
                        <a:lnTo>
                          <a:pt x="0" y="19"/>
                        </a:lnTo>
                        <a:lnTo>
                          <a:pt x="7" y="19"/>
                        </a:lnTo>
                        <a:lnTo>
                          <a:pt x="7" y="0"/>
                        </a:lnTo>
                        <a:lnTo>
                          <a:pt x="18" y="0"/>
                        </a:lnTo>
                        <a:lnTo>
                          <a:pt x="18" y="19"/>
                        </a:lnTo>
                        <a:lnTo>
                          <a:pt x="26" y="19"/>
                        </a:lnTo>
                        <a:close/>
                      </a:path>
                    </a:pathLst>
                  </a:custGeom>
                  <a:grp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6" name="Freeform 34"/>
                  <p:cNvSpPr>
                    <a:spLocks/>
                  </p:cNvSpPr>
                  <p:nvPr/>
                </p:nvSpPr>
                <p:spPr bwMode="auto">
                  <a:xfrm>
                    <a:off x="446742" y="550266"/>
                    <a:ext cx="479428" cy="700695"/>
                  </a:xfrm>
                  <a:custGeom>
                    <a:avLst/>
                    <a:gdLst>
                      <a:gd name="T0" fmla="*/ 26 w 26"/>
                      <a:gd name="T1" fmla="*/ 19 h 38"/>
                      <a:gd name="T2" fmla="*/ 19 w 26"/>
                      <a:gd name="T3" fmla="*/ 19 h 38"/>
                      <a:gd name="T4" fmla="*/ 19 w 26"/>
                      <a:gd name="T5" fmla="*/ 38 h 38"/>
                      <a:gd name="T6" fmla="*/ 7 w 26"/>
                      <a:gd name="T7" fmla="*/ 38 h 38"/>
                      <a:gd name="T8" fmla="*/ 7 w 26"/>
                      <a:gd name="T9" fmla="*/ 19 h 38"/>
                      <a:gd name="T10" fmla="*/ 0 w 26"/>
                      <a:gd name="T11" fmla="*/ 19 h 38"/>
                      <a:gd name="T12" fmla="*/ 13 w 26"/>
                      <a:gd name="T13" fmla="*/ 0 h 38"/>
                      <a:gd name="T14" fmla="*/ 26 w 26"/>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19"/>
                        </a:moveTo>
                        <a:lnTo>
                          <a:pt x="19" y="19"/>
                        </a:lnTo>
                        <a:lnTo>
                          <a:pt x="19" y="38"/>
                        </a:lnTo>
                        <a:lnTo>
                          <a:pt x="7" y="38"/>
                        </a:lnTo>
                        <a:lnTo>
                          <a:pt x="7" y="19"/>
                        </a:lnTo>
                        <a:lnTo>
                          <a:pt x="0" y="19"/>
                        </a:lnTo>
                        <a:lnTo>
                          <a:pt x="13" y="0"/>
                        </a:lnTo>
                        <a:lnTo>
                          <a:pt x="26" y="19"/>
                        </a:lnTo>
                        <a:close/>
                      </a:path>
                    </a:pathLst>
                  </a:custGeom>
                  <a:grp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Freeform 36"/>
                  <p:cNvSpPr/>
                  <p:nvPr/>
                </p:nvSpPr>
                <p:spPr>
                  <a:xfrm rot="19069938">
                    <a:off x="-1645415" y="359051"/>
                    <a:ext cx="4135140" cy="2605176"/>
                  </a:xfrm>
                  <a:custGeom>
                    <a:avLst/>
                    <a:gdLst>
                      <a:gd name="connsiteX0" fmla="*/ 1057314 w 1232283"/>
                      <a:gd name="connsiteY0" fmla="*/ 209266 h 776350"/>
                      <a:gd name="connsiteX1" fmla="*/ 665295 w 1232283"/>
                      <a:gd name="connsiteY1" fmla="*/ 174969 h 776350"/>
                      <a:gd name="connsiteX2" fmla="*/ 630998 w 1232283"/>
                      <a:gd name="connsiteY2" fmla="*/ 566988 h 776350"/>
                      <a:gd name="connsiteX3" fmla="*/ 1023017 w 1232283"/>
                      <a:gd name="connsiteY3" fmla="*/ 601285 h 776350"/>
                      <a:gd name="connsiteX4" fmla="*/ 1057314 w 1232283"/>
                      <a:gd name="connsiteY4" fmla="*/ 209266 h 776350"/>
                      <a:gd name="connsiteX5" fmla="*/ 1141472 w 1232283"/>
                      <a:gd name="connsiteY5" fmla="*/ 138649 h 776350"/>
                      <a:gd name="connsiteX6" fmla="*/ 1093634 w 1232283"/>
                      <a:gd name="connsiteY6" fmla="*/ 685443 h 776350"/>
                      <a:gd name="connsiteX7" fmla="*/ 546840 w 1232283"/>
                      <a:gd name="connsiteY7" fmla="*/ 637605 h 776350"/>
                      <a:gd name="connsiteX8" fmla="*/ 471681 w 1232283"/>
                      <a:gd name="connsiteY8" fmla="*/ 502147 h 776350"/>
                      <a:gd name="connsiteX9" fmla="*/ 466616 w 1232283"/>
                      <a:gd name="connsiteY9" fmla="*/ 477365 h 776350"/>
                      <a:gd name="connsiteX10" fmla="*/ 444645 w 1232283"/>
                      <a:gd name="connsiteY10" fmla="*/ 481801 h 776350"/>
                      <a:gd name="connsiteX11" fmla="*/ 67083 w 1232283"/>
                      <a:gd name="connsiteY11" fmla="*/ 481801 h 776350"/>
                      <a:gd name="connsiteX12" fmla="*/ 0 w 1232283"/>
                      <a:gd name="connsiteY12" fmla="*/ 414718 h 776350"/>
                      <a:gd name="connsiteX13" fmla="*/ 0 w 1232283"/>
                      <a:gd name="connsiteY13" fmla="*/ 403415 h 776350"/>
                      <a:gd name="connsiteX14" fmla="*/ 67083 w 1232283"/>
                      <a:gd name="connsiteY14" fmla="*/ 336332 h 776350"/>
                      <a:gd name="connsiteX15" fmla="*/ 444645 w 1232283"/>
                      <a:gd name="connsiteY15" fmla="*/ 336332 h 776350"/>
                      <a:gd name="connsiteX16" fmla="*/ 459095 w 1232283"/>
                      <a:gd name="connsiteY16" fmla="*/ 339249 h 776350"/>
                      <a:gd name="connsiteX17" fmla="*/ 470168 w 1232283"/>
                      <a:gd name="connsiteY17" fmla="*/ 280996 h 776350"/>
                      <a:gd name="connsiteX18" fmla="*/ 594678 w 1232283"/>
                      <a:gd name="connsiteY18" fmla="*/ 90810 h 776350"/>
                      <a:gd name="connsiteX19" fmla="*/ 1141472 w 1232283"/>
                      <a:gd name="connsiteY19" fmla="*/ 138649 h 7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2283" h="776350">
                        <a:moveTo>
                          <a:pt x="1057314" y="209266"/>
                        </a:moveTo>
                        <a:cubicBezTo>
                          <a:pt x="958532" y="91542"/>
                          <a:pt x="783019" y="76186"/>
                          <a:pt x="665295" y="174969"/>
                        </a:cubicBezTo>
                        <a:cubicBezTo>
                          <a:pt x="547571" y="273751"/>
                          <a:pt x="532216" y="449263"/>
                          <a:pt x="630998" y="566988"/>
                        </a:cubicBezTo>
                        <a:cubicBezTo>
                          <a:pt x="729780" y="684712"/>
                          <a:pt x="905293" y="700067"/>
                          <a:pt x="1023017" y="601285"/>
                        </a:cubicBezTo>
                        <a:cubicBezTo>
                          <a:pt x="1140741" y="502502"/>
                          <a:pt x="1156096" y="326990"/>
                          <a:pt x="1057314" y="209266"/>
                        </a:cubicBezTo>
                        <a:close/>
                        <a:moveTo>
                          <a:pt x="1141472" y="138649"/>
                        </a:moveTo>
                        <a:cubicBezTo>
                          <a:pt x="1279255" y="302852"/>
                          <a:pt x="1257837" y="547660"/>
                          <a:pt x="1093634" y="685443"/>
                        </a:cubicBezTo>
                        <a:cubicBezTo>
                          <a:pt x="929431" y="823226"/>
                          <a:pt x="687978" y="802101"/>
                          <a:pt x="546840" y="637605"/>
                        </a:cubicBezTo>
                        <a:cubicBezTo>
                          <a:pt x="511555" y="596481"/>
                          <a:pt x="486640" y="550355"/>
                          <a:pt x="471681" y="502147"/>
                        </a:cubicBezTo>
                        <a:lnTo>
                          <a:pt x="466616" y="477365"/>
                        </a:lnTo>
                        <a:lnTo>
                          <a:pt x="444645" y="481801"/>
                        </a:lnTo>
                        <a:lnTo>
                          <a:pt x="67083" y="481801"/>
                        </a:lnTo>
                        <a:cubicBezTo>
                          <a:pt x="30034" y="481801"/>
                          <a:pt x="0" y="451767"/>
                          <a:pt x="0" y="414718"/>
                        </a:cubicBezTo>
                        <a:lnTo>
                          <a:pt x="0" y="403415"/>
                        </a:lnTo>
                        <a:cubicBezTo>
                          <a:pt x="0" y="366366"/>
                          <a:pt x="30034" y="336332"/>
                          <a:pt x="67083" y="336332"/>
                        </a:cubicBezTo>
                        <a:lnTo>
                          <a:pt x="444645" y="336332"/>
                        </a:lnTo>
                        <a:lnTo>
                          <a:pt x="459095" y="339249"/>
                        </a:lnTo>
                        <a:lnTo>
                          <a:pt x="470168" y="280996"/>
                        </a:lnTo>
                        <a:cubicBezTo>
                          <a:pt x="491133" y="209157"/>
                          <a:pt x="533102" y="142479"/>
                          <a:pt x="594678" y="90810"/>
                        </a:cubicBezTo>
                        <a:cubicBezTo>
                          <a:pt x="758881" y="-46972"/>
                          <a:pt x="1003690" y="-25554"/>
                          <a:pt x="1141472" y="138649"/>
                        </a:cubicBezTo>
                        <a:close/>
                      </a:path>
                    </a:pathLst>
                  </a:custGeom>
                  <a:grp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sp>
            <p:nvSpPr>
              <p:cNvPr id="14" name="Freeform 13"/>
              <p:cNvSpPr/>
              <p:nvPr/>
            </p:nvSpPr>
            <p:spPr>
              <a:xfrm>
                <a:off x="4766711" y="4181541"/>
                <a:ext cx="227714" cy="223085"/>
              </a:xfrm>
              <a:custGeom>
                <a:avLst/>
                <a:gdLst>
                  <a:gd name="connsiteX0" fmla="*/ 118686 w 245249"/>
                  <a:gd name="connsiteY0" fmla="*/ 244311 h 245090"/>
                  <a:gd name="connsiteX1" fmla="*/ 120628 w 245249"/>
                  <a:gd name="connsiteY1" fmla="*/ 244703 h 245090"/>
                  <a:gd name="connsiteX2" fmla="*/ 118687 w 245249"/>
                  <a:gd name="connsiteY2" fmla="*/ 244620 h 245090"/>
                  <a:gd name="connsiteX3" fmla="*/ 136817 w 245249"/>
                  <a:gd name="connsiteY3" fmla="*/ 244057 h 245090"/>
                  <a:gd name="connsiteX4" fmla="*/ 135075 w 245249"/>
                  <a:gd name="connsiteY4" fmla="*/ 244458 h 245090"/>
                  <a:gd name="connsiteX5" fmla="*/ 132032 w 245249"/>
                  <a:gd name="connsiteY5" fmla="*/ 244611 h 245090"/>
                  <a:gd name="connsiteX6" fmla="*/ 141505 w 245249"/>
                  <a:gd name="connsiteY6" fmla="*/ 242980 h 245090"/>
                  <a:gd name="connsiteX7" fmla="*/ 139316 w 245249"/>
                  <a:gd name="connsiteY7" fmla="*/ 243768 h 245090"/>
                  <a:gd name="connsiteX8" fmla="*/ 136817 w 245249"/>
                  <a:gd name="connsiteY8" fmla="*/ 244057 h 245090"/>
                  <a:gd name="connsiteX9" fmla="*/ 188555 w 245249"/>
                  <a:gd name="connsiteY9" fmla="*/ 225444 h 245090"/>
                  <a:gd name="connsiteX10" fmla="*/ 186371 w 245249"/>
                  <a:gd name="connsiteY10" fmla="*/ 226829 h 245090"/>
                  <a:gd name="connsiteX11" fmla="*/ 184603 w 245249"/>
                  <a:gd name="connsiteY11" fmla="*/ 227465 h 245090"/>
                  <a:gd name="connsiteX12" fmla="*/ 193758 w 245249"/>
                  <a:gd name="connsiteY12" fmla="*/ 222145 h 245090"/>
                  <a:gd name="connsiteX13" fmla="*/ 191062 w 245249"/>
                  <a:gd name="connsiteY13" fmla="*/ 224162 h 245090"/>
                  <a:gd name="connsiteX14" fmla="*/ 188555 w 245249"/>
                  <a:gd name="connsiteY14" fmla="*/ 225444 h 245090"/>
                  <a:gd name="connsiteX15" fmla="*/ 240301 w 245249"/>
                  <a:gd name="connsiteY15" fmla="*/ 156187 h 245090"/>
                  <a:gd name="connsiteX16" fmla="*/ 239582 w 245249"/>
                  <a:gd name="connsiteY16" fmla="*/ 158986 h 245090"/>
                  <a:gd name="connsiteX17" fmla="*/ 238857 w 245249"/>
                  <a:gd name="connsiteY17" fmla="*/ 160966 h 245090"/>
                  <a:gd name="connsiteX18" fmla="*/ 242913 w 245249"/>
                  <a:gd name="connsiteY18" fmla="*/ 145202 h 245090"/>
                  <a:gd name="connsiteX19" fmla="*/ 242601 w 245249"/>
                  <a:gd name="connsiteY19" fmla="*/ 147242 h 245090"/>
                  <a:gd name="connsiteX20" fmla="*/ 241624 w 245249"/>
                  <a:gd name="connsiteY20" fmla="*/ 151042 h 245090"/>
                  <a:gd name="connsiteX21" fmla="*/ 244476 w 245249"/>
                  <a:gd name="connsiteY21" fmla="*/ 134723 h 245090"/>
                  <a:gd name="connsiteX22" fmla="*/ 244458 w 245249"/>
                  <a:gd name="connsiteY22" fmla="*/ 135075 h 245090"/>
                  <a:gd name="connsiteX23" fmla="*/ 243986 w 245249"/>
                  <a:gd name="connsiteY23" fmla="*/ 138166 h 245090"/>
                  <a:gd name="connsiteX24" fmla="*/ 125807 w 245249"/>
                  <a:gd name="connsiteY24" fmla="*/ 134551 h 245090"/>
                  <a:gd name="connsiteX25" fmla="*/ 205904 w 245249"/>
                  <a:gd name="connsiteY25" fmla="*/ 212595 h 245090"/>
                  <a:gd name="connsiteX26" fmla="*/ 179536 w 245249"/>
                  <a:gd name="connsiteY26" fmla="*/ 229289 h 245090"/>
                  <a:gd name="connsiteX27" fmla="*/ 184603 w 245249"/>
                  <a:gd name="connsiteY27" fmla="*/ 227465 h 245090"/>
                  <a:gd name="connsiteX28" fmla="*/ 173230 w 245249"/>
                  <a:gd name="connsiteY28" fmla="*/ 233282 h 245090"/>
                  <a:gd name="connsiteX29" fmla="*/ 169503 w 245249"/>
                  <a:gd name="connsiteY29" fmla="*/ 235641 h 245090"/>
                  <a:gd name="connsiteX30" fmla="*/ 167972 w 245249"/>
                  <a:gd name="connsiteY30" fmla="*/ 235971 h 245090"/>
                  <a:gd name="connsiteX31" fmla="*/ 164681 w 245249"/>
                  <a:gd name="connsiteY31" fmla="*/ 237654 h 245090"/>
                  <a:gd name="connsiteX32" fmla="*/ 141505 w 245249"/>
                  <a:gd name="connsiteY32" fmla="*/ 242980 h 245090"/>
                  <a:gd name="connsiteX33" fmla="*/ 150567 w 245249"/>
                  <a:gd name="connsiteY33" fmla="*/ 239718 h 245090"/>
                  <a:gd name="connsiteX34" fmla="*/ 126847 w 245249"/>
                  <a:gd name="connsiteY34" fmla="*/ 244824 h 245090"/>
                  <a:gd name="connsiteX35" fmla="*/ 131990 w 245249"/>
                  <a:gd name="connsiteY35" fmla="*/ 244613 h 245090"/>
                  <a:gd name="connsiteX36" fmla="*/ 126552 w 245249"/>
                  <a:gd name="connsiteY36" fmla="*/ 244888 h 245090"/>
                  <a:gd name="connsiteX37" fmla="*/ 125807 w 245249"/>
                  <a:gd name="connsiteY37" fmla="*/ 245048 h 245090"/>
                  <a:gd name="connsiteX38" fmla="*/ 125807 w 245249"/>
                  <a:gd name="connsiteY38" fmla="*/ 244926 h 245090"/>
                  <a:gd name="connsiteX39" fmla="*/ 122545 w 245249"/>
                  <a:gd name="connsiteY39" fmla="*/ 245090 h 245090"/>
                  <a:gd name="connsiteX40" fmla="*/ 120628 w 245249"/>
                  <a:gd name="connsiteY40" fmla="*/ 244703 h 245090"/>
                  <a:gd name="connsiteX41" fmla="*/ 125122 w 245249"/>
                  <a:gd name="connsiteY41" fmla="*/ 244895 h 245090"/>
                  <a:gd name="connsiteX42" fmla="*/ 125807 w 245249"/>
                  <a:gd name="connsiteY42" fmla="*/ 244867 h 245090"/>
                  <a:gd name="connsiteX43" fmla="*/ 213051 w 245249"/>
                  <a:gd name="connsiteY43" fmla="*/ 39357 h 245090"/>
                  <a:gd name="connsiteX44" fmla="*/ 245110 w 245249"/>
                  <a:gd name="connsiteY44" fmla="*/ 127439 h 245090"/>
                  <a:gd name="connsiteX45" fmla="*/ 235459 w 245249"/>
                  <a:gd name="connsiteY45" fmla="*/ 170208 h 245090"/>
                  <a:gd name="connsiteX46" fmla="*/ 235724 w 245249"/>
                  <a:gd name="connsiteY46" fmla="*/ 169525 h 245090"/>
                  <a:gd name="connsiteX47" fmla="*/ 235461 w 245249"/>
                  <a:gd name="connsiteY47" fmla="*/ 170245 h 245090"/>
                  <a:gd name="connsiteX48" fmla="*/ 235441 w 245249"/>
                  <a:gd name="connsiteY48" fmla="*/ 170287 h 245090"/>
                  <a:gd name="connsiteX49" fmla="*/ 235429 w 245249"/>
                  <a:gd name="connsiteY49" fmla="*/ 170339 h 245090"/>
                  <a:gd name="connsiteX50" fmla="*/ 235375 w 245249"/>
                  <a:gd name="connsiteY50" fmla="*/ 170424 h 245090"/>
                  <a:gd name="connsiteX51" fmla="*/ 235374 w 245249"/>
                  <a:gd name="connsiteY51" fmla="*/ 170425 h 245090"/>
                  <a:gd name="connsiteX52" fmla="*/ 235374 w 245249"/>
                  <a:gd name="connsiteY52" fmla="*/ 170424 h 245090"/>
                  <a:gd name="connsiteX53" fmla="*/ 212692 w 245249"/>
                  <a:gd name="connsiteY53" fmla="*/ 205879 h 245090"/>
                  <a:gd name="connsiteX54" fmla="*/ 129373 w 245249"/>
                  <a:gd name="connsiteY54" fmla="*/ 120223 h 245090"/>
                  <a:gd name="connsiteX55" fmla="*/ 206185 w 245249"/>
                  <a:gd name="connsiteY55" fmla="*/ 33154 h 245090"/>
                  <a:gd name="connsiteX56" fmla="*/ 209198 w 245249"/>
                  <a:gd name="connsiteY56" fmla="*/ 35892 h 245090"/>
                  <a:gd name="connsiteX57" fmla="*/ 209830 w 245249"/>
                  <a:gd name="connsiteY57" fmla="*/ 36588 h 245090"/>
                  <a:gd name="connsiteX58" fmla="*/ 122545 w 245249"/>
                  <a:gd name="connsiteY58" fmla="*/ 0 h 245090"/>
                  <a:gd name="connsiteX59" fmla="*/ 200496 w 245249"/>
                  <a:gd name="connsiteY59" fmla="*/ 27983 h 245090"/>
                  <a:gd name="connsiteX60" fmla="*/ 205941 w 245249"/>
                  <a:gd name="connsiteY60" fmla="*/ 32932 h 245090"/>
                  <a:gd name="connsiteX61" fmla="*/ 118546 w 245249"/>
                  <a:gd name="connsiteY61" fmla="*/ 118869 h 245090"/>
                  <a:gd name="connsiteX62" fmla="*/ 118686 w 245249"/>
                  <a:gd name="connsiteY62" fmla="*/ 244311 h 245090"/>
                  <a:gd name="connsiteX63" fmla="*/ 74845 w 245249"/>
                  <a:gd name="connsiteY63" fmla="*/ 235460 h 245090"/>
                  <a:gd name="connsiteX64" fmla="*/ 0 w 245249"/>
                  <a:gd name="connsiteY64" fmla="*/ 122545 h 245090"/>
                  <a:gd name="connsiteX65" fmla="*/ 122545 w 245249"/>
                  <a:gd name="connsiteY65" fmla="*/ 0 h 245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45249" h="245090">
                    <a:moveTo>
                      <a:pt x="118686" y="244311"/>
                    </a:moveTo>
                    <a:lnTo>
                      <a:pt x="120628" y="244703"/>
                    </a:lnTo>
                    <a:lnTo>
                      <a:pt x="118687" y="244620"/>
                    </a:lnTo>
                    <a:close/>
                    <a:moveTo>
                      <a:pt x="136817" y="244057"/>
                    </a:moveTo>
                    <a:lnTo>
                      <a:pt x="135075" y="244458"/>
                    </a:lnTo>
                    <a:lnTo>
                      <a:pt x="132032" y="244611"/>
                    </a:lnTo>
                    <a:close/>
                    <a:moveTo>
                      <a:pt x="141505" y="242980"/>
                    </a:moveTo>
                    <a:lnTo>
                      <a:pt x="139316" y="243768"/>
                    </a:lnTo>
                    <a:lnTo>
                      <a:pt x="136817" y="244057"/>
                    </a:lnTo>
                    <a:close/>
                    <a:moveTo>
                      <a:pt x="188555" y="225444"/>
                    </a:moveTo>
                    <a:lnTo>
                      <a:pt x="186371" y="226829"/>
                    </a:lnTo>
                    <a:lnTo>
                      <a:pt x="184603" y="227465"/>
                    </a:lnTo>
                    <a:close/>
                    <a:moveTo>
                      <a:pt x="193758" y="222145"/>
                    </a:moveTo>
                    <a:lnTo>
                      <a:pt x="191062" y="224162"/>
                    </a:lnTo>
                    <a:lnTo>
                      <a:pt x="188555" y="225444"/>
                    </a:lnTo>
                    <a:close/>
                    <a:moveTo>
                      <a:pt x="240301" y="156187"/>
                    </a:moveTo>
                    <a:lnTo>
                      <a:pt x="239582" y="158986"/>
                    </a:lnTo>
                    <a:lnTo>
                      <a:pt x="238857" y="160966"/>
                    </a:lnTo>
                    <a:close/>
                    <a:moveTo>
                      <a:pt x="242913" y="145202"/>
                    </a:moveTo>
                    <a:lnTo>
                      <a:pt x="242601" y="147242"/>
                    </a:lnTo>
                    <a:lnTo>
                      <a:pt x="241624" y="151042"/>
                    </a:lnTo>
                    <a:close/>
                    <a:moveTo>
                      <a:pt x="244476" y="134723"/>
                    </a:moveTo>
                    <a:lnTo>
                      <a:pt x="244458" y="135075"/>
                    </a:lnTo>
                    <a:lnTo>
                      <a:pt x="243986" y="138166"/>
                    </a:lnTo>
                    <a:close/>
                    <a:moveTo>
                      <a:pt x="125807" y="134551"/>
                    </a:moveTo>
                    <a:lnTo>
                      <a:pt x="205904" y="212595"/>
                    </a:lnTo>
                    <a:lnTo>
                      <a:pt x="179536" y="229289"/>
                    </a:lnTo>
                    <a:lnTo>
                      <a:pt x="184603" y="227465"/>
                    </a:lnTo>
                    <a:lnTo>
                      <a:pt x="173230" y="233282"/>
                    </a:lnTo>
                    <a:lnTo>
                      <a:pt x="169503" y="235641"/>
                    </a:lnTo>
                    <a:lnTo>
                      <a:pt x="167972" y="235971"/>
                    </a:lnTo>
                    <a:lnTo>
                      <a:pt x="164681" y="237654"/>
                    </a:lnTo>
                    <a:lnTo>
                      <a:pt x="141505" y="242980"/>
                    </a:lnTo>
                    <a:lnTo>
                      <a:pt x="150567" y="239718"/>
                    </a:lnTo>
                    <a:lnTo>
                      <a:pt x="126847" y="244824"/>
                    </a:lnTo>
                    <a:lnTo>
                      <a:pt x="131990" y="244613"/>
                    </a:lnTo>
                    <a:lnTo>
                      <a:pt x="126552" y="244888"/>
                    </a:lnTo>
                    <a:lnTo>
                      <a:pt x="125807" y="245048"/>
                    </a:lnTo>
                    <a:lnTo>
                      <a:pt x="125807" y="244926"/>
                    </a:lnTo>
                    <a:lnTo>
                      <a:pt x="122545" y="245090"/>
                    </a:lnTo>
                    <a:lnTo>
                      <a:pt x="120628" y="244703"/>
                    </a:lnTo>
                    <a:lnTo>
                      <a:pt x="125122" y="244895"/>
                    </a:lnTo>
                    <a:lnTo>
                      <a:pt x="125807" y="244867"/>
                    </a:lnTo>
                    <a:close/>
                    <a:moveTo>
                      <a:pt x="213051" y="39357"/>
                    </a:moveTo>
                    <a:cubicBezTo>
                      <a:pt x="237207" y="65926"/>
                      <a:pt x="246532" y="97487"/>
                      <a:pt x="245110" y="127439"/>
                    </a:cubicBezTo>
                    <a:lnTo>
                      <a:pt x="235459" y="170208"/>
                    </a:lnTo>
                    <a:lnTo>
                      <a:pt x="235724" y="169525"/>
                    </a:lnTo>
                    <a:lnTo>
                      <a:pt x="235461" y="170245"/>
                    </a:lnTo>
                    <a:lnTo>
                      <a:pt x="235441" y="170287"/>
                    </a:lnTo>
                    <a:lnTo>
                      <a:pt x="235429" y="170339"/>
                    </a:lnTo>
                    <a:lnTo>
                      <a:pt x="235375" y="170424"/>
                    </a:lnTo>
                    <a:lnTo>
                      <a:pt x="235374" y="170425"/>
                    </a:lnTo>
                    <a:lnTo>
                      <a:pt x="235374" y="170424"/>
                    </a:lnTo>
                    <a:lnTo>
                      <a:pt x="212692" y="205879"/>
                    </a:lnTo>
                    <a:lnTo>
                      <a:pt x="129373" y="120223"/>
                    </a:lnTo>
                    <a:close/>
                    <a:moveTo>
                      <a:pt x="206185" y="33154"/>
                    </a:moveTo>
                    <a:lnTo>
                      <a:pt x="209198" y="35892"/>
                    </a:lnTo>
                    <a:lnTo>
                      <a:pt x="209830" y="36588"/>
                    </a:lnTo>
                    <a:close/>
                    <a:moveTo>
                      <a:pt x="122545" y="0"/>
                    </a:moveTo>
                    <a:cubicBezTo>
                      <a:pt x="152156" y="0"/>
                      <a:pt x="179313" y="10501"/>
                      <a:pt x="200496" y="27983"/>
                    </a:cubicBezTo>
                    <a:lnTo>
                      <a:pt x="205941" y="32932"/>
                    </a:lnTo>
                    <a:lnTo>
                      <a:pt x="118546" y="118869"/>
                    </a:lnTo>
                    <a:lnTo>
                      <a:pt x="118686" y="244311"/>
                    </a:lnTo>
                    <a:lnTo>
                      <a:pt x="74845" y="235460"/>
                    </a:lnTo>
                    <a:cubicBezTo>
                      <a:pt x="30862" y="216857"/>
                      <a:pt x="0" y="173305"/>
                      <a:pt x="0" y="122545"/>
                    </a:cubicBezTo>
                    <a:cubicBezTo>
                      <a:pt x="0" y="54865"/>
                      <a:pt x="54865" y="0"/>
                      <a:pt x="122545" y="0"/>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Freeform 14"/>
              <p:cNvSpPr/>
              <p:nvPr/>
            </p:nvSpPr>
            <p:spPr>
              <a:xfrm flipH="1">
                <a:off x="3902377" y="4987997"/>
                <a:ext cx="225424" cy="262233"/>
              </a:xfrm>
              <a:custGeom>
                <a:avLst/>
                <a:gdLst>
                  <a:gd name="connsiteX0" fmla="*/ 699292 w 2032983"/>
                  <a:gd name="connsiteY0" fmla="*/ 790084 h 2412470"/>
                  <a:gd name="connsiteX1" fmla="*/ 775544 w 2032983"/>
                  <a:gd name="connsiteY1" fmla="*/ 873268 h 2412470"/>
                  <a:gd name="connsiteX2" fmla="*/ 912131 w 2032983"/>
                  <a:gd name="connsiteY2" fmla="*/ 876349 h 2412470"/>
                  <a:gd name="connsiteX3" fmla="*/ 932670 w 2032983"/>
                  <a:gd name="connsiteY3" fmla="*/ 896888 h 2412470"/>
                  <a:gd name="connsiteX4" fmla="*/ 935751 w 2032983"/>
                  <a:gd name="connsiteY4" fmla="*/ 1042719 h 2412470"/>
                  <a:gd name="connsiteX5" fmla="*/ 932670 w 2032983"/>
                  <a:gd name="connsiteY5" fmla="*/ 1190602 h 2412470"/>
                  <a:gd name="connsiteX6" fmla="*/ 932670 w 2032983"/>
                  <a:gd name="connsiteY6" fmla="*/ 1330269 h 2412470"/>
                  <a:gd name="connsiteX7" fmla="*/ 912131 w 2032983"/>
                  <a:gd name="connsiteY7" fmla="*/ 1350808 h 2412470"/>
                  <a:gd name="connsiteX8" fmla="*/ 775544 w 2032983"/>
                  <a:gd name="connsiteY8" fmla="*/ 1344648 h 2412470"/>
                  <a:gd name="connsiteX9" fmla="*/ 615338 w 2032983"/>
                  <a:gd name="connsiteY9" fmla="*/ 1347729 h 2412470"/>
                  <a:gd name="connsiteX10" fmla="*/ 472588 w 2032983"/>
                  <a:gd name="connsiteY10" fmla="*/ 1350808 h 2412470"/>
                  <a:gd name="connsiteX11" fmla="*/ 452050 w 2032983"/>
                  <a:gd name="connsiteY11" fmla="*/ 1330269 h 2412470"/>
                  <a:gd name="connsiteX12" fmla="*/ 452050 w 2032983"/>
                  <a:gd name="connsiteY12" fmla="*/ 1165955 h 2412470"/>
                  <a:gd name="connsiteX13" fmla="*/ 455131 w 2032983"/>
                  <a:gd name="connsiteY13" fmla="*/ 1042719 h 2412470"/>
                  <a:gd name="connsiteX14" fmla="*/ 452050 w 2032983"/>
                  <a:gd name="connsiteY14" fmla="*/ 896888 h 2412470"/>
                  <a:gd name="connsiteX15" fmla="*/ 472588 w 2032983"/>
                  <a:gd name="connsiteY15" fmla="*/ 876349 h 2412470"/>
                  <a:gd name="connsiteX16" fmla="*/ 609176 w 2032983"/>
                  <a:gd name="connsiteY16" fmla="*/ 873268 h 2412470"/>
                  <a:gd name="connsiteX17" fmla="*/ 699292 w 2032983"/>
                  <a:gd name="connsiteY17" fmla="*/ 790084 h 2412470"/>
                  <a:gd name="connsiteX18" fmla="*/ 1373906 w 2032983"/>
                  <a:gd name="connsiteY18" fmla="*/ 789516 h 2412470"/>
                  <a:gd name="connsiteX19" fmla="*/ 1477324 w 2032983"/>
                  <a:gd name="connsiteY19" fmla="*/ 794959 h 2412470"/>
                  <a:gd name="connsiteX20" fmla="*/ 1497864 w 2032983"/>
                  <a:gd name="connsiteY20" fmla="*/ 815497 h 2412470"/>
                  <a:gd name="connsiteX21" fmla="*/ 1500943 w 2032983"/>
                  <a:gd name="connsiteY21" fmla="*/ 952085 h 2412470"/>
                  <a:gd name="connsiteX22" fmla="*/ 1496014 w 2032983"/>
                  <a:gd name="connsiteY22" fmla="*/ 1108595 h 2412470"/>
                  <a:gd name="connsiteX23" fmla="*/ 1497864 w 2032983"/>
                  <a:gd name="connsiteY23" fmla="*/ 1255040 h 2412470"/>
                  <a:gd name="connsiteX24" fmla="*/ 1477324 w 2032983"/>
                  <a:gd name="connsiteY24" fmla="*/ 1275579 h 2412470"/>
                  <a:gd name="connsiteX25" fmla="*/ 1340119 w 2032983"/>
                  <a:gd name="connsiteY25" fmla="*/ 1272498 h 2412470"/>
                  <a:gd name="connsiteX26" fmla="*/ 1173751 w 2032983"/>
                  <a:gd name="connsiteY26" fmla="*/ 1275579 h 2412470"/>
                  <a:gd name="connsiteX27" fmla="*/ 1043945 w 2032983"/>
                  <a:gd name="connsiteY27" fmla="*/ 1275579 h 2412470"/>
                  <a:gd name="connsiteX28" fmla="*/ 1023404 w 2032983"/>
                  <a:gd name="connsiteY28" fmla="*/ 1255040 h 2412470"/>
                  <a:gd name="connsiteX29" fmla="*/ 1034495 w 2032983"/>
                  <a:gd name="connsiteY29" fmla="*/ 1093806 h 2412470"/>
                  <a:gd name="connsiteX30" fmla="*/ 1026483 w 2032983"/>
                  <a:gd name="connsiteY30" fmla="*/ 953318 h 2412470"/>
                  <a:gd name="connsiteX31" fmla="*/ 1023404 w 2032983"/>
                  <a:gd name="connsiteY31" fmla="*/ 815497 h 2412470"/>
                  <a:gd name="connsiteX32" fmla="*/ 1043945 w 2032983"/>
                  <a:gd name="connsiteY32" fmla="*/ 794959 h 2412470"/>
                  <a:gd name="connsiteX33" fmla="*/ 1175909 w 2032983"/>
                  <a:gd name="connsiteY33" fmla="*/ 793418 h 2412470"/>
                  <a:gd name="connsiteX34" fmla="*/ 1373906 w 2032983"/>
                  <a:gd name="connsiteY34" fmla="*/ 789516 h 2412470"/>
                  <a:gd name="connsiteX35" fmla="*/ 622908 w 2032983"/>
                  <a:gd name="connsiteY35" fmla="*/ 293010 h 2412470"/>
                  <a:gd name="connsiteX36" fmla="*/ 723073 w 2032983"/>
                  <a:gd name="connsiteY36" fmla="*/ 294597 h 2412470"/>
                  <a:gd name="connsiteX37" fmla="*/ 846309 w 2032983"/>
                  <a:gd name="connsiteY37" fmla="*/ 297678 h 2412470"/>
                  <a:gd name="connsiteX38" fmla="*/ 992141 w 2032983"/>
                  <a:gd name="connsiteY38" fmla="*/ 294599 h 2412470"/>
                  <a:gd name="connsiteX39" fmla="*/ 1012679 w 2032983"/>
                  <a:gd name="connsiteY39" fmla="*/ 315138 h 2412470"/>
                  <a:gd name="connsiteX40" fmla="*/ 1015760 w 2032983"/>
                  <a:gd name="connsiteY40" fmla="*/ 451726 h 2412470"/>
                  <a:gd name="connsiteX41" fmla="*/ 1015760 w 2032983"/>
                  <a:gd name="connsiteY41" fmla="*/ 618093 h 2412470"/>
                  <a:gd name="connsiteX42" fmla="*/ 1012679 w 2032983"/>
                  <a:gd name="connsiteY42" fmla="*/ 754679 h 2412470"/>
                  <a:gd name="connsiteX43" fmla="*/ 992141 w 2032983"/>
                  <a:gd name="connsiteY43" fmla="*/ 775220 h 2412470"/>
                  <a:gd name="connsiteX44" fmla="*/ 858632 w 2032983"/>
                  <a:gd name="connsiteY44" fmla="*/ 775220 h 2412470"/>
                  <a:gd name="connsiteX45" fmla="*/ 687642 w 2032983"/>
                  <a:gd name="connsiteY45" fmla="*/ 775220 h 2412470"/>
                  <a:gd name="connsiteX46" fmla="*/ 558759 w 2032983"/>
                  <a:gd name="connsiteY46" fmla="*/ 775220 h 2412470"/>
                  <a:gd name="connsiteX47" fmla="*/ 538221 w 2032983"/>
                  <a:gd name="connsiteY47" fmla="*/ 754679 h 2412470"/>
                  <a:gd name="connsiteX48" fmla="*/ 544381 w 2032983"/>
                  <a:gd name="connsiteY48" fmla="*/ 618093 h 2412470"/>
                  <a:gd name="connsiteX49" fmla="*/ 541299 w 2032983"/>
                  <a:gd name="connsiteY49" fmla="*/ 457886 h 2412470"/>
                  <a:gd name="connsiteX50" fmla="*/ 538221 w 2032983"/>
                  <a:gd name="connsiteY50" fmla="*/ 315138 h 2412470"/>
                  <a:gd name="connsiteX51" fmla="*/ 558759 w 2032983"/>
                  <a:gd name="connsiteY51" fmla="*/ 294599 h 2412470"/>
                  <a:gd name="connsiteX52" fmla="*/ 590692 w 2032983"/>
                  <a:gd name="connsiteY52" fmla="*/ 293082 h 2412470"/>
                  <a:gd name="connsiteX53" fmla="*/ 622908 w 2032983"/>
                  <a:gd name="connsiteY53" fmla="*/ 293010 h 2412470"/>
                  <a:gd name="connsiteX54" fmla="*/ 1289047 w 2032983"/>
                  <a:gd name="connsiteY54" fmla="*/ 206503 h 2412470"/>
                  <a:gd name="connsiteX55" fmla="*/ 1360369 w 2032983"/>
                  <a:gd name="connsiteY55" fmla="*/ 292151 h 2412470"/>
                  <a:gd name="connsiteX56" fmla="*/ 1506815 w 2032983"/>
                  <a:gd name="connsiteY56" fmla="*/ 290303 h 2412470"/>
                  <a:gd name="connsiteX57" fmla="*/ 1527353 w 2032983"/>
                  <a:gd name="connsiteY57" fmla="*/ 310842 h 2412470"/>
                  <a:gd name="connsiteX58" fmla="*/ 1528894 w 2032983"/>
                  <a:gd name="connsiteY58" fmla="*/ 432026 h 2412470"/>
                  <a:gd name="connsiteX59" fmla="*/ 1528894 w 2032983"/>
                  <a:gd name="connsiteY59" fmla="*/ 606096 h 2412470"/>
                  <a:gd name="connsiteX60" fmla="*/ 1527353 w 2032983"/>
                  <a:gd name="connsiteY60" fmla="*/ 744223 h 2412470"/>
                  <a:gd name="connsiteX61" fmla="*/ 1506815 w 2032983"/>
                  <a:gd name="connsiteY61" fmla="*/ 764761 h 2412470"/>
                  <a:gd name="connsiteX62" fmla="*/ 1359445 w 2032983"/>
                  <a:gd name="connsiteY62" fmla="*/ 750591 h 2412470"/>
                  <a:gd name="connsiteX63" fmla="*/ 1194308 w 2032983"/>
                  <a:gd name="connsiteY63" fmla="*/ 760142 h 2412470"/>
                  <a:gd name="connsiteX64" fmla="*/ 1067271 w 2032983"/>
                  <a:gd name="connsiteY64" fmla="*/ 764761 h 2412470"/>
                  <a:gd name="connsiteX65" fmla="*/ 1046733 w 2032983"/>
                  <a:gd name="connsiteY65" fmla="*/ 744223 h 2412470"/>
                  <a:gd name="connsiteX66" fmla="*/ 1046733 w 2032983"/>
                  <a:gd name="connsiteY66" fmla="*/ 632284 h 2412470"/>
                  <a:gd name="connsiteX67" fmla="*/ 1048271 w 2032983"/>
                  <a:gd name="connsiteY67" fmla="*/ 441267 h 2412470"/>
                  <a:gd name="connsiteX68" fmla="*/ 1046733 w 2032983"/>
                  <a:gd name="connsiteY68" fmla="*/ 310842 h 2412470"/>
                  <a:gd name="connsiteX69" fmla="*/ 1067271 w 2032983"/>
                  <a:gd name="connsiteY69" fmla="*/ 290303 h 2412470"/>
                  <a:gd name="connsiteX70" fmla="*/ 1203859 w 2032983"/>
                  <a:gd name="connsiteY70" fmla="*/ 287222 h 2412470"/>
                  <a:gd name="connsiteX71" fmla="*/ 1289047 w 2032983"/>
                  <a:gd name="connsiteY71" fmla="*/ 206503 h 2412470"/>
                  <a:gd name="connsiteX72" fmla="*/ 1075456 w 2032983"/>
                  <a:gd name="connsiteY72" fmla="*/ 149 h 2412470"/>
                  <a:gd name="connsiteX73" fmla="*/ 197386 w 2032983"/>
                  <a:gd name="connsiteY73" fmla="*/ 699567 h 2412470"/>
                  <a:gd name="connsiteX74" fmla="*/ 211712 w 2032983"/>
                  <a:gd name="connsiteY74" fmla="*/ 876405 h 2412470"/>
                  <a:gd name="connsiteX75" fmla="*/ 11773 w 2032983"/>
                  <a:gd name="connsiteY75" fmla="*/ 1158439 h 2412470"/>
                  <a:gd name="connsiteX76" fmla="*/ 155064 w 2032983"/>
                  <a:gd name="connsiteY76" fmla="*/ 1257730 h 2412470"/>
                  <a:gd name="connsiteX77" fmla="*/ 126183 w 2032983"/>
                  <a:gd name="connsiteY77" fmla="*/ 1381317 h 2412470"/>
                  <a:gd name="connsiteX78" fmla="*/ 190608 w 2032983"/>
                  <a:gd name="connsiteY78" fmla="*/ 1493285 h 2412470"/>
                  <a:gd name="connsiteX79" fmla="*/ 187274 w 2032983"/>
                  <a:gd name="connsiteY79" fmla="*/ 1659288 h 2412470"/>
                  <a:gd name="connsiteX80" fmla="*/ 206160 w 2032983"/>
                  <a:gd name="connsiteY80" fmla="*/ 1775319 h 2412470"/>
                  <a:gd name="connsiteX81" fmla="*/ 285914 w 2032983"/>
                  <a:gd name="connsiteY81" fmla="*/ 1929961 h 2412470"/>
                  <a:gd name="connsiteX82" fmla="*/ 565704 w 2032983"/>
                  <a:gd name="connsiteY82" fmla="*/ 1946322 h 2412470"/>
                  <a:gd name="connsiteX83" fmla="*/ 711744 w 2032983"/>
                  <a:gd name="connsiteY83" fmla="*/ 2057255 h 2412470"/>
                  <a:gd name="connsiteX84" fmla="*/ 760661 w 2032983"/>
                  <a:gd name="connsiteY84" fmla="*/ 2342324 h 2412470"/>
                  <a:gd name="connsiteX85" fmla="*/ 885938 w 2032983"/>
                  <a:gd name="connsiteY85" fmla="*/ 2397635 h 2412470"/>
                  <a:gd name="connsiteX86" fmla="*/ 1673393 w 2032983"/>
                  <a:gd name="connsiteY86" fmla="*/ 2298358 h 2412470"/>
                  <a:gd name="connsiteX87" fmla="*/ 1623832 w 2032983"/>
                  <a:gd name="connsiteY87" fmla="*/ 1623328 h 2412470"/>
                  <a:gd name="connsiteX88" fmla="*/ 1961830 w 2032983"/>
                  <a:gd name="connsiteY88" fmla="*/ 486304 h 2412470"/>
                  <a:gd name="connsiteX89" fmla="*/ 1075456 w 2032983"/>
                  <a:gd name="connsiteY89" fmla="*/ 149 h 2412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032983" h="2412470">
                    <a:moveTo>
                      <a:pt x="699292" y="790084"/>
                    </a:moveTo>
                    <a:cubicBezTo>
                      <a:pt x="738829" y="794706"/>
                      <a:pt x="776057" y="827055"/>
                      <a:pt x="775544" y="873268"/>
                    </a:cubicBezTo>
                    <a:lnTo>
                      <a:pt x="912131" y="876349"/>
                    </a:lnTo>
                    <a:cubicBezTo>
                      <a:pt x="923475" y="876349"/>
                      <a:pt x="932670" y="885544"/>
                      <a:pt x="932670" y="896888"/>
                    </a:cubicBezTo>
                    <a:cubicBezTo>
                      <a:pt x="933697" y="945498"/>
                      <a:pt x="934724" y="994109"/>
                      <a:pt x="935751" y="1042719"/>
                    </a:cubicBezTo>
                    <a:cubicBezTo>
                      <a:pt x="822272" y="1052134"/>
                      <a:pt x="788382" y="1170405"/>
                      <a:pt x="932670" y="1190602"/>
                    </a:cubicBezTo>
                    <a:cubicBezTo>
                      <a:pt x="932156" y="1238527"/>
                      <a:pt x="936606" y="1301001"/>
                      <a:pt x="932670" y="1330269"/>
                    </a:cubicBezTo>
                    <a:cubicBezTo>
                      <a:pt x="932670" y="1341612"/>
                      <a:pt x="923475" y="1350808"/>
                      <a:pt x="912131" y="1350808"/>
                    </a:cubicBezTo>
                    <a:lnTo>
                      <a:pt x="775544" y="1344648"/>
                    </a:lnTo>
                    <a:cubicBezTo>
                      <a:pt x="779652" y="1473019"/>
                      <a:pt x="611230" y="1465830"/>
                      <a:pt x="615338" y="1347729"/>
                    </a:cubicBezTo>
                    <a:lnTo>
                      <a:pt x="472588" y="1350808"/>
                    </a:lnTo>
                    <a:cubicBezTo>
                      <a:pt x="461245" y="1350808"/>
                      <a:pt x="452050" y="1341612"/>
                      <a:pt x="452050" y="1330269"/>
                    </a:cubicBezTo>
                    <a:cubicBezTo>
                      <a:pt x="448625" y="1299460"/>
                      <a:pt x="451534" y="1213881"/>
                      <a:pt x="452050" y="1165955"/>
                    </a:cubicBezTo>
                    <a:cubicBezTo>
                      <a:pt x="563475" y="1167324"/>
                      <a:pt x="581448" y="1047510"/>
                      <a:pt x="455131" y="1042719"/>
                    </a:cubicBezTo>
                    <a:lnTo>
                      <a:pt x="452050" y="896888"/>
                    </a:lnTo>
                    <a:cubicBezTo>
                      <a:pt x="452050" y="885544"/>
                      <a:pt x="461245" y="876349"/>
                      <a:pt x="472588" y="876349"/>
                    </a:cubicBezTo>
                    <a:lnTo>
                      <a:pt x="609176" y="873268"/>
                    </a:lnTo>
                    <a:cubicBezTo>
                      <a:pt x="617906" y="808569"/>
                      <a:pt x="659753" y="785462"/>
                      <a:pt x="699292" y="790084"/>
                    </a:cubicBezTo>
                    <a:close/>
                    <a:moveTo>
                      <a:pt x="1373906" y="789516"/>
                    </a:moveTo>
                    <a:cubicBezTo>
                      <a:pt x="1412656" y="790133"/>
                      <a:pt x="1438573" y="794342"/>
                      <a:pt x="1477324" y="794959"/>
                    </a:cubicBezTo>
                    <a:cubicBezTo>
                      <a:pt x="1488667" y="794959"/>
                      <a:pt x="1497864" y="804154"/>
                      <a:pt x="1497864" y="815497"/>
                    </a:cubicBezTo>
                    <a:lnTo>
                      <a:pt x="1500943" y="952085"/>
                    </a:lnTo>
                    <a:cubicBezTo>
                      <a:pt x="1630342" y="969545"/>
                      <a:pt x="1588442" y="1109622"/>
                      <a:pt x="1496014" y="1108595"/>
                    </a:cubicBezTo>
                    <a:lnTo>
                      <a:pt x="1497864" y="1255040"/>
                    </a:lnTo>
                    <a:cubicBezTo>
                      <a:pt x="1497864" y="1266384"/>
                      <a:pt x="1488667" y="1275579"/>
                      <a:pt x="1477324" y="1275579"/>
                    </a:cubicBezTo>
                    <a:cubicBezTo>
                      <a:pt x="1428713" y="1276606"/>
                      <a:pt x="1388727" y="1271471"/>
                      <a:pt x="1340119" y="1272498"/>
                    </a:cubicBezTo>
                    <a:cubicBezTo>
                      <a:pt x="1330704" y="1159019"/>
                      <a:pt x="1193948" y="1131291"/>
                      <a:pt x="1173751" y="1275579"/>
                    </a:cubicBezTo>
                    <a:cubicBezTo>
                      <a:pt x="1125826" y="1275066"/>
                      <a:pt x="1073211" y="1279515"/>
                      <a:pt x="1043945" y="1275579"/>
                    </a:cubicBezTo>
                    <a:cubicBezTo>
                      <a:pt x="1032599" y="1275579"/>
                      <a:pt x="1023404" y="1266384"/>
                      <a:pt x="1023404" y="1255040"/>
                    </a:cubicBezTo>
                    <a:lnTo>
                      <a:pt x="1034495" y="1093806"/>
                    </a:lnTo>
                    <a:cubicBezTo>
                      <a:pt x="906123" y="1097914"/>
                      <a:pt x="908381" y="949210"/>
                      <a:pt x="1026483" y="953318"/>
                    </a:cubicBezTo>
                    <a:lnTo>
                      <a:pt x="1023404" y="815497"/>
                    </a:lnTo>
                    <a:cubicBezTo>
                      <a:pt x="1023404" y="804154"/>
                      <a:pt x="1032599" y="794959"/>
                      <a:pt x="1043945" y="794959"/>
                    </a:cubicBezTo>
                    <a:cubicBezTo>
                      <a:pt x="1074754" y="791536"/>
                      <a:pt x="1127984" y="792904"/>
                      <a:pt x="1175909" y="793418"/>
                    </a:cubicBezTo>
                    <a:cubicBezTo>
                      <a:pt x="1174540" y="904843"/>
                      <a:pt x="1369112" y="915834"/>
                      <a:pt x="1373906" y="789516"/>
                    </a:cubicBezTo>
                    <a:close/>
                    <a:moveTo>
                      <a:pt x="622908" y="293010"/>
                    </a:moveTo>
                    <a:cubicBezTo>
                      <a:pt x="657243" y="293263"/>
                      <a:pt x="696115" y="294308"/>
                      <a:pt x="723073" y="294597"/>
                    </a:cubicBezTo>
                    <a:cubicBezTo>
                      <a:pt x="721704" y="406024"/>
                      <a:pt x="841518" y="423995"/>
                      <a:pt x="846309" y="297678"/>
                    </a:cubicBezTo>
                    <a:lnTo>
                      <a:pt x="992141" y="294599"/>
                    </a:lnTo>
                    <a:cubicBezTo>
                      <a:pt x="1003484" y="294599"/>
                      <a:pt x="1012679" y="303794"/>
                      <a:pt x="1012679" y="315138"/>
                    </a:cubicBezTo>
                    <a:lnTo>
                      <a:pt x="1015760" y="451726"/>
                    </a:lnTo>
                    <a:cubicBezTo>
                      <a:pt x="1145159" y="469183"/>
                      <a:pt x="1108188" y="619120"/>
                      <a:pt x="1015760" y="618093"/>
                    </a:cubicBezTo>
                    <a:lnTo>
                      <a:pt x="1012679" y="754679"/>
                    </a:lnTo>
                    <a:cubicBezTo>
                      <a:pt x="1012679" y="766025"/>
                      <a:pt x="1003484" y="775220"/>
                      <a:pt x="992141" y="775220"/>
                    </a:cubicBezTo>
                    <a:cubicBezTo>
                      <a:pt x="943530" y="776247"/>
                      <a:pt x="907242" y="774193"/>
                      <a:pt x="858632" y="775220"/>
                    </a:cubicBezTo>
                    <a:cubicBezTo>
                      <a:pt x="853838" y="661741"/>
                      <a:pt x="707837" y="630929"/>
                      <a:pt x="687642" y="775220"/>
                    </a:cubicBezTo>
                    <a:cubicBezTo>
                      <a:pt x="639717" y="774704"/>
                      <a:pt x="588028" y="779156"/>
                      <a:pt x="558759" y="775220"/>
                    </a:cubicBezTo>
                    <a:cubicBezTo>
                      <a:pt x="547416" y="775220"/>
                      <a:pt x="538221" y="766025"/>
                      <a:pt x="538221" y="754679"/>
                    </a:cubicBezTo>
                    <a:lnTo>
                      <a:pt x="544381" y="618093"/>
                    </a:lnTo>
                    <a:cubicBezTo>
                      <a:pt x="416009" y="622202"/>
                      <a:pt x="423198" y="453780"/>
                      <a:pt x="541299" y="457886"/>
                    </a:cubicBezTo>
                    <a:lnTo>
                      <a:pt x="538221" y="315138"/>
                    </a:lnTo>
                    <a:cubicBezTo>
                      <a:pt x="538221" y="303794"/>
                      <a:pt x="547416" y="294599"/>
                      <a:pt x="558759" y="294599"/>
                    </a:cubicBezTo>
                    <a:cubicBezTo>
                      <a:pt x="566462" y="293742"/>
                      <a:pt x="577588" y="293283"/>
                      <a:pt x="590692" y="293082"/>
                    </a:cubicBezTo>
                    <a:cubicBezTo>
                      <a:pt x="600520" y="292930"/>
                      <a:pt x="611462" y="292926"/>
                      <a:pt x="622908" y="293010"/>
                    </a:cubicBezTo>
                    <a:close/>
                    <a:moveTo>
                      <a:pt x="1289047" y="206503"/>
                    </a:moveTo>
                    <a:cubicBezTo>
                      <a:pt x="1326119" y="212355"/>
                      <a:pt x="1360882" y="245938"/>
                      <a:pt x="1360369" y="292151"/>
                    </a:cubicBezTo>
                    <a:lnTo>
                      <a:pt x="1506815" y="290303"/>
                    </a:lnTo>
                    <a:cubicBezTo>
                      <a:pt x="1518158" y="290303"/>
                      <a:pt x="1527353" y="299498"/>
                      <a:pt x="1527353" y="310842"/>
                    </a:cubicBezTo>
                    <a:cubicBezTo>
                      <a:pt x="1528380" y="359452"/>
                      <a:pt x="1527867" y="383416"/>
                      <a:pt x="1528894" y="432026"/>
                    </a:cubicBezTo>
                    <a:cubicBezTo>
                      <a:pt x="1427737" y="456845"/>
                      <a:pt x="1407712" y="572034"/>
                      <a:pt x="1528894" y="606096"/>
                    </a:cubicBezTo>
                    <a:cubicBezTo>
                      <a:pt x="1528380" y="654021"/>
                      <a:pt x="1531289" y="714954"/>
                      <a:pt x="1527353" y="744223"/>
                    </a:cubicBezTo>
                    <a:cubicBezTo>
                      <a:pt x="1527353" y="755566"/>
                      <a:pt x="1518158" y="764761"/>
                      <a:pt x="1506815" y="764761"/>
                    </a:cubicBezTo>
                    <a:lnTo>
                      <a:pt x="1359445" y="750591"/>
                    </a:lnTo>
                    <a:cubicBezTo>
                      <a:pt x="1363551" y="878963"/>
                      <a:pt x="1190200" y="878243"/>
                      <a:pt x="1194308" y="760142"/>
                    </a:cubicBezTo>
                    <a:lnTo>
                      <a:pt x="1067271" y="764761"/>
                    </a:lnTo>
                    <a:cubicBezTo>
                      <a:pt x="1055928" y="764761"/>
                      <a:pt x="1046733" y="755566"/>
                      <a:pt x="1046733" y="744223"/>
                    </a:cubicBezTo>
                    <a:cubicBezTo>
                      <a:pt x="1043310" y="713413"/>
                      <a:pt x="1046219" y="680209"/>
                      <a:pt x="1046733" y="632284"/>
                    </a:cubicBezTo>
                    <a:cubicBezTo>
                      <a:pt x="1155077" y="633652"/>
                      <a:pt x="1163807" y="449142"/>
                      <a:pt x="1048271" y="441267"/>
                    </a:cubicBezTo>
                    <a:cubicBezTo>
                      <a:pt x="1047760" y="397792"/>
                      <a:pt x="1047246" y="354317"/>
                      <a:pt x="1046733" y="310842"/>
                    </a:cubicBezTo>
                    <a:cubicBezTo>
                      <a:pt x="1046733" y="299498"/>
                      <a:pt x="1055928" y="290303"/>
                      <a:pt x="1067271" y="290303"/>
                    </a:cubicBezTo>
                    <a:lnTo>
                      <a:pt x="1203859" y="287222"/>
                    </a:lnTo>
                    <a:cubicBezTo>
                      <a:pt x="1212589" y="222523"/>
                      <a:pt x="1251972" y="200647"/>
                      <a:pt x="1289047" y="206503"/>
                    </a:cubicBezTo>
                    <a:close/>
                    <a:moveTo>
                      <a:pt x="1075456" y="149"/>
                    </a:moveTo>
                    <a:cubicBezTo>
                      <a:pt x="606483" y="7261"/>
                      <a:pt x="150195" y="269086"/>
                      <a:pt x="197386" y="699567"/>
                    </a:cubicBezTo>
                    <a:cubicBezTo>
                      <a:pt x="210578" y="748964"/>
                      <a:pt x="221009" y="795756"/>
                      <a:pt x="211712" y="876405"/>
                    </a:cubicBezTo>
                    <a:cubicBezTo>
                      <a:pt x="187811" y="933869"/>
                      <a:pt x="90083" y="1043802"/>
                      <a:pt x="11773" y="1158439"/>
                    </a:cubicBezTo>
                    <a:cubicBezTo>
                      <a:pt x="-20070" y="1212310"/>
                      <a:pt x="7885" y="1272491"/>
                      <a:pt x="155064" y="1257730"/>
                    </a:cubicBezTo>
                    <a:cubicBezTo>
                      <a:pt x="183608" y="1257026"/>
                      <a:pt x="148659" y="1320930"/>
                      <a:pt x="126183" y="1381317"/>
                    </a:cubicBezTo>
                    <a:cubicBezTo>
                      <a:pt x="91381" y="1451211"/>
                      <a:pt x="154507" y="1479881"/>
                      <a:pt x="190608" y="1493285"/>
                    </a:cubicBezTo>
                    <a:cubicBezTo>
                      <a:pt x="137100" y="1553436"/>
                      <a:pt x="82316" y="1609960"/>
                      <a:pt x="187274" y="1659288"/>
                    </a:cubicBezTo>
                    <a:cubicBezTo>
                      <a:pt x="215114" y="1674566"/>
                      <a:pt x="239300" y="1718146"/>
                      <a:pt x="206160" y="1775319"/>
                    </a:cubicBezTo>
                    <a:cubicBezTo>
                      <a:pt x="182093" y="1805573"/>
                      <a:pt x="142483" y="1898489"/>
                      <a:pt x="285914" y="1929961"/>
                    </a:cubicBezTo>
                    <a:cubicBezTo>
                      <a:pt x="359508" y="1942079"/>
                      <a:pt x="466076" y="1948466"/>
                      <a:pt x="565704" y="1946322"/>
                    </a:cubicBezTo>
                    <a:cubicBezTo>
                      <a:pt x="645194" y="1944752"/>
                      <a:pt x="702427" y="1991480"/>
                      <a:pt x="711744" y="2057255"/>
                    </a:cubicBezTo>
                    <a:cubicBezTo>
                      <a:pt x="732058" y="2173130"/>
                      <a:pt x="752069" y="2274949"/>
                      <a:pt x="760661" y="2342324"/>
                    </a:cubicBezTo>
                    <a:cubicBezTo>
                      <a:pt x="772046" y="2373761"/>
                      <a:pt x="809132" y="2383215"/>
                      <a:pt x="885938" y="2397635"/>
                    </a:cubicBezTo>
                    <a:cubicBezTo>
                      <a:pt x="1068635" y="2437582"/>
                      <a:pt x="1503183" y="2394318"/>
                      <a:pt x="1673393" y="2298358"/>
                    </a:cubicBezTo>
                    <a:cubicBezTo>
                      <a:pt x="1669359" y="2207600"/>
                      <a:pt x="1483541" y="1785640"/>
                      <a:pt x="1623832" y="1623328"/>
                    </a:cubicBezTo>
                    <a:cubicBezTo>
                      <a:pt x="2007204" y="1322910"/>
                      <a:pt x="2124321" y="927512"/>
                      <a:pt x="1961830" y="486304"/>
                    </a:cubicBezTo>
                    <a:cubicBezTo>
                      <a:pt x="1812645" y="143170"/>
                      <a:pt x="1440213" y="-5383"/>
                      <a:pt x="1075456" y="149"/>
                    </a:cubicBezTo>
                    <a:close/>
                  </a:path>
                </a:pathLst>
              </a:custGeom>
              <a:solidFill>
                <a:sysClr val="window" lastClr="FFFFFF"/>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6" name="Freeform 15"/>
              <p:cNvSpPr/>
              <p:nvPr/>
            </p:nvSpPr>
            <p:spPr>
              <a:xfrm>
                <a:off x="3084504" y="4134759"/>
                <a:ext cx="256578" cy="236575"/>
              </a:xfrm>
              <a:custGeom>
                <a:avLst/>
                <a:gdLst>
                  <a:gd name="connsiteX0" fmla="*/ 142147 w 354842"/>
                  <a:gd name="connsiteY0" fmla="*/ 43850 h 316295"/>
                  <a:gd name="connsiteX1" fmla="*/ 42865 w 354842"/>
                  <a:gd name="connsiteY1" fmla="*/ 142148 h 316295"/>
                  <a:gd name="connsiteX2" fmla="*/ 142147 w 354842"/>
                  <a:gd name="connsiteY2" fmla="*/ 240446 h 316295"/>
                  <a:gd name="connsiteX3" fmla="*/ 241429 w 354842"/>
                  <a:gd name="connsiteY3" fmla="*/ 142148 h 316295"/>
                  <a:gd name="connsiteX4" fmla="*/ 142147 w 354842"/>
                  <a:gd name="connsiteY4" fmla="*/ 43850 h 316295"/>
                  <a:gd name="connsiteX5" fmla="*/ 142147 w 354842"/>
                  <a:gd name="connsiteY5" fmla="*/ 0 h 316295"/>
                  <a:gd name="connsiteX6" fmla="*/ 284294 w 354842"/>
                  <a:gd name="connsiteY6" fmla="*/ 142147 h 316295"/>
                  <a:gd name="connsiteX7" fmla="*/ 273124 w 354842"/>
                  <a:gd name="connsiteY7" fmla="*/ 197477 h 316295"/>
                  <a:gd name="connsiteX8" fmla="*/ 267906 w 354842"/>
                  <a:gd name="connsiteY8" fmla="*/ 205216 h 316295"/>
                  <a:gd name="connsiteX9" fmla="*/ 354842 w 354842"/>
                  <a:gd name="connsiteY9" fmla="*/ 273137 h 316295"/>
                  <a:gd name="connsiteX10" fmla="*/ 321124 w 354842"/>
                  <a:gd name="connsiteY10" fmla="*/ 316295 h 316295"/>
                  <a:gd name="connsiteX11" fmla="*/ 234187 w 354842"/>
                  <a:gd name="connsiteY11" fmla="*/ 248373 h 316295"/>
                  <a:gd name="connsiteX12" fmla="*/ 197477 w 354842"/>
                  <a:gd name="connsiteY12" fmla="*/ 273124 h 316295"/>
                  <a:gd name="connsiteX13" fmla="*/ 142147 w 354842"/>
                  <a:gd name="connsiteY13" fmla="*/ 284294 h 316295"/>
                  <a:gd name="connsiteX14" fmla="*/ 0 w 354842"/>
                  <a:gd name="connsiteY14" fmla="*/ 142147 h 316295"/>
                  <a:gd name="connsiteX15" fmla="*/ 142147 w 354842"/>
                  <a:gd name="connsiteY15" fmla="*/ 0 h 316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4842" h="316295">
                    <a:moveTo>
                      <a:pt x="142147" y="43850"/>
                    </a:moveTo>
                    <a:cubicBezTo>
                      <a:pt x="87315" y="43850"/>
                      <a:pt x="42865" y="87860"/>
                      <a:pt x="42865" y="142148"/>
                    </a:cubicBezTo>
                    <a:cubicBezTo>
                      <a:pt x="42865" y="196436"/>
                      <a:pt x="87315" y="240446"/>
                      <a:pt x="142147" y="240446"/>
                    </a:cubicBezTo>
                    <a:cubicBezTo>
                      <a:pt x="196979" y="240446"/>
                      <a:pt x="241429" y="196436"/>
                      <a:pt x="241429" y="142148"/>
                    </a:cubicBezTo>
                    <a:cubicBezTo>
                      <a:pt x="241429" y="87860"/>
                      <a:pt x="196979" y="43850"/>
                      <a:pt x="142147" y="43850"/>
                    </a:cubicBezTo>
                    <a:close/>
                    <a:moveTo>
                      <a:pt x="142147" y="0"/>
                    </a:moveTo>
                    <a:cubicBezTo>
                      <a:pt x="220653" y="0"/>
                      <a:pt x="284294" y="63641"/>
                      <a:pt x="284294" y="142147"/>
                    </a:cubicBezTo>
                    <a:cubicBezTo>
                      <a:pt x="284294" y="161774"/>
                      <a:pt x="280317" y="180471"/>
                      <a:pt x="273124" y="197477"/>
                    </a:cubicBezTo>
                    <a:lnTo>
                      <a:pt x="267906" y="205216"/>
                    </a:lnTo>
                    <a:lnTo>
                      <a:pt x="354842" y="273137"/>
                    </a:lnTo>
                    <a:lnTo>
                      <a:pt x="321124" y="316295"/>
                    </a:lnTo>
                    <a:lnTo>
                      <a:pt x="234187" y="248373"/>
                    </a:lnTo>
                    <a:lnTo>
                      <a:pt x="197477" y="273124"/>
                    </a:lnTo>
                    <a:cubicBezTo>
                      <a:pt x="180471" y="280317"/>
                      <a:pt x="161774" y="284294"/>
                      <a:pt x="142147" y="284294"/>
                    </a:cubicBezTo>
                    <a:cubicBezTo>
                      <a:pt x="63641" y="284294"/>
                      <a:pt x="0" y="220653"/>
                      <a:pt x="0" y="142147"/>
                    </a:cubicBezTo>
                    <a:cubicBezTo>
                      <a:pt x="0" y="63641"/>
                      <a:pt x="63641" y="0"/>
                      <a:pt x="142147" y="0"/>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17" name="Freeform 16"/>
              <p:cNvSpPr/>
              <p:nvPr/>
            </p:nvSpPr>
            <p:spPr>
              <a:xfrm rot="19855002">
                <a:off x="3849060" y="4144509"/>
                <a:ext cx="250928" cy="237583"/>
              </a:xfrm>
              <a:custGeom>
                <a:avLst/>
                <a:gdLst>
                  <a:gd name="connsiteX0" fmla="*/ 2033312 w 3096285"/>
                  <a:gd name="connsiteY0" fmla="*/ 48509 h 2966512"/>
                  <a:gd name="connsiteX1" fmla="*/ 2182307 w 3096285"/>
                  <a:gd name="connsiteY1" fmla="*/ 570985 h 2966512"/>
                  <a:gd name="connsiteX2" fmla="*/ 2137852 w 3096285"/>
                  <a:gd name="connsiteY2" fmla="*/ 634853 h 2966512"/>
                  <a:gd name="connsiteX3" fmla="*/ 2132430 w 3096285"/>
                  <a:gd name="connsiteY3" fmla="*/ 640029 h 2966512"/>
                  <a:gd name="connsiteX4" fmla="*/ 2132430 w 3096285"/>
                  <a:gd name="connsiteY4" fmla="*/ 807554 h 2966512"/>
                  <a:gd name="connsiteX5" fmla="*/ 2954248 w 3096285"/>
                  <a:gd name="connsiteY5" fmla="*/ 796270 h 2966512"/>
                  <a:gd name="connsiteX6" fmla="*/ 2998821 w 3096285"/>
                  <a:gd name="connsiteY6" fmla="*/ 804634 h 2966512"/>
                  <a:gd name="connsiteX7" fmla="*/ 3070010 w 3096285"/>
                  <a:gd name="connsiteY7" fmla="*/ 908896 h 2966512"/>
                  <a:gd name="connsiteX8" fmla="*/ 3096275 w 3096285"/>
                  <a:gd name="connsiteY8" fmla="*/ 2821775 h 2966512"/>
                  <a:gd name="connsiteX9" fmla="*/ 2983649 w 3096285"/>
                  <a:gd name="connsiteY9" fmla="*/ 2937537 h 2966512"/>
                  <a:gd name="connsiteX10" fmla="*/ 874143 w 3096285"/>
                  <a:gd name="connsiteY10" fmla="*/ 2966502 h 2966512"/>
                  <a:gd name="connsiteX11" fmla="*/ 758381 w 3096285"/>
                  <a:gd name="connsiteY11" fmla="*/ 2853876 h 2966512"/>
                  <a:gd name="connsiteX12" fmla="*/ 750127 w 3096285"/>
                  <a:gd name="connsiteY12" fmla="*/ 2252744 h 2966512"/>
                  <a:gd name="connsiteX13" fmla="*/ 181200 w 3096285"/>
                  <a:gd name="connsiteY13" fmla="*/ 2308464 h 2966512"/>
                  <a:gd name="connsiteX14" fmla="*/ 394351 w 3096285"/>
                  <a:gd name="connsiteY14" fmla="*/ 1572521 h 2966512"/>
                  <a:gd name="connsiteX15" fmla="*/ 742815 w 3096285"/>
                  <a:gd name="connsiteY15" fmla="*/ 1720213 h 2966512"/>
                  <a:gd name="connsiteX16" fmla="*/ 732115 w 3096285"/>
                  <a:gd name="connsiteY16" fmla="*/ 940997 h 2966512"/>
                  <a:gd name="connsiteX17" fmla="*/ 844742 w 3096285"/>
                  <a:gd name="connsiteY17" fmla="*/ 825235 h 2966512"/>
                  <a:gd name="connsiteX18" fmla="*/ 1599561 w 3096285"/>
                  <a:gd name="connsiteY18" fmla="*/ 814871 h 2966512"/>
                  <a:gd name="connsiteX19" fmla="*/ 1599561 w 3096285"/>
                  <a:gd name="connsiteY19" fmla="*/ 678030 h 2966512"/>
                  <a:gd name="connsiteX20" fmla="*/ 1595963 w 3096285"/>
                  <a:gd name="connsiteY20" fmla="*/ 675525 h 2966512"/>
                  <a:gd name="connsiteX21" fmla="*/ 1510836 w 3096285"/>
                  <a:gd name="connsiteY21" fmla="*/ 197505 h 2966512"/>
                  <a:gd name="connsiteX22" fmla="*/ 2033312 w 3096285"/>
                  <a:gd name="connsiteY22" fmla="*/ 48509 h 2966512"/>
                  <a:gd name="connsiteX0" fmla="*/ 2033312 w 3096285"/>
                  <a:gd name="connsiteY0" fmla="*/ 48509 h 2966512"/>
                  <a:gd name="connsiteX1" fmla="*/ 2182307 w 3096285"/>
                  <a:gd name="connsiteY1" fmla="*/ 570985 h 2966512"/>
                  <a:gd name="connsiteX2" fmla="*/ 2137852 w 3096285"/>
                  <a:gd name="connsiteY2" fmla="*/ 634853 h 2966512"/>
                  <a:gd name="connsiteX3" fmla="*/ 2132430 w 3096285"/>
                  <a:gd name="connsiteY3" fmla="*/ 807554 h 2966512"/>
                  <a:gd name="connsiteX4" fmla="*/ 2954248 w 3096285"/>
                  <a:gd name="connsiteY4" fmla="*/ 796270 h 2966512"/>
                  <a:gd name="connsiteX5" fmla="*/ 2998821 w 3096285"/>
                  <a:gd name="connsiteY5" fmla="*/ 804634 h 2966512"/>
                  <a:gd name="connsiteX6" fmla="*/ 3070010 w 3096285"/>
                  <a:gd name="connsiteY6" fmla="*/ 908896 h 2966512"/>
                  <a:gd name="connsiteX7" fmla="*/ 3096275 w 3096285"/>
                  <a:gd name="connsiteY7" fmla="*/ 2821775 h 2966512"/>
                  <a:gd name="connsiteX8" fmla="*/ 2983649 w 3096285"/>
                  <a:gd name="connsiteY8" fmla="*/ 2937537 h 2966512"/>
                  <a:gd name="connsiteX9" fmla="*/ 874143 w 3096285"/>
                  <a:gd name="connsiteY9" fmla="*/ 2966502 h 2966512"/>
                  <a:gd name="connsiteX10" fmla="*/ 758381 w 3096285"/>
                  <a:gd name="connsiteY10" fmla="*/ 2853876 h 2966512"/>
                  <a:gd name="connsiteX11" fmla="*/ 750127 w 3096285"/>
                  <a:gd name="connsiteY11" fmla="*/ 2252744 h 2966512"/>
                  <a:gd name="connsiteX12" fmla="*/ 181200 w 3096285"/>
                  <a:gd name="connsiteY12" fmla="*/ 2308464 h 2966512"/>
                  <a:gd name="connsiteX13" fmla="*/ 394351 w 3096285"/>
                  <a:gd name="connsiteY13" fmla="*/ 1572521 h 2966512"/>
                  <a:gd name="connsiteX14" fmla="*/ 742815 w 3096285"/>
                  <a:gd name="connsiteY14" fmla="*/ 1720213 h 2966512"/>
                  <a:gd name="connsiteX15" fmla="*/ 732115 w 3096285"/>
                  <a:gd name="connsiteY15" fmla="*/ 940997 h 2966512"/>
                  <a:gd name="connsiteX16" fmla="*/ 844742 w 3096285"/>
                  <a:gd name="connsiteY16" fmla="*/ 825235 h 2966512"/>
                  <a:gd name="connsiteX17" fmla="*/ 1599561 w 3096285"/>
                  <a:gd name="connsiteY17" fmla="*/ 814871 h 2966512"/>
                  <a:gd name="connsiteX18" fmla="*/ 1599561 w 3096285"/>
                  <a:gd name="connsiteY18" fmla="*/ 678030 h 2966512"/>
                  <a:gd name="connsiteX19" fmla="*/ 1595963 w 3096285"/>
                  <a:gd name="connsiteY19" fmla="*/ 675525 h 2966512"/>
                  <a:gd name="connsiteX20" fmla="*/ 1510836 w 3096285"/>
                  <a:gd name="connsiteY20" fmla="*/ 197505 h 2966512"/>
                  <a:gd name="connsiteX21" fmla="*/ 2033312 w 3096285"/>
                  <a:gd name="connsiteY21" fmla="*/ 48509 h 2966512"/>
                  <a:gd name="connsiteX0" fmla="*/ 2033312 w 3096285"/>
                  <a:gd name="connsiteY0" fmla="*/ 48509 h 2966512"/>
                  <a:gd name="connsiteX1" fmla="*/ 2137852 w 3096285"/>
                  <a:gd name="connsiteY1" fmla="*/ 634853 h 2966512"/>
                  <a:gd name="connsiteX2" fmla="*/ 2132430 w 3096285"/>
                  <a:gd name="connsiteY2" fmla="*/ 807554 h 2966512"/>
                  <a:gd name="connsiteX3" fmla="*/ 2954248 w 3096285"/>
                  <a:gd name="connsiteY3" fmla="*/ 796270 h 2966512"/>
                  <a:gd name="connsiteX4" fmla="*/ 2998821 w 3096285"/>
                  <a:gd name="connsiteY4" fmla="*/ 804634 h 2966512"/>
                  <a:gd name="connsiteX5" fmla="*/ 3070010 w 3096285"/>
                  <a:gd name="connsiteY5" fmla="*/ 908896 h 2966512"/>
                  <a:gd name="connsiteX6" fmla="*/ 3096275 w 3096285"/>
                  <a:gd name="connsiteY6" fmla="*/ 2821775 h 2966512"/>
                  <a:gd name="connsiteX7" fmla="*/ 2983649 w 3096285"/>
                  <a:gd name="connsiteY7" fmla="*/ 2937537 h 2966512"/>
                  <a:gd name="connsiteX8" fmla="*/ 874143 w 3096285"/>
                  <a:gd name="connsiteY8" fmla="*/ 2966502 h 2966512"/>
                  <a:gd name="connsiteX9" fmla="*/ 758381 w 3096285"/>
                  <a:gd name="connsiteY9" fmla="*/ 2853876 h 2966512"/>
                  <a:gd name="connsiteX10" fmla="*/ 750127 w 3096285"/>
                  <a:gd name="connsiteY10" fmla="*/ 2252744 h 2966512"/>
                  <a:gd name="connsiteX11" fmla="*/ 181200 w 3096285"/>
                  <a:gd name="connsiteY11" fmla="*/ 2308464 h 2966512"/>
                  <a:gd name="connsiteX12" fmla="*/ 394351 w 3096285"/>
                  <a:gd name="connsiteY12" fmla="*/ 1572521 h 2966512"/>
                  <a:gd name="connsiteX13" fmla="*/ 742815 w 3096285"/>
                  <a:gd name="connsiteY13" fmla="*/ 1720213 h 2966512"/>
                  <a:gd name="connsiteX14" fmla="*/ 732115 w 3096285"/>
                  <a:gd name="connsiteY14" fmla="*/ 940997 h 2966512"/>
                  <a:gd name="connsiteX15" fmla="*/ 844742 w 3096285"/>
                  <a:gd name="connsiteY15" fmla="*/ 825235 h 2966512"/>
                  <a:gd name="connsiteX16" fmla="*/ 1599561 w 3096285"/>
                  <a:gd name="connsiteY16" fmla="*/ 814871 h 2966512"/>
                  <a:gd name="connsiteX17" fmla="*/ 1599561 w 3096285"/>
                  <a:gd name="connsiteY17" fmla="*/ 678030 h 2966512"/>
                  <a:gd name="connsiteX18" fmla="*/ 1595963 w 3096285"/>
                  <a:gd name="connsiteY18" fmla="*/ 675525 h 2966512"/>
                  <a:gd name="connsiteX19" fmla="*/ 1510836 w 3096285"/>
                  <a:gd name="connsiteY19" fmla="*/ 197505 h 2966512"/>
                  <a:gd name="connsiteX20" fmla="*/ 2033312 w 3096285"/>
                  <a:gd name="connsiteY20" fmla="*/ 48509 h 2966512"/>
                  <a:gd name="connsiteX0" fmla="*/ 2033312 w 3096285"/>
                  <a:gd name="connsiteY0" fmla="*/ 0 h 2918003"/>
                  <a:gd name="connsiteX1" fmla="*/ 2137852 w 3096285"/>
                  <a:gd name="connsiteY1" fmla="*/ 586344 h 2918003"/>
                  <a:gd name="connsiteX2" fmla="*/ 2132430 w 3096285"/>
                  <a:gd name="connsiteY2" fmla="*/ 759045 h 2918003"/>
                  <a:gd name="connsiteX3" fmla="*/ 2954248 w 3096285"/>
                  <a:gd name="connsiteY3" fmla="*/ 747761 h 2918003"/>
                  <a:gd name="connsiteX4" fmla="*/ 2998821 w 3096285"/>
                  <a:gd name="connsiteY4" fmla="*/ 756125 h 2918003"/>
                  <a:gd name="connsiteX5" fmla="*/ 3070010 w 3096285"/>
                  <a:gd name="connsiteY5" fmla="*/ 860387 h 2918003"/>
                  <a:gd name="connsiteX6" fmla="*/ 3096275 w 3096285"/>
                  <a:gd name="connsiteY6" fmla="*/ 2773266 h 2918003"/>
                  <a:gd name="connsiteX7" fmla="*/ 2983649 w 3096285"/>
                  <a:gd name="connsiteY7" fmla="*/ 2889028 h 2918003"/>
                  <a:gd name="connsiteX8" fmla="*/ 874143 w 3096285"/>
                  <a:gd name="connsiteY8" fmla="*/ 2917993 h 2918003"/>
                  <a:gd name="connsiteX9" fmla="*/ 758381 w 3096285"/>
                  <a:gd name="connsiteY9" fmla="*/ 2805367 h 2918003"/>
                  <a:gd name="connsiteX10" fmla="*/ 750127 w 3096285"/>
                  <a:gd name="connsiteY10" fmla="*/ 2204235 h 2918003"/>
                  <a:gd name="connsiteX11" fmla="*/ 181200 w 3096285"/>
                  <a:gd name="connsiteY11" fmla="*/ 2259955 h 2918003"/>
                  <a:gd name="connsiteX12" fmla="*/ 394351 w 3096285"/>
                  <a:gd name="connsiteY12" fmla="*/ 1524012 h 2918003"/>
                  <a:gd name="connsiteX13" fmla="*/ 742815 w 3096285"/>
                  <a:gd name="connsiteY13" fmla="*/ 1671704 h 2918003"/>
                  <a:gd name="connsiteX14" fmla="*/ 732115 w 3096285"/>
                  <a:gd name="connsiteY14" fmla="*/ 892488 h 2918003"/>
                  <a:gd name="connsiteX15" fmla="*/ 844742 w 3096285"/>
                  <a:gd name="connsiteY15" fmla="*/ 776726 h 2918003"/>
                  <a:gd name="connsiteX16" fmla="*/ 1599561 w 3096285"/>
                  <a:gd name="connsiteY16" fmla="*/ 766362 h 2918003"/>
                  <a:gd name="connsiteX17" fmla="*/ 1599561 w 3096285"/>
                  <a:gd name="connsiteY17" fmla="*/ 629521 h 2918003"/>
                  <a:gd name="connsiteX18" fmla="*/ 1595963 w 3096285"/>
                  <a:gd name="connsiteY18" fmla="*/ 627016 h 2918003"/>
                  <a:gd name="connsiteX19" fmla="*/ 2033312 w 3096285"/>
                  <a:gd name="connsiteY19" fmla="*/ 0 h 2918003"/>
                  <a:gd name="connsiteX0" fmla="*/ 2033312 w 3096285"/>
                  <a:gd name="connsiteY0" fmla="*/ 0 h 2918003"/>
                  <a:gd name="connsiteX1" fmla="*/ 2137852 w 3096285"/>
                  <a:gd name="connsiteY1" fmla="*/ 586344 h 2918003"/>
                  <a:gd name="connsiteX2" fmla="*/ 2132430 w 3096285"/>
                  <a:gd name="connsiteY2" fmla="*/ 759045 h 2918003"/>
                  <a:gd name="connsiteX3" fmla="*/ 2954248 w 3096285"/>
                  <a:gd name="connsiteY3" fmla="*/ 747761 h 2918003"/>
                  <a:gd name="connsiteX4" fmla="*/ 2998821 w 3096285"/>
                  <a:gd name="connsiteY4" fmla="*/ 756125 h 2918003"/>
                  <a:gd name="connsiteX5" fmla="*/ 3070010 w 3096285"/>
                  <a:gd name="connsiteY5" fmla="*/ 860387 h 2918003"/>
                  <a:gd name="connsiteX6" fmla="*/ 3096275 w 3096285"/>
                  <a:gd name="connsiteY6" fmla="*/ 2773266 h 2918003"/>
                  <a:gd name="connsiteX7" fmla="*/ 2983649 w 3096285"/>
                  <a:gd name="connsiteY7" fmla="*/ 2889028 h 2918003"/>
                  <a:gd name="connsiteX8" fmla="*/ 874143 w 3096285"/>
                  <a:gd name="connsiteY8" fmla="*/ 2917993 h 2918003"/>
                  <a:gd name="connsiteX9" fmla="*/ 758381 w 3096285"/>
                  <a:gd name="connsiteY9" fmla="*/ 2805367 h 2918003"/>
                  <a:gd name="connsiteX10" fmla="*/ 750127 w 3096285"/>
                  <a:gd name="connsiteY10" fmla="*/ 2204235 h 2918003"/>
                  <a:gd name="connsiteX11" fmla="*/ 181200 w 3096285"/>
                  <a:gd name="connsiteY11" fmla="*/ 2259955 h 2918003"/>
                  <a:gd name="connsiteX12" fmla="*/ 394351 w 3096285"/>
                  <a:gd name="connsiteY12" fmla="*/ 1524012 h 2918003"/>
                  <a:gd name="connsiteX13" fmla="*/ 742815 w 3096285"/>
                  <a:gd name="connsiteY13" fmla="*/ 1671704 h 2918003"/>
                  <a:gd name="connsiteX14" fmla="*/ 732115 w 3096285"/>
                  <a:gd name="connsiteY14" fmla="*/ 892488 h 2918003"/>
                  <a:gd name="connsiteX15" fmla="*/ 844742 w 3096285"/>
                  <a:gd name="connsiteY15" fmla="*/ 776726 h 2918003"/>
                  <a:gd name="connsiteX16" fmla="*/ 1599561 w 3096285"/>
                  <a:gd name="connsiteY16" fmla="*/ 766362 h 2918003"/>
                  <a:gd name="connsiteX17" fmla="*/ 1599561 w 3096285"/>
                  <a:gd name="connsiteY17" fmla="*/ 629521 h 2918003"/>
                  <a:gd name="connsiteX18" fmla="*/ 1595963 w 3096285"/>
                  <a:gd name="connsiteY18" fmla="*/ 627016 h 2918003"/>
                  <a:gd name="connsiteX19" fmla="*/ 2033312 w 3096285"/>
                  <a:gd name="connsiteY19" fmla="*/ 0 h 2918003"/>
                  <a:gd name="connsiteX0" fmla="*/ 2033312 w 3096285"/>
                  <a:gd name="connsiteY0" fmla="*/ 20992 h 2938995"/>
                  <a:gd name="connsiteX1" fmla="*/ 2137852 w 3096285"/>
                  <a:gd name="connsiteY1" fmla="*/ 607336 h 2938995"/>
                  <a:gd name="connsiteX2" fmla="*/ 2132430 w 3096285"/>
                  <a:gd name="connsiteY2" fmla="*/ 780037 h 2938995"/>
                  <a:gd name="connsiteX3" fmla="*/ 2954248 w 3096285"/>
                  <a:gd name="connsiteY3" fmla="*/ 768753 h 2938995"/>
                  <a:gd name="connsiteX4" fmla="*/ 2998821 w 3096285"/>
                  <a:gd name="connsiteY4" fmla="*/ 777117 h 2938995"/>
                  <a:gd name="connsiteX5" fmla="*/ 3070010 w 3096285"/>
                  <a:gd name="connsiteY5" fmla="*/ 881379 h 2938995"/>
                  <a:gd name="connsiteX6" fmla="*/ 3096275 w 3096285"/>
                  <a:gd name="connsiteY6" fmla="*/ 2794258 h 2938995"/>
                  <a:gd name="connsiteX7" fmla="*/ 2983649 w 3096285"/>
                  <a:gd name="connsiteY7" fmla="*/ 2910020 h 2938995"/>
                  <a:gd name="connsiteX8" fmla="*/ 874143 w 3096285"/>
                  <a:gd name="connsiteY8" fmla="*/ 2938985 h 2938995"/>
                  <a:gd name="connsiteX9" fmla="*/ 758381 w 3096285"/>
                  <a:gd name="connsiteY9" fmla="*/ 2826359 h 2938995"/>
                  <a:gd name="connsiteX10" fmla="*/ 750127 w 3096285"/>
                  <a:gd name="connsiteY10" fmla="*/ 2225227 h 2938995"/>
                  <a:gd name="connsiteX11" fmla="*/ 181200 w 3096285"/>
                  <a:gd name="connsiteY11" fmla="*/ 2280947 h 2938995"/>
                  <a:gd name="connsiteX12" fmla="*/ 394351 w 3096285"/>
                  <a:gd name="connsiteY12" fmla="*/ 1545004 h 2938995"/>
                  <a:gd name="connsiteX13" fmla="*/ 742815 w 3096285"/>
                  <a:gd name="connsiteY13" fmla="*/ 1692696 h 2938995"/>
                  <a:gd name="connsiteX14" fmla="*/ 732115 w 3096285"/>
                  <a:gd name="connsiteY14" fmla="*/ 913480 h 2938995"/>
                  <a:gd name="connsiteX15" fmla="*/ 844742 w 3096285"/>
                  <a:gd name="connsiteY15" fmla="*/ 797718 h 2938995"/>
                  <a:gd name="connsiteX16" fmla="*/ 1599561 w 3096285"/>
                  <a:gd name="connsiteY16" fmla="*/ 787354 h 2938995"/>
                  <a:gd name="connsiteX17" fmla="*/ 1599561 w 3096285"/>
                  <a:gd name="connsiteY17" fmla="*/ 650513 h 2938995"/>
                  <a:gd name="connsiteX18" fmla="*/ 1595963 w 3096285"/>
                  <a:gd name="connsiteY18" fmla="*/ 648008 h 2938995"/>
                  <a:gd name="connsiteX19" fmla="*/ 2033312 w 3096285"/>
                  <a:gd name="connsiteY19" fmla="*/ 20992 h 2938995"/>
                  <a:gd name="connsiteX0" fmla="*/ 2033312 w 3096285"/>
                  <a:gd name="connsiteY0" fmla="*/ 20992 h 2938995"/>
                  <a:gd name="connsiteX1" fmla="*/ 2137852 w 3096285"/>
                  <a:gd name="connsiteY1" fmla="*/ 607336 h 2938995"/>
                  <a:gd name="connsiteX2" fmla="*/ 2132430 w 3096285"/>
                  <a:gd name="connsiteY2" fmla="*/ 780037 h 2938995"/>
                  <a:gd name="connsiteX3" fmla="*/ 2954248 w 3096285"/>
                  <a:gd name="connsiteY3" fmla="*/ 768753 h 2938995"/>
                  <a:gd name="connsiteX4" fmla="*/ 2998821 w 3096285"/>
                  <a:gd name="connsiteY4" fmla="*/ 777117 h 2938995"/>
                  <a:gd name="connsiteX5" fmla="*/ 3070010 w 3096285"/>
                  <a:gd name="connsiteY5" fmla="*/ 881379 h 2938995"/>
                  <a:gd name="connsiteX6" fmla="*/ 3096275 w 3096285"/>
                  <a:gd name="connsiteY6" fmla="*/ 2794258 h 2938995"/>
                  <a:gd name="connsiteX7" fmla="*/ 2983649 w 3096285"/>
                  <a:gd name="connsiteY7" fmla="*/ 2910020 h 2938995"/>
                  <a:gd name="connsiteX8" fmla="*/ 874143 w 3096285"/>
                  <a:gd name="connsiteY8" fmla="*/ 2938985 h 2938995"/>
                  <a:gd name="connsiteX9" fmla="*/ 758381 w 3096285"/>
                  <a:gd name="connsiteY9" fmla="*/ 2826359 h 2938995"/>
                  <a:gd name="connsiteX10" fmla="*/ 750127 w 3096285"/>
                  <a:gd name="connsiteY10" fmla="*/ 2225227 h 2938995"/>
                  <a:gd name="connsiteX11" fmla="*/ 181200 w 3096285"/>
                  <a:gd name="connsiteY11" fmla="*/ 2280947 h 2938995"/>
                  <a:gd name="connsiteX12" fmla="*/ 394351 w 3096285"/>
                  <a:gd name="connsiteY12" fmla="*/ 1545004 h 2938995"/>
                  <a:gd name="connsiteX13" fmla="*/ 742815 w 3096285"/>
                  <a:gd name="connsiteY13" fmla="*/ 1692696 h 2938995"/>
                  <a:gd name="connsiteX14" fmla="*/ 732115 w 3096285"/>
                  <a:gd name="connsiteY14" fmla="*/ 913480 h 2938995"/>
                  <a:gd name="connsiteX15" fmla="*/ 844742 w 3096285"/>
                  <a:gd name="connsiteY15" fmla="*/ 797718 h 2938995"/>
                  <a:gd name="connsiteX16" fmla="*/ 1599561 w 3096285"/>
                  <a:gd name="connsiteY16" fmla="*/ 787354 h 2938995"/>
                  <a:gd name="connsiteX17" fmla="*/ 1599561 w 3096285"/>
                  <a:gd name="connsiteY17" fmla="*/ 650513 h 2938995"/>
                  <a:gd name="connsiteX18" fmla="*/ 1595963 w 3096285"/>
                  <a:gd name="connsiteY18" fmla="*/ 648008 h 2938995"/>
                  <a:gd name="connsiteX19" fmla="*/ 2033312 w 3096285"/>
                  <a:gd name="connsiteY19" fmla="*/ 20992 h 2938995"/>
                  <a:gd name="connsiteX0" fmla="*/ 2033312 w 3096285"/>
                  <a:gd name="connsiteY0" fmla="*/ 20992 h 2938995"/>
                  <a:gd name="connsiteX1" fmla="*/ 2137852 w 3096285"/>
                  <a:gd name="connsiteY1" fmla="*/ 607336 h 2938995"/>
                  <a:gd name="connsiteX2" fmla="*/ 2132430 w 3096285"/>
                  <a:gd name="connsiteY2" fmla="*/ 780037 h 2938995"/>
                  <a:gd name="connsiteX3" fmla="*/ 2954248 w 3096285"/>
                  <a:gd name="connsiteY3" fmla="*/ 768753 h 2938995"/>
                  <a:gd name="connsiteX4" fmla="*/ 2998821 w 3096285"/>
                  <a:gd name="connsiteY4" fmla="*/ 777117 h 2938995"/>
                  <a:gd name="connsiteX5" fmla="*/ 3070010 w 3096285"/>
                  <a:gd name="connsiteY5" fmla="*/ 881379 h 2938995"/>
                  <a:gd name="connsiteX6" fmla="*/ 3096275 w 3096285"/>
                  <a:gd name="connsiteY6" fmla="*/ 2794258 h 2938995"/>
                  <a:gd name="connsiteX7" fmla="*/ 2983649 w 3096285"/>
                  <a:gd name="connsiteY7" fmla="*/ 2910020 h 2938995"/>
                  <a:gd name="connsiteX8" fmla="*/ 874143 w 3096285"/>
                  <a:gd name="connsiteY8" fmla="*/ 2938985 h 2938995"/>
                  <a:gd name="connsiteX9" fmla="*/ 758381 w 3096285"/>
                  <a:gd name="connsiteY9" fmla="*/ 2826359 h 2938995"/>
                  <a:gd name="connsiteX10" fmla="*/ 750127 w 3096285"/>
                  <a:gd name="connsiteY10" fmla="*/ 2225227 h 2938995"/>
                  <a:gd name="connsiteX11" fmla="*/ 181200 w 3096285"/>
                  <a:gd name="connsiteY11" fmla="*/ 2280947 h 2938995"/>
                  <a:gd name="connsiteX12" fmla="*/ 394351 w 3096285"/>
                  <a:gd name="connsiteY12" fmla="*/ 1545004 h 2938995"/>
                  <a:gd name="connsiteX13" fmla="*/ 742815 w 3096285"/>
                  <a:gd name="connsiteY13" fmla="*/ 1692696 h 2938995"/>
                  <a:gd name="connsiteX14" fmla="*/ 732115 w 3096285"/>
                  <a:gd name="connsiteY14" fmla="*/ 913480 h 2938995"/>
                  <a:gd name="connsiteX15" fmla="*/ 844742 w 3096285"/>
                  <a:gd name="connsiteY15" fmla="*/ 797718 h 2938995"/>
                  <a:gd name="connsiteX16" fmla="*/ 1599561 w 3096285"/>
                  <a:gd name="connsiteY16" fmla="*/ 787354 h 2938995"/>
                  <a:gd name="connsiteX17" fmla="*/ 1599561 w 3096285"/>
                  <a:gd name="connsiteY17" fmla="*/ 650513 h 2938995"/>
                  <a:gd name="connsiteX18" fmla="*/ 1595963 w 3096285"/>
                  <a:gd name="connsiteY18" fmla="*/ 648008 h 2938995"/>
                  <a:gd name="connsiteX19" fmla="*/ 2033312 w 3096285"/>
                  <a:gd name="connsiteY19" fmla="*/ 20992 h 2938995"/>
                  <a:gd name="connsiteX0" fmla="*/ 1595963 w 3096285"/>
                  <a:gd name="connsiteY0" fmla="*/ 45802 h 2336789"/>
                  <a:gd name="connsiteX1" fmla="*/ 2137852 w 3096285"/>
                  <a:gd name="connsiteY1" fmla="*/ 5130 h 2336789"/>
                  <a:gd name="connsiteX2" fmla="*/ 2132430 w 3096285"/>
                  <a:gd name="connsiteY2" fmla="*/ 177831 h 2336789"/>
                  <a:gd name="connsiteX3" fmla="*/ 2954248 w 3096285"/>
                  <a:gd name="connsiteY3" fmla="*/ 166547 h 2336789"/>
                  <a:gd name="connsiteX4" fmla="*/ 2998821 w 3096285"/>
                  <a:gd name="connsiteY4" fmla="*/ 174911 h 2336789"/>
                  <a:gd name="connsiteX5" fmla="*/ 3070010 w 3096285"/>
                  <a:gd name="connsiteY5" fmla="*/ 279173 h 2336789"/>
                  <a:gd name="connsiteX6" fmla="*/ 3096275 w 3096285"/>
                  <a:gd name="connsiteY6" fmla="*/ 2192052 h 2336789"/>
                  <a:gd name="connsiteX7" fmla="*/ 2983649 w 3096285"/>
                  <a:gd name="connsiteY7" fmla="*/ 2307814 h 2336789"/>
                  <a:gd name="connsiteX8" fmla="*/ 874143 w 3096285"/>
                  <a:gd name="connsiteY8" fmla="*/ 2336779 h 2336789"/>
                  <a:gd name="connsiteX9" fmla="*/ 758381 w 3096285"/>
                  <a:gd name="connsiteY9" fmla="*/ 2224153 h 2336789"/>
                  <a:gd name="connsiteX10" fmla="*/ 750127 w 3096285"/>
                  <a:gd name="connsiteY10" fmla="*/ 1623021 h 2336789"/>
                  <a:gd name="connsiteX11" fmla="*/ 181200 w 3096285"/>
                  <a:gd name="connsiteY11" fmla="*/ 1678741 h 2336789"/>
                  <a:gd name="connsiteX12" fmla="*/ 394351 w 3096285"/>
                  <a:gd name="connsiteY12" fmla="*/ 942798 h 2336789"/>
                  <a:gd name="connsiteX13" fmla="*/ 742815 w 3096285"/>
                  <a:gd name="connsiteY13" fmla="*/ 1090490 h 2336789"/>
                  <a:gd name="connsiteX14" fmla="*/ 732115 w 3096285"/>
                  <a:gd name="connsiteY14" fmla="*/ 311274 h 2336789"/>
                  <a:gd name="connsiteX15" fmla="*/ 844742 w 3096285"/>
                  <a:gd name="connsiteY15" fmla="*/ 195512 h 2336789"/>
                  <a:gd name="connsiteX16" fmla="*/ 1599561 w 3096285"/>
                  <a:gd name="connsiteY16" fmla="*/ 185148 h 2336789"/>
                  <a:gd name="connsiteX17" fmla="*/ 1599561 w 3096285"/>
                  <a:gd name="connsiteY17" fmla="*/ 48307 h 2336789"/>
                  <a:gd name="connsiteX18" fmla="*/ 1595963 w 3096285"/>
                  <a:gd name="connsiteY18" fmla="*/ 45802 h 2336789"/>
                  <a:gd name="connsiteX0" fmla="*/ 1595963 w 3096285"/>
                  <a:gd name="connsiteY0" fmla="*/ 448570 h 2739557"/>
                  <a:gd name="connsiteX1" fmla="*/ 2137852 w 3096285"/>
                  <a:gd name="connsiteY1" fmla="*/ 407898 h 2739557"/>
                  <a:gd name="connsiteX2" fmla="*/ 2132430 w 3096285"/>
                  <a:gd name="connsiteY2" fmla="*/ 580599 h 2739557"/>
                  <a:gd name="connsiteX3" fmla="*/ 2954248 w 3096285"/>
                  <a:gd name="connsiteY3" fmla="*/ 569315 h 2739557"/>
                  <a:gd name="connsiteX4" fmla="*/ 2998821 w 3096285"/>
                  <a:gd name="connsiteY4" fmla="*/ 577679 h 2739557"/>
                  <a:gd name="connsiteX5" fmla="*/ 3070010 w 3096285"/>
                  <a:gd name="connsiteY5" fmla="*/ 681941 h 2739557"/>
                  <a:gd name="connsiteX6" fmla="*/ 3096275 w 3096285"/>
                  <a:gd name="connsiteY6" fmla="*/ 2594820 h 2739557"/>
                  <a:gd name="connsiteX7" fmla="*/ 2983649 w 3096285"/>
                  <a:gd name="connsiteY7" fmla="*/ 2710582 h 2739557"/>
                  <a:gd name="connsiteX8" fmla="*/ 874143 w 3096285"/>
                  <a:gd name="connsiteY8" fmla="*/ 2739547 h 2739557"/>
                  <a:gd name="connsiteX9" fmla="*/ 758381 w 3096285"/>
                  <a:gd name="connsiteY9" fmla="*/ 2626921 h 2739557"/>
                  <a:gd name="connsiteX10" fmla="*/ 750127 w 3096285"/>
                  <a:gd name="connsiteY10" fmla="*/ 2025789 h 2739557"/>
                  <a:gd name="connsiteX11" fmla="*/ 181200 w 3096285"/>
                  <a:gd name="connsiteY11" fmla="*/ 2081509 h 2739557"/>
                  <a:gd name="connsiteX12" fmla="*/ 394351 w 3096285"/>
                  <a:gd name="connsiteY12" fmla="*/ 1345566 h 2739557"/>
                  <a:gd name="connsiteX13" fmla="*/ 742815 w 3096285"/>
                  <a:gd name="connsiteY13" fmla="*/ 1493258 h 2739557"/>
                  <a:gd name="connsiteX14" fmla="*/ 732115 w 3096285"/>
                  <a:gd name="connsiteY14" fmla="*/ 714042 h 2739557"/>
                  <a:gd name="connsiteX15" fmla="*/ 844742 w 3096285"/>
                  <a:gd name="connsiteY15" fmla="*/ 598280 h 2739557"/>
                  <a:gd name="connsiteX16" fmla="*/ 1599561 w 3096285"/>
                  <a:gd name="connsiteY16" fmla="*/ 587916 h 2739557"/>
                  <a:gd name="connsiteX17" fmla="*/ 1599561 w 3096285"/>
                  <a:gd name="connsiteY17" fmla="*/ 451075 h 2739557"/>
                  <a:gd name="connsiteX18" fmla="*/ 1595963 w 3096285"/>
                  <a:gd name="connsiteY18" fmla="*/ 448570 h 2739557"/>
                  <a:gd name="connsiteX0" fmla="*/ 1595963 w 3096285"/>
                  <a:gd name="connsiteY0" fmla="*/ 659119 h 2950106"/>
                  <a:gd name="connsiteX1" fmla="*/ 2137852 w 3096285"/>
                  <a:gd name="connsiteY1" fmla="*/ 618447 h 2950106"/>
                  <a:gd name="connsiteX2" fmla="*/ 2132430 w 3096285"/>
                  <a:gd name="connsiteY2" fmla="*/ 791148 h 2950106"/>
                  <a:gd name="connsiteX3" fmla="*/ 2954248 w 3096285"/>
                  <a:gd name="connsiteY3" fmla="*/ 779864 h 2950106"/>
                  <a:gd name="connsiteX4" fmla="*/ 2998821 w 3096285"/>
                  <a:gd name="connsiteY4" fmla="*/ 788228 h 2950106"/>
                  <a:gd name="connsiteX5" fmla="*/ 3070010 w 3096285"/>
                  <a:gd name="connsiteY5" fmla="*/ 892490 h 2950106"/>
                  <a:gd name="connsiteX6" fmla="*/ 3096275 w 3096285"/>
                  <a:gd name="connsiteY6" fmla="*/ 2805369 h 2950106"/>
                  <a:gd name="connsiteX7" fmla="*/ 2983649 w 3096285"/>
                  <a:gd name="connsiteY7" fmla="*/ 2921131 h 2950106"/>
                  <a:gd name="connsiteX8" fmla="*/ 874143 w 3096285"/>
                  <a:gd name="connsiteY8" fmla="*/ 2950096 h 2950106"/>
                  <a:gd name="connsiteX9" fmla="*/ 758381 w 3096285"/>
                  <a:gd name="connsiteY9" fmla="*/ 2837470 h 2950106"/>
                  <a:gd name="connsiteX10" fmla="*/ 750127 w 3096285"/>
                  <a:gd name="connsiteY10" fmla="*/ 2236338 h 2950106"/>
                  <a:gd name="connsiteX11" fmla="*/ 181200 w 3096285"/>
                  <a:gd name="connsiteY11" fmla="*/ 2292058 h 2950106"/>
                  <a:gd name="connsiteX12" fmla="*/ 394351 w 3096285"/>
                  <a:gd name="connsiteY12" fmla="*/ 1556115 h 2950106"/>
                  <a:gd name="connsiteX13" fmla="*/ 742815 w 3096285"/>
                  <a:gd name="connsiteY13" fmla="*/ 1703807 h 2950106"/>
                  <a:gd name="connsiteX14" fmla="*/ 732115 w 3096285"/>
                  <a:gd name="connsiteY14" fmla="*/ 924591 h 2950106"/>
                  <a:gd name="connsiteX15" fmla="*/ 844742 w 3096285"/>
                  <a:gd name="connsiteY15" fmla="*/ 808829 h 2950106"/>
                  <a:gd name="connsiteX16" fmla="*/ 1599561 w 3096285"/>
                  <a:gd name="connsiteY16" fmla="*/ 798465 h 2950106"/>
                  <a:gd name="connsiteX17" fmla="*/ 1599561 w 3096285"/>
                  <a:gd name="connsiteY17" fmla="*/ 661624 h 2950106"/>
                  <a:gd name="connsiteX18" fmla="*/ 1595963 w 3096285"/>
                  <a:gd name="connsiteY18" fmla="*/ 659119 h 2950106"/>
                  <a:gd name="connsiteX0" fmla="*/ 1595963 w 3096285"/>
                  <a:gd name="connsiteY0" fmla="*/ 572986 h 2863973"/>
                  <a:gd name="connsiteX1" fmla="*/ 2137852 w 3096285"/>
                  <a:gd name="connsiteY1" fmla="*/ 532314 h 2863973"/>
                  <a:gd name="connsiteX2" fmla="*/ 2132430 w 3096285"/>
                  <a:gd name="connsiteY2" fmla="*/ 705015 h 2863973"/>
                  <a:gd name="connsiteX3" fmla="*/ 2954248 w 3096285"/>
                  <a:gd name="connsiteY3" fmla="*/ 693731 h 2863973"/>
                  <a:gd name="connsiteX4" fmla="*/ 2998821 w 3096285"/>
                  <a:gd name="connsiteY4" fmla="*/ 702095 h 2863973"/>
                  <a:gd name="connsiteX5" fmla="*/ 3070010 w 3096285"/>
                  <a:gd name="connsiteY5" fmla="*/ 806357 h 2863973"/>
                  <a:gd name="connsiteX6" fmla="*/ 3096275 w 3096285"/>
                  <a:gd name="connsiteY6" fmla="*/ 2719236 h 2863973"/>
                  <a:gd name="connsiteX7" fmla="*/ 2983649 w 3096285"/>
                  <a:gd name="connsiteY7" fmla="*/ 2834998 h 2863973"/>
                  <a:gd name="connsiteX8" fmla="*/ 874143 w 3096285"/>
                  <a:gd name="connsiteY8" fmla="*/ 2863963 h 2863973"/>
                  <a:gd name="connsiteX9" fmla="*/ 758381 w 3096285"/>
                  <a:gd name="connsiteY9" fmla="*/ 2751337 h 2863973"/>
                  <a:gd name="connsiteX10" fmla="*/ 750127 w 3096285"/>
                  <a:gd name="connsiteY10" fmla="*/ 2150205 h 2863973"/>
                  <a:gd name="connsiteX11" fmla="*/ 181200 w 3096285"/>
                  <a:gd name="connsiteY11" fmla="*/ 2205925 h 2863973"/>
                  <a:gd name="connsiteX12" fmla="*/ 394351 w 3096285"/>
                  <a:gd name="connsiteY12" fmla="*/ 1469982 h 2863973"/>
                  <a:gd name="connsiteX13" fmla="*/ 742815 w 3096285"/>
                  <a:gd name="connsiteY13" fmla="*/ 1617674 h 2863973"/>
                  <a:gd name="connsiteX14" fmla="*/ 732115 w 3096285"/>
                  <a:gd name="connsiteY14" fmla="*/ 838458 h 2863973"/>
                  <a:gd name="connsiteX15" fmla="*/ 844742 w 3096285"/>
                  <a:gd name="connsiteY15" fmla="*/ 722696 h 2863973"/>
                  <a:gd name="connsiteX16" fmla="*/ 1599561 w 3096285"/>
                  <a:gd name="connsiteY16" fmla="*/ 712332 h 2863973"/>
                  <a:gd name="connsiteX17" fmla="*/ 1599561 w 3096285"/>
                  <a:gd name="connsiteY17" fmla="*/ 575491 h 2863973"/>
                  <a:gd name="connsiteX18" fmla="*/ 1595963 w 3096285"/>
                  <a:gd name="connsiteY18" fmla="*/ 572986 h 2863973"/>
                  <a:gd name="connsiteX0" fmla="*/ 1595963 w 3096285"/>
                  <a:gd name="connsiteY0" fmla="*/ 638140 h 2929127"/>
                  <a:gd name="connsiteX1" fmla="*/ 2137852 w 3096285"/>
                  <a:gd name="connsiteY1" fmla="*/ 597468 h 2929127"/>
                  <a:gd name="connsiteX2" fmla="*/ 2132430 w 3096285"/>
                  <a:gd name="connsiteY2" fmla="*/ 770169 h 2929127"/>
                  <a:gd name="connsiteX3" fmla="*/ 2954248 w 3096285"/>
                  <a:gd name="connsiteY3" fmla="*/ 758885 h 2929127"/>
                  <a:gd name="connsiteX4" fmla="*/ 2998821 w 3096285"/>
                  <a:gd name="connsiteY4" fmla="*/ 767249 h 2929127"/>
                  <a:gd name="connsiteX5" fmla="*/ 3070010 w 3096285"/>
                  <a:gd name="connsiteY5" fmla="*/ 871511 h 2929127"/>
                  <a:gd name="connsiteX6" fmla="*/ 3096275 w 3096285"/>
                  <a:gd name="connsiteY6" fmla="*/ 2784390 h 2929127"/>
                  <a:gd name="connsiteX7" fmla="*/ 2983649 w 3096285"/>
                  <a:gd name="connsiteY7" fmla="*/ 2900152 h 2929127"/>
                  <a:gd name="connsiteX8" fmla="*/ 874143 w 3096285"/>
                  <a:gd name="connsiteY8" fmla="*/ 2929117 h 2929127"/>
                  <a:gd name="connsiteX9" fmla="*/ 758381 w 3096285"/>
                  <a:gd name="connsiteY9" fmla="*/ 2816491 h 2929127"/>
                  <a:gd name="connsiteX10" fmla="*/ 750127 w 3096285"/>
                  <a:gd name="connsiteY10" fmla="*/ 2215359 h 2929127"/>
                  <a:gd name="connsiteX11" fmla="*/ 181200 w 3096285"/>
                  <a:gd name="connsiteY11" fmla="*/ 2271079 h 2929127"/>
                  <a:gd name="connsiteX12" fmla="*/ 394351 w 3096285"/>
                  <a:gd name="connsiteY12" fmla="*/ 1535136 h 2929127"/>
                  <a:gd name="connsiteX13" fmla="*/ 742815 w 3096285"/>
                  <a:gd name="connsiteY13" fmla="*/ 1682828 h 2929127"/>
                  <a:gd name="connsiteX14" fmla="*/ 732115 w 3096285"/>
                  <a:gd name="connsiteY14" fmla="*/ 903612 h 2929127"/>
                  <a:gd name="connsiteX15" fmla="*/ 844742 w 3096285"/>
                  <a:gd name="connsiteY15" fmla="*/ 787850 h 2929127"/>
                  <a:gd name="connsiteX16" fmla="*/ 1599561 w 3096285"/>
                  <a:gd name="connsiteY16" fmla="*/ 777486 h 2929127"/>
                  <a:gd name="connsiteX17" fmla="*/ 1599561 w 3096285"/>
                  <a:gd name="connsiteY17" fmla="*/ 640645 h 2929127"/>
                  <a:gd name="connsiteX18" fmla="*/ 1595963 w 3096285"/>
                  <a:gd name="connsiteY18" fmla="*/ 638140 h 2929127"/>
                  <a:gd name="connsiteX0" fmla="*/ 1595963 w 3096285"/>
                  <a:gd name="connsiteY0" fmla="*/ 614900 h 2905887"/>
                  <a:gd name="connsiteX1" fmla="*/ 2137852 w 3096285"/>
                  <a:gd name="connsiteY1" fmla="*/ 574228 h 2905887"/>
                  <a:gd name="connsiteX2" fmla="*/ 2132430 w 3096285"/>
                  <a:gd name="connsiteY2" fmla="*/ 746929 h 2905887"/>
                  <a:gd name="connsiteX3" fmla="*/ 2954248 w 3096285"/>
                  <a:gd name="connsiteY3" fmla="*/ 735645 h 2905887"/>
                  <a:gd name="connsiteX4" fmla="*/ 2998821 w 3096285"/>
                  <a:gd name="connsiteY4" fmla="*/ 744009 h 2905887"/>
                  <a:gd name="connsiteX5" fmla="*/ 3070010 w 3096285"/>
                  <a:gd name="connsiteY5" fmla="*/ 848271 h 2905887"/>
                  <a:gd name="connsiteX6" fmla="*/ 3096275 w 3096285"/>
                  <a:gd name="connsiteY6" fmla="*/ 2761150 h 2905887"/>
                  <a:gd name="connsiteX7" fmla="*/ 2983649 w 3096285"/>
                  <a:gd name="connsiteY7" fmla="*/ 2876912 h 2905887"/>
                  <a:gd name="connsiteX8" fmla="*/ 874143 w 3096285"/>
                  <a:gd name="connsiteY8" fmla="*/ 2905877 h 2905887"/>
                  <a:gd name="connsiteX9" fmla="*/ 758381 w 3096285"/>
                  <a:gd name="connsiteY9" fmla="*/ 2793251 h 2905887"/>
                  <a:gd name="connsiteX10" fmla="*/ 750127 w 3096285"/>
                  <a:gd name="connsiteY10" fmla="*/ 2192119 h 2905887"/>
                  <a:gd name="connsiteX11" fmla="*/ 181200 w 3096285"/>
                  <a:gd name="connsiteY11" fmla="*/ 2247839 h 2905887"/>
                  <a:gd name="connsiteX12" fmla="*/ 394351 w 3096285"/>
                  <a:gd name="connsiteY12" fmla="*/ 1511896 h 2905887"/>
                  <a:gd name="connsiteX13" fmla="*/ 742815 w 3096285"/>
                  <a:gd name="connsiteY13" fmla="*/ 1659588 h 2905887"/>
                  <a:gd name="connsiteX14" fmla="*/ 732115 w 3096285"/>
                  <a:gd name="connsiteY14" fmla="*/ 880372 h 2905887"/>
                  <a:gd name="connsiteX15" fmla="*/ 844742 w 3096285"/>
                  <a:gd name="connsiteY15" fmla="*/ 764610 h 2905887"/>
                  <a:gd name="connsiteX16" fmla="*/ 1599561 w 3096285"/>
                  <a:gd name="connsiteY16" fmla="*/ 754246 h 2905887"/>
                  <a:gd name="connsiteX17" fmla="*/ 1599561 w 3096285"/>
                  <a:gd name="connsiteY17" fmla="*/ 617405 h 2905887"/>
                  <a:gd name="connsiteX18" fmla="*/ 1595963 w 3096285"/>
                  <a:gd name="connsiteY18" fmla="*/ 614900 h 2905887"/>
                  <a:gd name="connsiteX0" fmla="*/ 1595963 w 3096285"/>
                  <a:gd name="connsiteY0" fmla="*/ 651393 h 2942380"/>
                  <a:gd name="connsiteX1" fmla="*/ 2137852 w 3096285"/>
                  <a:gd name="connsiteY1" fmla="*/ 610721 h 2942380"/>
                  <a:gd name="connsiteX2" fmla="*/ 2132430 w 3096285"/>
                  <a:gd name="connsiteY2" fmla="*/ 783422 h 2942380"/>
                  <a:gd name="connsiteX3" fmla="*/ 2954248 w 3096285"/>
                  <a:gd name="connsiteY3" fmla="*/ 772138 h 2942380"/>
                  <a:gd name="connsiteX4" fmla="*/ 2998821 w 3096285"/>
                  <a:gd name="connsiteY4" fmla="*/ 780502 h 2942380"/>
                  <a:gd name="connsiteX5" fmla="*/ 3070010 w 3096285"/>
                  <a:gd name="connsiteY5" fmla="*/ 884764 h 2942380"/>
                  <a:gd name="connsiteX6" fmla="*/ 3096275 w 3096285"/>
                  <a:gd name="connsiteY6" fmla="*/ 2797643 h 2942380"/>
                  <a:gd name="connsiteX7" fmla="*/ 2983649 w 3096285"/>
                  <a:gd name="connsiteY7" fmla="*/ 2913405 h 2942380"/>
                  <a:gd name="connsiteX8" fmla="*/ 874143 w 3096285"/>
                  <a:gd name="connsiteY8" fmla="*/ 2942370 h 2942380"/>
                  <a:gd name="connsiteX9" fmla="*/ 758381 w 3096285"/>
                  <a:gd name="connsiteY9" fmla="*/ 2829744 h 2942380"/>
                  <a:gd name="connsiteX10" fmla="*/ 750127 w 3096285"/>
                  <a:gd name="connsiteY10" fmla="*/ 2228612 h 2942380"/>
                  <a:gd name="connsiteX11" fmla="*/ 181200 w 3096285"/>
                  <a:gd name="connsiteY11" fmla="*/ 2284332 h 2942380"/>
                  <a:gd name="connsiteX12" fmla="*/ 394351 w 3096285"/>
                  <a:gd name="connsiteY12" fmla="*/ 1548389 h 2942380"/>
                  <a:gd name="connsiteX13" fmla="*/ 742815 w 3096285"/>
                  <a:gd name="connsiteY13" fmla="*/ 1696081 h 2942380"/>
                  <a:gd name="connsiteX14" fmla="*/ 732115 w 3096285"/>
                  <a:gd name="connsiteY14" fmla="*/ 916865 h 2942380"/>
                  <a:gd name="connsiteX15" fmla="*/ 844742 w 3096285"/>
                  <a:gd name="connsiteY15" fmla="*/ 801103 h 2942380"/>
                  <a:gd name="connsiteX16" fmla="*/ 1599561 w 3096285"/>
                  <a:gd name="connsiteY16" fmla="*/ 790739 h 2942380"/>
                  <a:gd name="connsiteX17" fmla="*/ 1599561 w 3096285"/>
                  <a:gd name="connsiteY17" fmla="*/ 653898 h 2942380"/>
                  <a:gd name="connsiteX18" fmla="*/ 1595963 w 3096285"/>
                  <a:gd name="connsiteY18" fmla="*/ 651393 h 2942380"/>
                  <a:gd name="connsiteX0" fmla="*/ 1595963 w 3096285"/>
                  <a:gd name="connsiteY0" fmla="*/ 662534 h 2953521"/>
                  <a:gd name="connsiteX1" fmla="*/ 2137852 w 3096285"/>
                  <a:gd name="connsiteY1" fmla="*/ 621862 h 2953521"/>
                  <a:gd name="connsiteX2" fmla="*/ 2132430 w 3096285"/>
                  <a:gd name="connsiteY2" fmla="*/ 794563 h 2953521"/>
                  <a:gd name="connsiteX3" fmla="*/ 2954248 w 3096285"/>
                  <a:gd name="connsiteY3" fmla="*/ 783279 h 2953521"/>
                  <a:gd name="connsiteX4" fmla="*/ 2998821 w 3096285"/>
                  <a:gd name="connsiteY4" fmla="*/ 791643 h 2953521"/>
                  <a:gd name="connsiteX5" fmla="*/ 3070010 w 3096285"/>
                  <a:gd name="connsiteY5" fmla="*/ 895905 h 2953521"/>
                  <a:gd name="connsiteX6" fmla="*/ 3096275 w 3096285"/>
                  <a:gd name="connsiteY6" fmla="*/ 2808784 h 2953521"/>
                  <a:gd name="connsiteX7" fmla="*/ 2983649 w 3096285"/>
                  <a:gd name="connsiteY7" fmla="*/ 2924546 h 2953521"/>
                  <a:gd name="connsiteX8" fmla="*/ 874143 w 3096285"/>
                  <a:gd name="connsiteY8" fmla="*/ 2953511 h 2953521"/>
                  <a:gd name="connsiteX9" fmla="*/ 758381 w 3096285"/>
                  <a:gd name="connsiteY9" fmla="*/ 2840885 h 2953521"/>
                  <a:gd name="connsiteX10" fmla="*/ 750127 w 3096285"/>
                  <a:gd name="connsiteY10" fmla="*/ 2239753 h 2953521"/>
                  <a:gd name="connsiteX11" fmla="*/ 181200 w 3096285"/>
                  <a:gd name="connsiteY11" fmla="*/ 2295473 h 2953521"/>
                  <a:gd name="connsiteX12" fmla="*/ 394351 w 3096285"/>
                  <a:gd name="connsiteY12" fmla="*/ 1559530 h 2953521"/>
                  <a:gd name="connsiteX13" fmla="*/ 742815 w 3096285"/>
                  <a:gd name="connsiteY13" fmla="*/ 1707222 h 2953521"/>
                  <a:gd name="connsiteX14" fmla="*/ 732115 w 3096285"/>
                  <a:gd name="connsiteY14" fmla="*/ 928006 h 2953521"/>
                  <a:gd name="connsiteX15" fmla="*/ 844742 w 3096285"/>
                  <a:gd name="connsiteY15" fmla="*/ 812244 h 2953521"/>
                  <a:gd name="connsiteX16" fmla="*/ 1599561 w 3096285"/>
                  <a:gd name="connsiteY16" fmla="*/ 801880 h 2953521"/>
                  <a:gd name="connsiteX17" fmla="*/ 1599561 w 3096285"/>
                  <a:gd name="connsiteY17" fmla="*/ 665039 h 2953521"/>
                  <a:gd name="connsiteX18" fmla="*/ 1595963 w 3096285"/>
                  <a:gd name="connsiteY18" fmla="*/ 662534 h 2953521"/>
                  <a:gd name="connsiteX0" fmla="*/ 1595963 w 3096285"/>
                  <a:gd name="connsiteY0" fmla="*/ 630699 h 2921686"/>
                  <a:gd name="connsiteX1" fmla="*/ 2137852 w 3096285"/>
                  <a:gd name="connsiteY1" fmla="*/ 590027 h 2921686"/>
                  <a:gd name="connsiteX2" fmla="*/ 2132430 w 3096285"/>
                  <a:gd name="connsiteY2" fmla="*/ 762728 h 2921686"/>
                  <a:gd name="connsiteX3" fmla="*/ 2954248 w 3096285"/>
                  <a:gd name="connsiteY3" fmla="*/ 751444 h 2921686"/>
                  <a:gd name="connsiteX4" fmla="*/ 2998821 w 3096285"/>
                  <a:gd name="connsiteY4" fmla="*/ 759808 h 2921686"/>
                  <a:gd name="connsiteX5" fmla="*/ 3070010 w 3096285"/>
                  <a:gd name="connsiteY5" fmla="*/ 864070 h 2921686"/>
                  <a:gd name="connsiteX6" fmla="*/ 3096275 w 3096285"/>
                  <a:gd name="connsiteY6" fmla="*/ 2776949 h 2921686"/>
                  <a:gd name="connsiteX7" fmla="*/ 2983649 w 3096285"/>
                  <a:gd name="connsiteY7" fmla="*/ 2892711 h 2921686"/>
                  <a:gd name="connsiteX8" fmla="*/ 874143 w 3096285"/>
                  <a:gd name="connsiteY8" fmla="*/ 2921676 h 2921686"/>
                  <a:gd name="connsiteX9" fmla="*/ 758381 w 3096285"/>
                  <a:gd name="connsiteY9" fmla="*/ 2809050 h 2921686"/>
                  <a:gd name="connsiteX10" fmla="*/ 750127 w 3096285"/>
                  <a:gd name="connsiteY10" fmla="*/ 2207918 h 2921686"/>
                  <a:gd name="connsiteX11" fmla="*/ 181200 w 3096285"/>
                  <a:gd name="connsiteY11" fmla="*/ 2263638 h 2921686"/>
                  <a:gd name="connsiteX12" fmla="*/ 394351 w 3096285"/>
                  <a:gd name="connsiteY12" fmla="*/ 1527695 h 2921686"/>
                  <a:gd name="connsiteX13" fmla="*/ 742815 w 3096285"/>
                  <a:gd name="connsiteY13" fmla="*/ 1675387 h 2921686"/>
                  <a:gd name="connsiteX14" fmla="*/ 732115 w 3096285"/>
                  <a:gd name="connsiteY14" fmla="*/ 896171 h 2921686"/>
                  <a:gd name="connsiteX15" fmla="*/ 844742 w 3096285"/>
                  <a:gd name="connsiteY15" fmla="*/ 780409 h 2921686"/>
                  <a:gd name="connsiteX16" fmla="*/ 1599561 w 3096285"/>
                  <a:gd name="connsiteY16" fmla="*/ 770045 h 2921686"/>
                  <a:gd name="connsiteX17" fmla="*/ 1599561 w 3096285"/>
                  <a:gd name="connsiteY17" fmla="*/ 633204 h 2921686"/>
                  <a:gd name="connsiteX18" fmla="*/ 1595963 w 3096285"/>
                  <a:gd name="connsiteY18" fmla="*/ 630699 h 2921686"/>
                  <a:gd name="connsiteX0" fmla="*/ 1595963 w 3096285"/>
                  <a:gd name="connsiteY0" fmla="*/ 649795 h 2940782"/>
                  <a:gd name="connsiteX1" fmla="*/ 2137852 w 3096285"/>
                  <a:gd name="connsiteY1" fmla="*/ 609123 h 2940782"/>
                  <a:gd name="connsiteX2" fmla="*/ 2132430 w 3096285"/>
                  <a:gd name="connsiteY2" fmla="*/ 781824 h 2940782"/>
                  <a:gd name="connsiteX3" fmla="*/ 2954248 w 3096285"/>
                  <a:gd name="connsiteY3" fmla="*/ 770540 h 2940782"/>
                  <a:gd name="connsiteX4" fmla="*/ 2998821 w 3096285"/>
                  <a:gd name="connsiteY4" fmla="*/ 778904 h 2940782"/>
                  <a:gd name="connsiteX5" fmla="*/ 3070010 w 3096285"/>
                  <a:gd name="connsiteY5" fmla="*/ 883166 h 2940782"/>
                  <a:gd name="connsiteX6" fmla="*/ 3096275 w 3096285"/>
                  <a:gd name="connsiteY6" fmla="*/ 2796045 h 2940782"/>
                  <a:gd name="connsiteX7" fmla="*/ 2983649 w 3096285"/>
                  <a:gd name="connsiteY7" fmla="*/ 2911807 h 2940782"/>
                  <a:gd name="connsiteX8" fmla="*/ 874143 w 3096285"/>
                  <a:gd name="connsiteY8" fmla="*/ 2940772 h 2940782"/>
                  <a:gd name="connsiteX9" fmla="*/ 758381 w 3096285"/>
                  <a:gd name="connsiteY9" fmla="*/ 2828146 h 2940782"/>
                  <a:gd name="connsiteX10" fmla="*/ 750127 w 3096285"/>
                  <a:gd name="connsiteY10" fmla="*/ 2227014 h 2940782"/>
                  <a:gd name="connsiteX11" fmla="*/ 181200 w 3096285"/>
                  <a:gd name="connsiteY11" fmla="*/ 2282734 h 2940782"/>
                  <a:gd name="connsiteX12" fmla="*/ 394351 w 3096285"/>
                  <a:gd name="connsiteY12" fmla="*/ 1546791 h 2940782"/>
                  <a:gd name="connsiteX13" fmla="*/ 742815 w 3096285"/>
                  <a:gd name="connsiteY13" fmla="*/ 1694483 h 2940782"/>
                  <a:gd name="connsiteX14" fmla="*/ 732115 w 3096285"/>
                  <a:gd name="connsiteY14" fmla="*/ 915267 h 2940782"/>
                  <a:gd name="connsiteX15" fmla="*/ 844742 w 3096285"/>
                  <a:gd name="connsiteY15" fmla="*/ 799505 h 2940782"/>
                  <a:gd name="connsiteX16" fmla="*/ 1599561 w 3096285"/>
                  <a:gd name="connsiteY16" fmla="*/ 789141 h 2940782"/>
                  <a:gd name="connsiteX17" fmla="*/ 1599561 w 3096285"/>
                  <a:gd name="connsiteY17" fmla="*/ 652300 h 2940782"/>
                  <a:gd name="connsiteX18" fmla="*/ 1595963 w 3096285"/>
                  <a:gd name="connsiteY18" fmla="*/ 649795 h 2940782"/>
                  <a:gd name="connsiteX0" fmla="*/ 1595963 w 3096285"/>
                  <a:gd name="connsiteY0" fmla="*/ 622923 h 2913910"/>
                  <a:gd name="connsiteX1" fmla="*/ 2137852 w 3096285"/>
                  <a:gd name="connsiteY1" fmla="*/ 582251 h 2913910"/>
                  <a:gd name="connsiteX2" fmla="*/ 2132430 w 3096285"/>
                  <a:gd name="connsiteY2" fmla="*/ 754952 h 2913910"/>
                  <a:gd name="connsiteX3" fmla="*/ 2954248 w 3096285"/>
                  <a:gd name="connsiteY3" fmla="*/ 743668 h 2913910"/>
                  <a:gd name="connsiteX4" fmla="*/ 2998821 w 3096285"/>
                  <a:gd name="connsiteY4" fmla="*/ 752032 h 2913910"/>
                  <a:gd name="connsiteX5" fmla="*/ 3070010 w 3096285"/>
                  <a:gd name="connsiteY5" fmla="*/ 856294 h 2913910"/>
                  <a:gd name="connsiteX6" fmla="*/ 3096275 w 3096285"/>
                  <a:gd name="connsiteY6" fmla="*/ 2769173 h 2913910"/>
                  <a:gd name="connsiteX7" fmla="*/ 2983649 w 3096285"/>
                  <a:gd name="connsiteY7" fmla="*/ 2884935 h 2913910"/>
                  <a:gd name="connsiteX8" fmla="*/ 874143 w 3096285"/>
                  <a:gd name="connsiteY8" fmla="*/ 2913900 h 2913910"/>
                  <a:gd name="connsiteX9" fmla="*/ 758381 w 3096285"/>
                  <a:gd name="connsiteY9" fmla="*/ 2801274 h 2913910"/>
                  <a:gd name="connsiteX10" fmla="*/ 750127 w 3096285"/>
                  <a:gd name="connsiteY10" fmla="*/ 2200142 h 2913910"/>
                  <a:gd name="connsiteX11" fmla="*/ 181200 w 3096285"/>
                  <a:gd name="connsiteY11" fmla="*/ 2255862 h 2913910"/>
                  <a:gd name="connsiteX12" fmla="*/ 394351 w 3096285"/>
                  <a:gd name="connsiteY12" fmla="*/ 1519919 h 2913910"/>
                  <a:gd name="connsiteX13" fmla="*/ 742815 w 3096285"/>
                  <a:gd name="connsiteY13" fmla="*/ 1667611 h 2913910"/>
                  <a:gd name="connsiteX14" fmla="*/ 732115 w 3096285"/>
                  <a:gd name="connsiteY14" fmla="*/ 888395 h 2913910"/>
                  <a:gd name="connsiteX15" fmla="*/ 844742 w 3096285"/>
                  <a:gd name="connsiteY15" fmla="*/ 772633 h 2913910"/>
                  <a:gd name="connsiteX16" fmla="*/ 1599561 w 3096285"/>
                  <a:gd name="connsiteY16" fmla="*/ 762269 h 2913910"/>
                  <a:gd name="connsiteX17" fmla="*/ 1599561 w 3096285"/>
                  <a:gd name="connsiteY17" fmla="*/ 625428 h 2913910"/>
                  <a:gd name="connsiteX18" fmla="*/ 1595963 w 3096285"/>
                  <a:gd name="connsiteY18" fmla="*/ 622923 h 2913910"/>
                  <a:gd name="connsiteX0" fmla="*/ 1595963 w 3096285"/>
                  <a:gd name="connsiteY0" fmla="*/ 644381 h 2935368"/>
                  <a:gd name="connsiteX1" fmla="*/ 2137852 w 3096285"/>
                  <a:gd name="connsiteY1" fmla="*/ 603709 h 2935368"/>
                  <a:gd name="connsiteX2" fmla="*/ 2132430 w 3096285"/>
                  <a:gd name="connsiteY2" fmla="*/ 776410 h 2935368"/>
                  <a:gd name="connsiteX3" fmla="*/ 2954248 w 3096285"/>
                  <a:gd name="connsiteY3" fmla="*/ 765126 h 2935368"/>
                  <a:gd name="connsiteX4" fmla="*/ 2998821 w 3096285"/>
                  <a:gd name="connsiteY4" fmla="*/ 773490 h 2935368"/>
                  <a:gd name="connsiteX5" fmla="*/ 3070010 w 3096285"/>
                  <a:gd name="connsiteY5" fmla="*/ 877752 h 2935368"/>
                  <a:gd name="connsiteX6" fmla="*/ 3096275 w 3096285"/>
                  <a:gd name="connsiteY6" fmla="*/ 2790631 h 2935368"/>
                  <a:gd name="connsiteX7" fmla="*/ 2983649 w 3096285"/>
                  <a:gd name="connsiteY7" fmla="*/ 2906393 h 2935368"/>
                  <a:gd name="connsiteX8" fmla="*/ 874143 w 3096285"/>
                  <a:gd name="connsiteY8" fmla="*/ 2935358 h 2935368"/>
                  <a:gd name="connsiteX9" fmla="*/ 758381 w 3096285"/>
                  <a:gd name="connsiteY9" fmla="*/ 2822732 h 2935368"/>
                  <a:gd name="connsiteX10" fmla="*/ 750127 w 3096285"/>
                  <a:gd name="connsiteY10" fmla="*/ 2221600 h 2935368"/>
                  <a:gd name="connsiteX11" fmla="*/ 181200 w 3096285"/>
                  <a:gd name="connsiteY11" fmla="*/ 2277320 h 2935368"/>
                  <a:gd name="connsiteX12" fmla="*/ 394351 w 3096285"/>
                  <a:gd name="connsiteY12" fmla="*/ 1541377 h 2935368"/>
                  <a:gd name="connsiteX13" fmla="*/ 742815 w 3096285"/>
                  <a:gd name="connsiteY13" fmla="*/ 1689069 h 2935368"/>
                  <a:gd name="connsiteX14" fmla="*/ 732115 w 3096285"/>
                  <a:gd name="connsiteY14" fmla="*/ 909853 h 2935368"/>
                  <a:gd name="connsiteX15" fmla="*/ 844742 w 3096285"/>
                  <a:gd name="connsiteY15" fmla="*/ 794091 h 2935368"/>
                  <a:gd name="connsiteX16" fmla="*/ 1599561 w 3096285"/>
                  <a:gd name="connsiteY16" fmla="*/ 783727 h 2935368"/>
                  <a:gd name="connsiteX17" fmla="*/ 1599561 w 3096285"/>
                  <a:gd name="connsiteY17" fmla="*/ 646886 h 2935368"/>
                  <a:gd name="connsiteX18" fmla="*/ 1595963 w 3096285"/>
                  <a:gd name="connsiteY18" fmla="*/ 644381 h 2935368"/>
                  <a:gd name="connsiteX0" fmla="*/ 1595963 w 3096285"/>
                  <a:gd name="connsiteY0" fmla="*/ 644381 h 2935368"/>
                  <a:gd name="connsiteX1" fmla="*/ 2137852 w 3096285"/>
                  <a:gd name="connsiteY1" fmla="*/ 603709 h 2935368"/>
                  <a:gd name="connsiteX2" fmla="*/ 2132430 w 3096285"/>
                  <a:gd name="connsiteY2" fmla="*/ 776410 h 2935368"/>
                  <a:gd name="connsiteX3" fmla="*/ 2998821 w 3096285"/>
                  <a:gd name="connsiteY3" fmla="*/ 773490 h 2935368"/>
                  <a:gd name="connsiteX4" fmla="*/ 3070010 w 3096285"/>
                  <a:gd name="connsiteY4" fmla="*/ 877752 h 2935368"/>
                  <a:gd name="connsiteX5" fmla="*/ 3096275 w 3096285"/>
                  <a:gd name="connsiteY5" fmla="*/ 2790631 h 2935368"/>
                  <a:gd name="connsiteX6" fmla="*/ 2983649 w 3096285"/>
                  <a:gd name="connsiteY6" fmla="*/ 2906393 h 2935368"/>
                  <a:gd name="connsiteX7" fmla="*/ 874143 w 3096285"/>
                  <a:gd name="connsiteY7" fmla="*/ 2935358 h 2935368"/>
                  <a:gd name="connsiteX8" fmla="*/ 758381 w 3096285"/>
                  <a:gd name="connsiteY8" fmla="*/ 2822732 h 2935368"/>
                  <a:gd name="connsiteX9" fmla="*/ 750127 w 3096285"/>
                  <a:gd name="connsiteY9" fmla="*/ 2221600 h 2935368"/>
                  <a:gd name="connsiteX10" fmla="*/ 181200 w 3096285"/>
                  <a:gd name="connsiteY10" fmla="*/ 2277320 h 2935368"/>
                  <a:gd name="connsiteX11" fmla="*/ 394351 w 3096285"/>
                  <a:gd name="connsiteY11" fmla="*/ 1541377 h 2935368"/>
                  <a:gd name="connsiteX12" fmla="*/ 742815 w 3096285"/>
                  <a:gd name="connsiteY12" fmla="*/ 1689069 h 2935368"/>
                  <a:gd name="connsiteX13" fmla="*/ 732115 w 3096285"/>
                  <a:gd name="connsiteY13" fmla="*/ 909853 h 2935368"/>
                  <a:gd name="connsiteX14" fmla="*/ 844742 w 3096285"/>
                  <a:gd name="connsiteY14" fmla="*/ 794091 h 2935368"/>
                  <a:gd name="connsiteX15" fmla="*/ 1599561 w 3096285"/>
                  <a:gd name="connsiteY15" fmla="*/ 783727 h 2935368"/>
                  <a:gd name="connsiteX16" fmla="*/ 1599561 w 3096285"/>
                  <a:gd name="connsiteY16" fmla="*/ 646886 h 2935368"/>
                  <a:gd name="connsiteX17" fmla="*/ 1595963 w 3096285"/>
                  <a:gd name="connsiteY17" fmla="*/ 644381 h 2935368"/>
                  <a:gd name="connsiteX0" fmla="*/ 1595963 w 3096285"/>
                  <a:gd name="connsiteY0" fmla="*/ 644381 h 2935368"/>
                  <a:gd name="connsiteX1" fmla="*/ 2137852 w 3096285"/>
                  <a:gd name="connsiteY1" fmla="*/ 603709 h 2935368"/>
                  <a:gd name="connsiteX2" fmla="*/ 2132430 w 3096285"/>
                  <a:gd name="connsiteY2" fmla="*/ 776410 h 2935368"/>
                  <a:gd name="connsiteX3" fmla="*/ 2998821 w 3096285"/>
                  <a:gd name="connsiteY3" fmla="*/ 773490 h 2935368"/>
                  <a:gd name="connsiteX4" fmla="*/ 3070010 w 3096285"/>
                  <a:gd name="connsiteY4" fmla="*/ 877752 h 2935368"/>
                  <a:gd name="connsiteX5" fmla="*/ 3070583 w 3096285"/>
                  <a:gd name="connsiteY5" fmla="*/ 1509843 h 2935368"/>
                  <a:gd name="connsiteX6" fmla="*/ 3096275 w 3096285"/>
                  <a:gd name="connsiteY6" fmla="*/ 2790631 h 2935368"/>
                  <a:gd name="connsiteX7" fmla="*/ 2983649 w 3096285"/>
                  <a:gd name="connsiteY7" fmla="*/ 2906393 h 2935368"/>
                  <a:gd name="connsiteX8" fmla="*/ 874143 w 3096285"/>
                  <a:gd name="connsiteY8" fmla="*/ 2935358 h 2935368"/>
                  <a:gd name="connsiteX9" fmla="*/ 758381 w 3096285"/>
                  <a:gd name="connsiteY9" fmla="*/ 2822732 h 2935368"/>
                  <a:gd name="connsiteX10" fmla="*/ 750127 w 3096285"/>
                  <a:gd name="connsiteY10" fmla="*/ 2221600 h 2935368"/>
                  <a:gd name="connsiteX11" fmla="*/ 181200 w 3096285"/>
                  <a:gd name="connsiteY11" fmla="*/ 2277320 h 2935368"/>
                  <a:gd name="connsiteX12" fmla="*/ 394351 w 3096285"/>
                  <a:gd name="connsiteY12" fmla="*/ 1541377 h 2935368"/>
                  <a:gd name="connsiteX13" fmla="*/ 742815 w 3096285"/>
                  <a:gd name="connsiteY13" fmla="*/ 1689069 h 2935368"/>
                  <a:gd name="connsiteX14" fmla="*/ 732115 w 3096285"/>
                  <a:gd name="connsiteY14" fmla="*/ 909853 h 2935368"/>
                  <a:gd name="connsiteX15" fmla="*/ 844742 w 3096285"/>
                  <a:gd name="connsiteY15" fmla="*/ 794091 h 2935368"/>
                  <a:gd name="connsiteX16" fmla="*/ 1599561 w 3096285"/>
                  <a:gd name="connsiteY16" fmla="*/ 783727 h 2935368"/>
                  <a:gd name="connsiteX17" fmla="*/ 1599561 w 3096285"/>
                  <a:gd name="connsiteY17" fmla="*/ 646886 h 2935368"/>
                  <a:gd name="connsiteX18" fmla="*/ 1595963 w 3096285"/>
                  <a:gd name="connsiteY18" fmla="*/ 644381 h 2935368"/>
                  <a:gd name="connsiteX0" fmla="*/ 1595963 w 3096285"/>
                  <a:gd name="connsiteY0" fmla="*/ 644381 h 2935368"/>
                  <a:gd name="connsiteX1" fmla="*/ 2137852 w 3096285"/>
                  <a:gd name="connsiteY1" fmla="*/ 603709 h 2935368"/>
                  <a:gd name="connsiteX2" fmla="*/ 2132430 w 3096285"/>
                  <a:gd name="connsiteY2" fmla="*/ 776410 h 2935368"/>
                  <a:gd name="connsiteX3" fmla="*/ 2998821 w 3096285"/>
                  <a:gd name="connsiteY3" fmla="*/ 773490 h 2935368"/>
                  <a:gd name="connsiteX4" fmla="*/ 3070010 w 3096285"/>
                  <a:gd name="connsiteY4" fmla="*/ 877752 h 2935368"/>
                  <a:gd name="connsiteX5" fmla="*/ 3070583 w 3096285"/>
                  <a:gd name="connsiteY5" fmla="*/ 1509843 h 2935368"/>
                  <a:gd name="connsiteX6" fmla="*/ 3079548 w 3096285"/>
                  <a:gd name="connsiteY6" fmla="*/ 2081591 h 2935368"/>
                  <a:gd name="connsiteX7" fmla="*/ 3096275 w 3096285"/>
                  <a:gd name="connsiteY7" fmla="*/ 2790631 h 2935368"/>
                  <a:gd name="connsiteX8" fmla="*/ 2983649 w 3096285"/>
                  <a:gd name="connsiteY8" fmla="*/ 2906393 h 2935368"/>
                  <a:gd name="connsiteX9" fmla="*/ 874143 w 3096285"/>
                  <a:gd name="connsiteY9" fmla="*/ 2935358 h 2935368"/>
                  <a:gd name="connsiteX10" fmla="*/ 758381 w 3096285"/>
                  <a:gd name="connsiteY10" fmla="*/ 2822732 h 2935368"/>
                  <a:gd name="connsiteX11" fmla="*/ 750127 w 3096285"/>
                  <a:gd name="connsiteY11" fmla="*/ 2221600 h 2935368"/>
                  <a:gd name="connsiteX12" fmla="*/ 181200 w 3096285"/>
                  <a:gd name="connsiteY12" fmla="*/ 2277320 h 2935368"/>
                  <a:gd name="connsiteX13" fmla="*/ 394351 w 3096285"/>
                  <a:gd name="connsiteY13" fmla="*/ 1541377 h 2935368"/>
                  <a:gd name="connsiteX14" fmla="*/ 742815 w 3096285"/>
                  <a:gd name="connsiteY14" fmla="*/ 1689069 h 2935368"/>
                  <a:gd name="connsiteX15" fmla="*/ 732115 w 3096285"/>
                  <a:gd name="connsiteY15" fmla="*/ 909853 h 2935368"/>
                  <a:gd name="connsiteX16" fmla="*/ 844742 w 3096285"/>
                  <a:gd name="connsiteY16" fmla="*/ 794091 h 2935368"/>
                  <a:gd name="connsiteX17" fmla="*/ 1599561 w 3096285"/>
                  <a:gd name="connsiteY17" fmla="*/ 783727 h 2935368"/>
                  <a:gd name="connsiteX18" fmla="*/ 1599561 w 3096285"/>
                  <a:gd name="connsiteY18" fmla="*/ 646886 h 2935368"/>
                  <a:gd name="connsiteX19" fmla="*/ 1595963 w 3096285"/>
                  <a:gd name="connsiteY19" fmla="*/ 644381 h 2935368"/>
                  <a:gd name="connsiteX0" fmla="*/ 1595963 w 3096285"/>
                  <a:gd name="connsiteY0" fmla="*/ 644381 h 2935368"/>
                  <a:gd name="connsiteX1" fmla="*/ 2137852 w 3096285"/>
                  <a:gd name="connsiteY1" fmla="*/ 603709 h 2935368"/>
                  <a:gd name="connsiteX2" fmla="*/ 2132430 w 3096285"/>
                  <a:gd name="connsiteY2" fmla="*/ 776410 h 2935368"/>
                  <a:gd name="connsiteX3" fmla="*/ 2998821 w 3096285"/>
                  <a:gd name="connsiteY3" fmla="*/ 773490 h 2935368"/>
                  <a:gd name="connsiteX4" fmla="*/ 3070010 w 3096285"/>
                  <a:gd name="connsiteY4" fmla="*/ 877752 h 2935368"/>
                  <a:gd name="connsiteX5" fmla="*/ 3070583 w 3096285"/>
                  <a:gd name="connsiteY5" fmla="*/ 1509843 h 2935368"/>
                  <a:gd name="connsiteX6" fmla="*/ 2555824 w 3096285"/>
                  <a:gd name="connsiteY6" fmla="*/ 2258957 h 2935368"/>
                  <a:gd name="connsiteX7" fmla="*/ 3096275 w 3096285"/>
                  <a:gd name="connsiteY7" fmla="*/ 2790631 h 2935368"/>
                  <a:gd name="connsiteX8" fmla="*/ 2983649 w 3096285"/>
                  <a:gd name="connsiteY8" fmla="*/ 2906393 h 2935368"/>
                  <a:gd name="connsiteX9" fmla="*/ 874143 w 3096285"/>
                  <a:gd name="connsiteY9" fmla="*/ 2935358 h 2935368"/>
                  <a:gd name="connsiteX10" fmla="*/ 758381 w 3096285"/>
                  <a:gd name="connsiteY10" fmla="*/ 2822732 h 2935368"/>
                  <a:gd name="connsiteX11" fmla="*/ 750127 w 3096285"/>
                  <a:gd name="connsiteY11" fmla="*/ 2221600 h 2935368"/>
                  <a:gd name="connsiteX12" fmla="*/ 181200 w 3096285"/>
                  <a:gd name="connsiteY12" fmla="*/ 2277320 h 2935368"/>
                  <a:gd name="connsiteX13" fmla="*/ 394351 w 3096285"/>
                  <a:gd name="connsiteY13" fmla="*/ 1541377 h 2935368"/>
                  <a:gd name="connsiteX14" fmla="*/ 742815 w 3096285"/>
                  <a:gd name="connsiteY14" fmla="*/ 1689069 h 2935368"/>
                  <a:gd name="connsiteX15" fmla="*/ 732115 w 3096285"/>
                  <a:gd name="connsiteY15" fmla="*/ 909853 h 2935368"/>
                  <a:gd name="connsiteX16" fmla="*/ 844742 w 3096285"/>
                  <a:gd name="connsiteY16" fmla="*/ 794091 h 2935368"/>
                  <a:gd name="connsiteX17" fmla="*/ 1599561 w 3096285"/>
                  <a:gd name="connsiteY17" fmla="*/ 783727 h 2935368"/>
                  <a:gd name="connsiteX18" fmla="*/ 1599561 w 3096285"/>
                  <a:gd name="connsiteY18" fmla="*/ 646886 h 2935368"/>
                  <a:gd name="connsiteX19" fmla="*/ 1595963 w 3096285"/>
                  <a:gd name="connsiteY19" fmla="*/ 644381 h 2935368"/>
                  <a:gd name="connsiteX0" fmla="*/ 1595963 w 3096285"/>
                  <a:gd name="connsiteY0" fmla="*/ 644381 h 2935368"/>
                  <a:gd name="connsiteX1" fmla="*/ 2137852 w 3096285"/>
                  <a:gd name="connsiteY1" fmla="*/ 603709 h 2935368"/>
                  <a:gd name="connsiteX2" fmla="*/ 2132430 w 3096285"/>
                  <a:gd name="connsiteY2" fmla="*/ 776410 h 2935368"/>
                  <a:gd name="connsiteX3" fmla="*/ 2998821 w 3096285"/>
                  <a:gd name="connsiteY3" fmla="*/ 773490 h 2935368"/>
                  <a:gd name="connsiteX4" fmla="*/ 3070010 w 3096285"/>
                  <a:gd name="connsiteY4" fmla="*/ 877752 h 2935368"/>
                  <a:gd name="connsiteX5" fmla="*/ 3070583 w 3096285"/>
                  <a:gd name="connsiteY5" fmla="*/ 1509843 h 2935368"/>
                  <a:gd name="connsiteX6" fmla="*/ 2871545 w 3096285"/>
                  <a:gd name="connsiteY6" fmla="*/ 1769711 h 2935368"/>
                  <a:gd name="connsiteX7" fmla="*/ 2555824 w 3096285"/>
                  <a:gd name="connsiteY7" fmla="*/ 2258957 h 2935368"/>
                  <a:gd name="connsiteX8" fmla="*/ 3096275 w 3096285"/>
                  <a:gd name="connsiteY8" fmla="*/ 2790631 h 2935368"/>
                  <a:gd name="connsiteX9" fmla="*/ 2983649 w 3096285"/>
                  <a:gd name="connsiteY9" fmla="*/ 2906393 h 2935368"/>
                  <a:gd name="connsiteX10" fmla="*/ 874143 w 3096285"/>
                  <a:gd name="connsiteY10" fmla="*/ 2935358 h 2935368"/>
                  <a:gd name="connsiteX11" fmla="*/ 758381 w 3096285"/>
                  <a:gd name="connsiteY11" fmla="*/ 2822732 h 2935368"/>
                  <a:gd name="connsiteX12" fmla="*/ 750127 w 3096285"/>
                  <a:gd name="connsiteY12" fmla="*/ 2221600 h 2935368"/>
                  <a:gd name="connsiteX13" fmla="*/ 181200 w 3096285"/>
                  <a:gd name="connsiteY13" fmla="*/ 2277320 h 2935368"/>
                  <a:gd name="connsiteX14" fmla="*/ 394351 w 3096285"/>
                  <a:gd name="connsiteY14" fmla="*/ 1541377 h 2935368"/>
                  <a:gd name="connsiteX15" fmla="*/ 742815 w 3096285"/>
                  <a:gd name="connsiteY15" fmla="*/ 1689069 h 2935368"/>
                  <a:gd name="connsiteX16" fmla="*/ 732115 w 3096285"/>
                  <a:gd name="connsiteY16" fmla="*/ 909853 h 2935368"/>
                  <a:gd name="connsiteX17" fmla="*/ 844742 w 3096285"/>
                  <a:gd name="connsiteY17" fmla="*/ 794091 h 2935368"/>
                  <a:gd name="connsiteX18" fmla="*/ 1599561 w 3096285"/>
                  <a:gd name="connsiteY18" fmla="*/ 783727 h 2935368"/>
                  <a:gd name="connsiteX19" fmla="*/ 1599561 w 3096285"/>
                  <a:gd name="connsiteY19" fmla="*/ 646886 h 2935368"/>
                  <a:gd name="connsiteX20" fmla="*/ 1595963 w 3096285"/>
                  <a:gd name="connsiteY20" fmla="*/ 644381 h 2935368"/>
                  <a:gd name="connsiteX0" fmla="*/ 1595963 w 3096285"/>
                  <a:gd name="connsiteY0" fmla="*/ 644381 h 2935368"/>
                  <a:gd name="connsiteX1" fmla="*/ 2137852 w 3096285"/>
                  <a:gd name="connsiteY1" fmla="*/ 603709 h 2935368"/>
                  <a:gd name="connsiteX2" fmla="*/ 2132430 w 3096285"/>
                  <a:gd name="connsiteY2" fmla="*/ 776410 h 2935368"/>
                  <a:gd name="connsiteX3" fmla="*/ 2998821 w 3096285"/>
                  <a:gd name="connsiteY3" fmla="*/ 773490 h 2935368"/>
                  <a:gd name="connsiteX4" fmla="*/ 3070010 w 3096285"/>
                  <a:gd name="connsiteY4" fmla="*/ 877752 h 2935368"/>
                  <a:gd name="connsiteX5" fmla="*/ 3070583 w 3096285"/>
                  <a:gd name="connsiteY5" fmla="*/ 1509843 h 2935368"/>
                  <a:gd name="connsiteX6" fmla="*/ 2723584 w 3096285"/>
                  <a:gd name="connsiteY6" fmla="*/ 1643816 h 2935368"/>
                  <a:gd name="connsiteX7" fmla="*/ 2555824 w 3096285"/>
                  <a:gd name="connsiteY7" fmla="*/ 2258957 h 2935368"/>
                  <a:gd name="connsiteX8" fmla="*/ 3096275 w 3096285"/>
                  <a:gd name="connsiteY8" fmla="*/ 2790631 h 2935368"/>
                  <a:gd name="connsiteX9" fmla="*/ 2983649 w 3096285"/>
                  <a:gd name="connsiteY9" fmla="*/ 2906393 h 2935368"/>
                  <a:gd name="connsiteX10" fmla="*/ 874143 w 3096285"/>
                  <a:gd name="connsiteY10" fmla="*/ 2935358 h 2935368"/>
                  <a:gd name="connsiteX11" fmla="*/ 758381 w 3096285"/>
                  <a:gd name="connsiteY11" fmla="*/ 2822732 h 2935368"/>
                  <a:gd name="connsiteX12" fmla="*/ 750127 w 3096285"/>
                  <a:gd name="connsiteY12" fmla="*/ 2221600 h 2935368"/>
                  <a:gd name="connsiteX13" fmla="*/ 181200 w 3096285"/>
                  <a:gd name="connsiteY13" fmla="*/ 2277320 h 2935368"/>
                  <a:gd name="connsiteX14" fmla="*/ 394351 w 3096285"/>
                  <a:gd name="connsiteY14" fmla="*/ 1541377 h 2935368"/>
                  <a:gd name="connsiteX15" fmla="*/ 742815 w 3096285"/>
                  <a:gd name="connsiteY15" fmla="*/ 1689069 h 2935368"/>
                  <a:gd name="connsiteX16" fmla="*/ 732115 w 3096285"/>
                  <a:gd name="connsiteY16" fmla="*/ 909853 h 2935368"/>
                  <a:gd name="connsiteX17" fmla="*/ 844742 w 3096285"/>
                  <a:gd name="connsiteY17" fmla="*/ 794091 h 2935368"/>
                  <a:gd name="connsiteX18" fmla="*/ 1599561 w 3096285"/>
                  <a:gd name="connsiteY18" fmla="*/ 783727 h 2935368"/>
                  <a:gd name="connsiteX19" fmla="*/ 1599561 w 3096285"/>
                  <a:gd name="connsiteY19" fmla="*/ 646886 h 2935368"/>
                  <a:gd name="connsiteX20" fmla="*/ 1595963 w 3096285"/>
                  <a:gd name="connsiteY20" fmla="*/ 644381 h 2935368"/>
                  <a:gd name="connsiteX0" fmla="*/ 1595963 w 3096285"/>
                  <a:gd name="connsiteY0" fmla="*/ 644381 h 2935368"/>
                  <a:gd name="connsiteX1" fmla="*/ 2137852 w 3096285"/>
                  <a:gd name="connsiteY1" fmla="*/ 603709 h 2935368"/>
                  <a:gd name="connsiteX2" fmla="*/ 2132430 w 3096285"/>
                  <a:gd name="connsiteY2" fmla="*/ 776410 h 2935368"/>
                  <a:gd name="connsiteX3" fmla="*/ 2998821 w 3096285"/>
                  <a:gd name="connsiteY3" fmla="*/ 773490 h 2935368"/>
                  <a:gd name="connsiteX4" fmla="*/ 3070010 w 3096285"/>
                  <a:gd name="connsiteY4" fmla="*/ 877752 h 2935368"/>
                  <a:gd name="connsiteX5" fmla="*/ 3070583 w 3096285"/>
                  <a:gd name="connsiteY5" fmla="*/ 1509843 h 2935368"/>
                  <a:gd name="connsiteX6" fmla="*/ 2723584 w 3096285"/>
                  <a:gd name="connsiteY6" fmla="*/ 1643816 h 2935368"/>
                  <a:gd name="connsiteX7" fmla="*/ 2640050 w 3096285"/>
                  <a:gd name="connsiteY7" fmla="*/ 2185912 h 2935368"/>
                  <a:gd name="connsiteX8" fmla="*/ 3096275 w 3096285"/>
                  <a:gd name="connsiteY8" fmla="*/ 2790631 h 2935368"/>
                  <a:gd name="connsiteX9" fmla="*/ 2983649 w 3096285"/>
                  <a:gd name="connsiteY9" fmla="*/ 2906393 h 2935368"/>
                  <a:gd name="connsiteX10" fmla="*/ 874143 w 3096285"/>
                  <a:gd name="connsiteY10" fmla="*/ 2935358 h 2935368"/>
                  <a:gd name="connsiteX11" fmla="*/ 758381 w 3096285"/>
                  <a:gd name="connsiteY11" fmla="*/ 2822732 h 2935368"/>
                  <a:gd name="connsiteX12" fmla="*/ 750127 w 3096285"/>
                  <a:gd name="connsiteY12" fmla="*/ 2221600 h 2935368"/>
                  <a:gd name="connsiteX13" fmla="*/ 181200 w 3096285"/>
                  <a:gd name="connsiteY13" fmla="*/ 2277320 h 2935368"/>
                  <a:gd name="connsiteX14" fmla="*/ 394351 w 3096285"/>
                  <a:gd name="connsiteY14" fmla="*/ 1541377 h 2935368"/>
                  <a:gd name="connsiteX15" fmla="*/ 742815 w 3096285"/>
                  <a:gd name="connsiteY15" fmla="*/ 1689069 h 2935368"/>
                  <a:gd name="connsiteX16" fmla="*/ 732115 w 3096285"/>
                  <a:gd name="connsiteY16" fmla="*/ 909853 h 2935368"/>
                  <a:gd name="connsiteX17" fmla="*/ 844742 w 3096285"/>
                  <a:gd name="connsiteY17" fmla="*/ 794091 h 2935368"/>
                  <a:gd name="connsiteX18" fmla="*/ 1599561 w 3096285"/>
                  <a:gd name="connsiteY18" fmla="*/ 783727 h 2935368"/>
                  <a:gd name="connsiteX19" fmla="*/ 1599561 w 3096285"/>
                  <a:gd name="connsiteY19" fmla="*/ 646886 h 2935368"/>
                  <a:gd name="connsiteX20" fmla="*/ 1595963 w 3096285"/>
                  <a:gd name="connsiteY20" fmla="*/ 644381 h 2935368"/>
                  <a:gd name="connsiteX0" fmla="*/ 1595963 w 3096285"/>
                  <a:gd name="connsiteY0" fmla="*/ 644381 h 2935368"/>
                  <a:gd name="connsiteX1" fmla="*/ 2137852 w 3096285"/>
                  <a:gd name="connsiteY1" fmla="*/ 603709 h 2935368"/>
                  <a:gd name="connsiteX2" fmla="*/ 2132430 w 3096285"/>
                  <a:gd name="connsiteY2" fmla="*/ 776410 h 2935368"/>
                  <a:gd name="connsiteX3" fmla="*/ 2998821 w 3096285"/>
                  <a:gd name="connsiteY3" fmla="*/ 773490 h 2935368"/>
                  <a:gd name="connsiteX4" fmla="*/ 3070010 w 3096285"/>
                  <a:gd name="connsiteY4" fmla="*/ 877752 h 2935368"/>
                  <a:gd name="connsiteX5" fmla="*/ 3070583 w 3096285"/>
                  <a:gd name="connsiteY5" fmla="*/ 1509843 h 2935368"/>
                  <a:gd name="connsiteX6" fmla="*/ 2723584 w 3096285"/>
                  <a:gd name="connsiteY6" fmla="*/ 1643816 h 2935368"/>
                  <a:gd name="connsiteX7" fmla="*/ 2640050 w 3096285"/>
                  <a:gd name="connsiteY7" fmla="*/ 2185912 h 2935368"/>
                  <a:gd name="connsiteX8" fmla="*/ 2892430 w 3096285"/>
                  <a:gd name="connsiteY8" fmla="*/ 2555174 h 2935368"/>
                  <a:gd name="connsiteX9" fmla="*/ 3096275 w 3096285"/>
                  <a:gd name="connsiteY9" fmla="*/ 2790631 h 2935368"/>
                  <a:gd name="connsiteX10" fmla="*/ 2983649 w 3096285"/>
                  <a:gd name="connsiteY10" fmla="*/ 2906393 h 2935368"/>
                  <a:gd name="connsiteX11" fmla="*/ 874143 w 3096285"/>
                  <a:gd name="connsiteY11" fmla="*/ 2935358 h 2935368"/>
                  <a:gd name="connsiteX12" fmla="*/ 758381 w 3096285"/>
                  <a:gd name="connsiteY12" fmla="*/ 2822732 h 2935368"/>
                  <a:gd name="connsiteX13" fmla="*/ 750127 w 3096285"/>
                  <a:gd name="connsiteY13" fmla="*/ 2221600 h 2935368"/>
                  <a:gd name="connsiteX14" fmla="*/ 181200 w 3096285"/>
                  <a:gd name="connsiteY14" fmla="*/ 2277320 h 2935368"/>
                  <a:gd name="connsiteX15" fmla="*/ 394351 w 3096285"/>
                  <a:gd name="connsiteY15" fmla="*/ 1541377 h 2935368"/>
                  <a:gd name="connsiteX16" fmla="*/ 742815 w 3096285"/>
                  <a:gd name="connsiteY16" fmla="*/ 1689069 h 2935368"/>
                  <a:gd name="connsiteX17" fmla="*/ 732115 w 3096285"/>
                  <a:gd name="connsiteY17" fmla="*/ 909853 h 2935368"/>
                  <a:gd name="connsiteX18" fmla="*/ 844742 w 3096285"/>
                  <a:gd name="connsiteY18" fmla="*/ 794091 h 2935368"/>
                  <a:gd name="connsiteX19" fmla="*/ 1599561 w 3096285"/>
                  <a:gd name="connsiteY19" fmla="*/ 783727 h 2935368"/>
                  <a:gd name="connsiteX20" fmla="*/ 1599561 w 3096285"/>
                  <a:gd name="connsiteY20" fmla="*/ 646886 h 2935368"/>
                  <a:gd name="connsiteX21" fmla="*/ 1595963 w 3096285"/>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40050 w 3146928"/>
                  <a:gd name="connsiteY7" fmla="*/ 2185912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40050 w 3146928"/>
                  <a:gd name="connsiteY7" fmla="*/ 2185912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40050 w 3146928"/>
                  <a:gd name="connsiteY7" fmla="*/ 2185912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40050 w 3146928"/>
                  <a:gd name="connsiteY7" fmla="*/ 2185912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40050 w 3146928"/>
                  <a:gd name="connsiteY7" fmla="*/ 2185912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40050 w 3146928"/>
                  <a:gd name="connsiteY7" fmla="*/ 2185912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40050 w 3146928"/>
                  <a:gd name="connsiteY7" fmla="*/ 2185912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40050 w 3146928"/>
                  <a:gd name="connsiteY7" fmla="*/ 2185912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64086 w 3146928"/>
                  <a:gd name="connsiteY7" fmla="*/ 2221080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64086 w 3146928"/>
                  <a:gd name="connsiteY7" fmla="*/ 2221080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64086 w 3146928"/>
                  <a:gd name="connsiteY7" fmla="*/ 2221080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64086 w 3146928"/>
                  <a:gd name="connsiteY7" fmla="*/ 2221080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6928"/>
                  <a:gd name="connsiteY0" fmla="*/ 644381 h 2935368"/>
                  <a:gd name="connsiteX1" fmla="*/ 2137852 w 3146928"/>
                  <a:gd name="connsiteY1" fmla="*/ 603709 h 2935368"/>
                  <a:gd name="connsiteX2" fmla="*/ 2132430 w 3146928"/>
                  <a:gd name="connsiteY2" fmla="*/ 776410 h 2935368"/>
                  <a:gd name="connsiteX3" fmla="*/ 2998821 w 3146928"/>
                  <a:gd name="connsiteY3" fmla="*/ 773490 h 2935368"/>
                  <a:gd name="connsiteX4" fmla="*/ 3070010 w 3146928"/>
                  <a:gd name="connsiteY4" fmla="*/ 877752 h 2935368"/>
                  <a:gd name="connsiteX5" fmla="*/ 3070583 w 3146928"/>
                  <a:gd name="connsiteY5" fmla="*/ 1509843 h 2935368"/>
                  <a:gd name="connsiteX6" fmla="*/ 2723584 w 3146928"/>
                  <a:gd name="connsiteY6" fmla="*/ 1643816 h 2935368"/>
                  <a:gd name="connsiteX7" fmla="*/ 2664086 w 3146928"/>
                  <a:gd name="connsiteY7" fmla="*/ 2221080 h 2935368"/>
                  <a:gd name="connsiteX8" fmla="*/ 3146928 w 3146928"/>
                  <a:gd name="connsiteY8" fmla="*/ 2391550 h 2935368"/>
                  <a:gd name="connsiteX9" fmla="*/ 3096275 w 3146928"/>
                  <a:gd name="connsiteY9" fmla="*/ 2790631 h 2935368"/>
                  <a:gd name="connsiteX10" fmla="*/ 2983649 w 3146928"/>
                  <a:gd name="connsiteY10" fmla="*/ 2906393 h 2935368"/>
                  <a:gd name="connsiteX11" fmla="*/ 874143 w 3146928"/>
                  <a:gd name="connsiteY11" fmla="*/ 2935358 h 2935368"/>
                  <a:gd name="connsiteX12" fmla="*/ 758381 w 3146928"/>
                  <a:gd name="connsiteY12" fmla="*/ 2822732 h 2935368"/>
                  <a:gd name="connsiteX13" fmla="*/ 750127 w 3146928"/>
                  <a:gd name="connsiteY13" fmla="*/ 2221600 h 2935368"/>
                  <a:gd name="connsiteX14" fmla="*/ 181200 w 3146928"/>
                  <a:gd name="connsiteY14" fmla="*/ 2277320 h 2935368"/>
                  <a:gd name="connsiteX15" fmla="*/ 394351 w 3146928"/>
                  <a:gd name="connsiteY15" fmla="*/ 1541377 h 2935368"/>
                  <a:gd name="connsiteX16" fmla="*/ 742815 w 3146928"/>
                  <a:gd name="connsiteY16" fmla="*/ 1689069 h 2935368"/>
                  <a:gd name="connsiteX17" fmla="*/ 732115 w 3146928"/>
                  <a:gd name="connsiteY17" fmla="*/ 909853 h 2935368"/>
                  <a:gd name="connsiteX18" fmla="*/ 844742 w 3146928"/>
                  <a:gd name="connsiteY18" fmla="*/ 794091 h 2935368"/>
                  <a:gd name="connsiteX19" fmla="*/ 1599561 w 3146928"/>
                  <a:gd name="connsiteY19" fmla="*/ 783727 h 2935368"/>
                  <a:gd name="connsiteX20" fmla="*/ 1599561 w 3146928"/>
                  <a:gd name="connsiteY20" fmla="*/ 646886 h 2935368"/>
                  <a:gd name="connsiteX21" fmla="*/ 1595963 w 3146928"/>
                  <a:gd name="connsiteY21" fmla="*/ 644381 h 2935368"/>
                  <a:gd name="connsiteX0" fmla="*/ 1595963 w 3148750"/>
                  <a:gd name="connsiteY0" fmla="*/ 644381 h 2935368"/>
                  <a:gd name="connsiteX1" fmla="*/ 2137852 w 3148750"/>
                  <a:gd name="connsiteY1" fmla="*/ 603709 h 2935368"/>
                  <a:gd name="connsiteX2" fmla="*/ 2132430 w 3148750"/>
                  <a:gd name="connsiteY2" fmla="*/ 776410 h 2935368"/>
                  <a:gd name="connsiteX3" fmla="*/ 2998821 w 3148750"/>
                  <a:gd name="connsiteY3" fmla="*/ 773490 h 2935368"/>
                  <a:gd name="connsiteX4" fmla="*/ 3070010 w 3148750"/>
                  <a:gd name="connsiteY4" fmla="*/ 877752 h 2935368"/>
                  <a:gd name="connsiteX5" fmla="*/ 3070583 w 3148750"/>
                  <a:gd name="connsiteY5" fmla="*/ 1509843 h 2935368"/>
                  <a:gd name="connsiteX6" fmla="*/ 2723584 w 3148750"/>
                  <a:gd name="connsiteY6" fmla="*/ 1643816 h 2935368"/>
                  <a:gd name="connsiteX7" fmla="*/ 2664086 w 3148750"/>
                  <a:gd name="connsiteY7" fmla="*/ 2221080 h 2935368"/>
                  <a:gd name="connsiteX8" fmla="*/ 3146928 w 3148750"/>
                  <a:gd name="connsiteY8" fmla="*/ 2391550 h 2935368"/>
                  <a:gd name="connsiteX9" fmla="*/ 3148750 w 3148750"/>
                  <a:gd name="connsiteY9" fmla="*/ 2447059 h 2935368"/>
                  <a:gd name="connsiteX10" fmla="*/ 3096275 w 3148750"/>
                  <a:gd name="connsiteY10" fmla="*/ 2790631 h 2935368"/>
                  <a:gd name="connsiteX11" fmla="*/ 2983649 w 3148750"/>
                  <a:gd name="connsiteY11" fmla="*/ 2906393 h 2935368"/>
                  <a:gd name="connsiteX12" fmla="*/ 874143 w 3148750"/>
                  <a:gd name="connsiteY12" fmla="*/ 2935358 h 2935368"/>
                  <a:gd name="connsiteX13" fmla="*/ 758381 w 3148750"/>
                  <a:gd name="connsiteY13" fmla="*/ 2822732 h 2935368"/>
                  <a:gd name="connsiteX14" fmla="*/ 750127 w 3148750"/>
                  <a:gd name="connsiteY14" fmla="*/ 2221600 h 2935368"/>
                  <a:gd name="connsiteX15" fmla="*/ 181200 w 3148750"/>
                  <a:gd name="connsiteY15" fmla="*/ 2277320 h 2935368"/>
                  <a:gd name="connsiteX16" fmla="*/ 394351 w 3148750"/>
                  <a:gd name="connsiteY16" fmla="*/ 1541377 h 2935368"/>
                  <a:gd name="connsiteX17" fmla="*/ 742815 w 3148750"/>
                  <a:gd name="connsiteY17" fmla="*/ 1689069 h 2935368"/>
                  <a:gd name="connsiteX18" fmla="*/ 732115 w 3148750"/>
                  <a:gd name="connsiteY18" fmla="*/ 909853 h 2935368"/>
                  <a:gd name="connsiteX19" fmla="*/ 844742 w 3148750"/>
                  <a:gd name="connsiteY19" fmla="*/ 794091 h 2935368"/>
                  <a:gd name="connsiteX20" fmla="*/ 1599561 w 3148750"/>
                  <a:gd name="connsiteY20" fmla="*/ 783727 h 2935368"/>
                  <a:gd name="connsiteX21" fmla="*/ 1599561 w 3148750"/>
                  <a:gd name="connsiteY21" fmla="*/ 646886 h 2935368"/>
                  <a:gd name="connsiteX22" fmla="*/ 1595963 w 3148750"/>
                  <a:gd name="connsiteY22" fmla="*/ 644381 h 2935368"/>
                  <a:gd name="connsiteX0" fmla="*/ 1595963 w 3148750"/>
                  <a:gd name="connsiteY0" fmla="*/ 644381 h 2935368"/>
                  <a:gd name="connsiteX1" fmla="*/ 2137852 w 3148750"/>
                  <a:gd name="connsiteY1" fmla="*/ 603709 h 2935368"/>
                  <a:gd name="connsiteX2" fmla="*/ 2132430 w 3148750"/>
                  <a:gd name="connsiteY2" fmla="*/ 776410 h 2935368"/>
                  <a:gd name="connsiteX3" fmla="*/ 2998821 w 3148750"/>
                  <a:gd name="connsiteY3" fmla="*/ 773490 h 2935368"/>
                  <a:gd name="connsiteX4" fmla="*/ 3070010 w 3148750"/>
                  <a:gd name="connsiteY4" fmla="*/ 877752 h 2935368"/>
                  <a:gd name="connsiteX5" fmla="*/ 3070583 w 3148750"/>
                  <a:gd name="connsiteY5" fmla="*/ 1509843 h 2935368"/>
                  <a:gd name="connsiteX6" fmla="*/ 2723584 w 3148750"/>
                  <a:gd name="connsiteY6" fmla="*/ 1643816 h 2935368"/>
                  <a:gd name="connsiteX7" fmla="*/ 2664086 w 3148750"/>
                  <a:gd name="connsiteY7" fmla="*/ 2221080 h 2935368"/>
                  <a:gd name="connsiteX8" fmla="*/ 3148750 w 3148750"/>
                  <a:gd name="connsiteY8" fmla="*/ 2447059 h 2935368"/>
                  <a:gd name="connsiteX9" fmla="*/ 3096275 w 3148750"/>
                  <a:gd name="connsiteY9" fmla="*/ 2790631 h 2935368"/>
                  <a:gd name="connsiteX10" fmla="*/ 2983649 w 3148750"/>
                  <a:gd name="connsiteY10" fmla="*/ 2906393 h 2935368"/>
                  <a:gd name="connsiteX11" fmla="*/ 874143 w 3148750"/>
                  <a:gd name="connsiteY11" fmla="*/ 2935358 h 2935368"/>
                  <a:gd name="connsiteX12" fmla="*/ 758381 w 3148750"/>
                  <a:gd name="connsiteY12" fmla="*/ 2822732 h 2935368"/>
                  <a:gd name="connsiteX13" fmla="*/ 750127 w 3148750"/>
                  <a:gd name="connsiteY13" fmla="*/ 2221600 h 2935368"/>
                  <a:gd name="connsiteX14" fmla="*/ 181200 w 3148750"/>
                  <a:gd name="connsiteY14" fmla="*/ 2277320 h 2935368"/>
                  <a:gd name="connsiteX15" fmla="*/ 394351 w 3148750"/>
                  <a:gd name="connsiteY15" fmla="*/ 1541377 h 2935368"/>
                  <a:gd name="connsiteX16" fmla="*/ 742815 w 3148750"/>
                  <a:gd name="connsiteY16" fmla="*/ 1689069 h 2935368"/>
                  <a:gd name="connsiteX17" fmla="*/ 732115 w 3148750"/>
                  <a:gd name="connsiteY17" fmla="*/ 909853 h 2935368"/>
                  <a:gd name="connsiteX18" fmla="*/ 844742 w 3148750"/>
                  <a:gd name="connsiteY18" fmla="*/ 794091 h 2935368"/>
                  <a:gd name="connsiteX19" fmla="*/ 1599561 w 3148750"/>
                  <a:gd name="connsiteY19" fmla="*/ 783727 h 2935368"/>
                  <a:gd name="connsiteX20" fmla="*/ 1599561 w 3148750"/>
                  <a:gd name="connsiteY20" fmla="*/ 646886 h 2935368"/>
                  <a:gd name="connsiteX21" fmla="*/ 1595963 w 3148750"/>
                  <a:gd name="connsiteY21" fmla="*/ 644381 h 2935368"/>
                  <a:gd name="connsiteX0" fmla="*/ 1595963 w 3148750"/>
                  <a:gd name="connsiteY0" fmla="*/ 644381 h 2935368"/>
                  <a:gd name="connsiteX1" fmla="*/ 2137852 w 3148750"/>
                  <a:gd name="connsiteY1" fmla="*/ 603709 h 2935368"/>
                  <a:gd name="connsiteX2" fmla="*/ 2132430 w 3148750"/>
                  <a:gd name="connsiteY2" fmla="*/ 776410 h 2935368"/>
                  <a:gd name="connsiteX3" fmla="*/ 2998821 w 3148750"/>
                  <a:gd name="connsiteY3" fmla="*/ 773490 h 2935368"/>
                  <a:gd name="connsiteX4" fmla="*/ 3070010 w 3148750"/>
                  <a:gd name="connsiteY4" fmla="*/ 877752 h 2935368"/>
                  <a:gd name="connsiteX5" fmla="*/ 3070583 w 3148750"/>
                  <a:gd name="connsiteY5" fmla="*/ 1509843 h 2935368"/>
                  <a:gd name="connsiteX6" fmla="*/ 2723584 w 3148750"/>
                  <a:gd name="connsiteY6" fmla="*/ 1643816 h 2935368"/>
                  <a:gd name="connsiteX7" fmla="*/ 2664086 w 3148750"/>
                  <a:gd name="connsiteY7" fmla="*/ 2221080 h 2935368"/>
                  <a:gd name="connsiteX8" fmla="*/ 3148750 w 3148750"/>
                  <a:gd name="connsiteY8" fmla="*/ 2447059 h 2935368"/>
                  <a:gd name="connsiteX9" fmla="*/ 3096275 w 3148750"/>
                  <a:gd name="connsiteY9" fmla="*/ 2790631 h 2935368"/>
                  <a:gd name="connsiteX10" fmla="*/ 2983649 w 3148750"/>
                  <a:gd name="connsiteY10" fmla="*/ 2906393 h 2935368"/>
                  <a:gd name="connsiteX11" fmla="*/ 874143 w 3148750"/>
                  <a:gd name="connsiteY11" fmla="*/ 2935358 h 2935368"/>
                  <a:gd name="connsiteX12" fmla="*/ 758381 w 3148750"/>
                  <a:gd name="connsiteY12" fmla="*/ 2822732 h 2935368"/>
                  <a:gd name="connsiteX13" fmla="*/ 750127 w 3148750"/>
                  <a:gd name="connsiteY13" fmla="*/ 2221600 h 2935368"/>
                  <a:gd name="connsiteX14" fmla="*/ 181200 w 3148750"/>
                  <a:gd name="connsiteY14" fmla="*/ 2277320 h 2935368"/>
                  <a:gd name="connsiteX15" fmla="*/ 394351 w 3148750"/>
                  <a:gd name="connsiteY15" fmla="*/ 1541377 h 2935368"/>
                  <a:gd name="connsiteX16" fmla="*/ 742815 w 3148750"/>
                  <a:gd name="connsiteY16" fmla="*/ 1689069 h 2935368"/>
                  <a:gd name="connsiteX17" fmla="*/ 732115 w 3148750"/>
                  <a:gd name="connsiteY17" fmla="*/ 909853 h 2935368"/>
                  <a:gd name="connsiteX18" fmla="*/ 844742 w 3148750"/>
                  <a:gd name="connsiteY18" fmla="*/ 794091 h 2935368"/>
                  <a:gd name="connsiteX19" fmla="*/ 1599561 w 3148750"/>
                  <a:gd name="connsiteY19" fmla="*/ 783727 h 2935368"/>
                  <a:gd name="connsiteX20" fmla="*/ 1599561 w 3148750"/>
                  <a:gd name="connsiteY20" fmla="*/ 646886 h 2935368"/>
                  <a:gd name="connsiteX21" fmla="*/ 1595963 w 3148750"/>
                  <a:gd name="connsiteY21" fmla="*/ 644381 h 2935368"/>
                  <a:gd name="connsiteX0" fmla="*/ 1595963 w 3148750"/>
                  <a:gd name="connsiteY0" fmla="*/ 644381 h 2935368"/>
                  <a:gd name="connsiteX1" fmla="*/ 2137852 w 3148750"/>
                  <a:gd name="connsiteY1" fmla="*/ 603709 h 2935368"/>
                  <a:gd name="connsiteX2" fmla="*/ 2132430 w 3148750"/>
                  <a:gd name="connsiteY2" fmla="*/ 776410 h 2935368"/>
                  <a:gd name="connsiteX3" fmla="*/ 2998821 w 3148750"/>
                  <a:gd name="connsiteY3" fmla="*/ 773490 h 2935368"/>
                  <a:gd name="connsiteX4" fmla="*/ 3070010 w 3148750"/>
                  <a:gd name="connsiteY4" fmla="*/ 877752 h 2935368"/>
                  <a:gd name="connsiteX5" fmla="*/ 3070583 w 3148750"/>
                  <a:gd name="connsiteY5" fmla="*/ 1509843 h 2935368"/>
                  <a:gd name="connsiteX6" fmla="*/ 2723584 w 3148750"/>
                  <a:gd name="connsiteY6" fmla="*/ 1643816 h 2935368"/>
                  <a:gd name="connsiteX7" fmla="*/ 2664086 w 3148750"/>
                  <a:gd name="connsiteY7" fmla="*/ 2221080 h 2935368"/>
                  <a:gd name="connsiteX8" fmla="*/ 3148750 w 3148750"/>
                  <a:gd name="connsiteY8" fmla="*/ 2447059 h 2935368"/>
                  <a:gd name="connsiteX9" fmla="*/ 3096275 w 3148750"/>
                  <a:gd name="connsiteY9" fmla="*/ 2790631 h 2935368"/>
                  <a:gd name="connsiteX10" fmla="*/ 2983649 w 3148750"/>
                  <a:gd name="connsiteY10" fmla="*/ 2906393 h 2935368"/>
                  <a:gd name="connsiteX11" fmla="*/ 874143 w 3148750"/>
                  <a:gd name="connsiteY11" fmla="*/ 2935358 h 2935368"/>
                  <a:gd name="connsiteX12" fmla="*/ 758381 w 3148750"/>
                  <a:gd name="connsiteY12" fmla="*/ 2822732 h 2935368"/>
                  <a:gd name="connsiteX13" fmla="*/ 750127 w 3148750"/>
                  <a:gd name="connsiteY13" fmla="*/ 2221600 h 2935368"/>
                  <a:gd name="connsiteX14" fmla="*/ 181200 w 3148750"/>
                  <a:gd name="connsiteY14" fmla="*/ 2277320 h 2935368"/>
                  <a:gd name="connsiteX15" fmla="*/ 394351 w 3148750"/>
                  <a:gd name="connsiteY15" fmla="*/ 1541377 h 2935368"/>
                  <a:gd name="connsiteX16" fmla="*/ 742815 w 3148750"/>
                  <a:gd name="connsiteY16" fmla="*/ 1689069 h 2935368"/>
                  <a:gd name="connsiteX17" fmla="*/ 732115 w 3148750"/>
                  <a:gd name="connsiteY17" fmla="*/ 909853 h 2935368"/>
                  <a:gd name="connsiteX18" fmla="*/ 844742 w 3148750"/>
                  <a:gd name="connsiteY18" fmla="*/ 794091 h 2935368"/>
                  <a:gd name="connsiteX19" fmla="*/ 1599561 w 3148750"/>
                  <a:gd name="connsiteY19" fmla="*/ 783727 h 2935368"/>
                  <a:gd name="connsiteX20" fmla="*/ 1599561 w 3148750"/>
                  <a:gd name="connsiteY20" fmla="*/ 646886 h 2935368"/>
                  <a:gd name="connsiteX21" fmla="*/ 1595963 w 3148750"/>
                  <a:gd name="connsiteY21" fmla="*/ 644381 h 2935368"/>
                  <a:gd name="connsiteX0" fmla="*/ 1595963 w 3148750"/>
                  <a:gd name="connsiteY0" fmla="*/ 644381 h 2935368"/>
                  <a:gd name="connsiteX1" fmla="*/ 2137852 w 3148750"/>
                  <a:gd name="connsiteY1" fmla="*/ 603709 h 2935368"/>
                  <a:gd name="connsiteX2" fmla="*/ 2132430 w 3148750"/>
                  <a:gd name="connsiteY2" fmla="*/ 776410 h 2935368"/>
                  <a:gd name="connsiteX3" fmla="*/ 2998821 w 3148750"/>
                  <a:gd name="connsiteY3" fmla="*/ 773490 h 2935368"/>
                  <a:gd name="connsiteX4" fmla="*/ 3070010 w 3148750"/>
                  <a:gd name="connsiteY4" fmla="*/ 877752 h 2935368"/>
                  <a:gd name="connsiteX5" fmla="*/ 3070583 w 3148750"/>
                  <a:gd name="connsiteY5" fmla="*/ 1509843 h 2935368"/>
                  <a:gd name="connsiteX6" fmla="*/ 2723584 w 3148750"/>
                  <a:gd name="connsiteY6" fmla="*/ 1643816 h 2935368"/>
                  <a:gd name="connsiteX7" fmla="*/ 2664086 w 3148750"/>
                  <a:gd name="connsiteY7" fmla="*/ 2221080 h 2935368"/>
                  <a:gd name="connsiteX8" fmla="*/ 3148750 w 3148750"/>
                  <a:gd name="connsiteY8" fmla="*/ 2447059 h 2935368"/>
                  <a:gd name="connsiteX9" fmla="*/ 3034312 w 3148750"/>
                  <a:gd name="connsiteY9" fmla="*/ 2745268 h 2935368"/>
                  <a:gd name="connsiteX10" fmla="*/ 2983649 w 3148750"/>
                  <a:gd name="connsiteY10" fmla="*/ 2906393 h 2935368"/>
                  <a:gd name="connsiteX11" fmla="*/ 874143 w 3148750"/>
                  <a:gd name="connsiteY11" fmla="*/ 2935358 h 2935368"/>
                  <a:gd name="connsiteX12" fmla="*/ 758381 w 3148750"/>
                  <a:gd name="connsiteY12" fmla="*/ 2822732 h 2935368"/>
                  <a:gd name="connsiteX13" fmla="*/ 750127 w 3148750"/>
                  <a:gd name="connsiteY13" fmla="*/ 2221600 h 2935368"/>
                  <a:gd name="connsiteX14" fmla="*/ 181200 w 3148750"/>
                  <a:gd name="connsiteY14" fmla="*/ 2277320 h 2935368"/>
                  <a:gd name="connsiteX15" fmla="*/ 394351 w 3148750"/>
                  <a:gd name="connsiteY15" fmla="*/ 1541377 h 2935368"/>
                  <a:gd name="connsiteX16" fmla="*/ 742815 w 3148750"/>
                  <a:gd name="connsiteY16" fmla="*/ 1689069 h 2935368"/>
                  <a:gd name="connsiteX17" fmla="*/ 732115 w 3148750"/>
                  <a:gd name="connsiteY17" fmla="*/ 909853 h 2935368"/>
                  <a:gd name="connsiteX18" fmla="*/ 844742 w 3148750"/>
                  <a:gd name="connsiteY18" fmla="*/ 794091 h 2935368"/>
                  <a:gd name="connsiteX19" fmla="*/ 1599561 w 3148750"/>
                  <a:gd name="connsiteY19" fmla="*/ 783727 h 2935368"/>
                  <a:gd name="connsiteX20" fmla="*/ 1599561 w 3148750"/>
                  <a:gd name="connsiteY20" fmla="*/ 646886 h 2935368"/>
                  <a:gd name="connsiteX21" fmla="*/ 1595963 w 3148750"/>
                  <a:gd name="connsiteY21"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34312 w 3070583"/>
                  <a:gd name="connsiteY8" fmla="*/ 2745268 h 2935368"/>
                  <a:gd name="connsiteX9" fmla="*/ 2983649 w 3070583"/>
                  <a:gd name="connsiteY9" fmla="*/ 2906393 h 2935368"/>
                  <a:gd name="connsiteX10" fmla="*/ 874143 w 3070583"/>
                  <a:gd name="connsiteY10" fmla="*/ 2935358 h 2935368"/>
                  <a:gd name="connsiteX11" fmla="*/ 758381 w 3070583"/>
                  <a:gd name="connsiteY11" fmla="*/ 2822732 h 2935368"/>
                  <a:gd name="connsiteX12" fmla="*/ 750127 w 3070583"/>
                  <a:gd name="connsiteY12" fmla="*/ 2221600 h 2935368"/>
                  <a:gd name="connsiteX13" fmla="*/ 181200 w 3070583"/>
                  <a:gd name="connsiteY13" fmla="*/ 2277320 h 2935368"/>
                  <a:gd name="connsiteX14" fmla="*/ 394351 w 3070583"/>
                  <a:gd name="connsiteY14" fmla="*/ 1541377 h 2935368"/>
                  <a:gd name="connsiteX15" fmla="*/ 742815 w 3070583"/>
                  <a:gd name="connsiteY15" fmla="*/ 1689069 h 2935368"/>
                  <a:gd name="connsiteX16" fmla="*/ 732115 w 3070583"/>
                  <a:gd name="connsiteY16" fmla="*/ 909853 h 2935368"/>
                  <a:gd name="connsiteX17" fmla="*/ 844742 w 3070583"/>
                  <a:gd name="connsiteY17" fmla="*/ 794091 h 2935368"/>
                  <a:gd name="connsiteX18" fmla="*/ 1599561 w 3070583"/>
                  <a:gd name="connsiteY18" fmla="*/ 783727 h 2935368"/>
                  <a:gd name="connsiteX19" fmla="*/ 1599561 w 3070583"/>
                  <a:gd name="connsiteY19" fmla="*/ 646886 h 2935368"/>
                  <a:gd name="connsiteX20" fmla="*/ 1595963 w 3070583"/>
                  <a:gd name="connsiteY20"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983649 w 3070583"/>
                  <a:gd name="connsiteY9" fmla="*/ 2906393 h 2935368"/>
                  <a:gd name="connsiteX10" fmla="*/ 874143 w 3070583"/>
                  <a:gd name="connsiteY10" fmla="*/ 2935358 h 2935368"/>
                  <a:gd name="connsiteX11" fmla="*/ 758381 w 3070583"/>
                  <a:gd name="connsiteY11" fmla="*/ 2822732 h 2935368"/>
                  <a:gd name="connsiteX12" fmla="*/ 750127 w 3070583"/>
                  <a:gd name="connsiteY12" fmla="*/ 2221600 h 2935368"/>
                  <a:gd name="connsiteX13" fmla="*/ 181200 w 3070583"/>
                  <a:gd name="connsiteY13" fmla="*/ 2277320 h 2935368"/>
                  <a:gd name="connsiteX14" fmla="*/ 394351 w 3070583"/>
                  <a:gd name="connsiteY14" fmla="*/ 1541377 h 2935368"/>
                  <a:gd name="connsiteX15" fmla="*/ 742815 w 3070583"/>
                  <a:gd name="connsiteY15" fmla="*/ 1689069 h 2935368"/>
                  <a:gd name="connsiteX16" fmla="*/ 732115 w 3070583"/>
                  <a:gd name="connsiteY16" fmla="*/ 909853 h 2935368"/>
                  <a:gd name="connsiteX17" fmla="*/ 844742 w 3070583"/>
                  <a:gd name="connsiteY17" fmla="*/ 794091 h 2935368"/>
                  <a:gd name="connsiteX18" fmla="*/ 1599561 w 3070583"/>
                  <a:gd name="connsiteY18" fmla="*/ 783727 h 2935368"/>
                  <a:gd name="connsiteX19" fmla="*/ 1599561 w 3070583"/>
                  <a:gd name="connsiteY19" fmla="*/ 646886 h 2935368"/>
                  <a:gd name="connsiteX20" fmla="*/ 1595963 w 3070583"/>
                  <a:gd name="connsiteY20" fmla="*/ 644381 h 2935368"/>
                  <a:gd name="connsiteX0" fmla="*/ 1595963 w 3093732"/>
                  <a:gd name="connsiteY0" fmla="*/ 644381 h 2935368"/>
                  <a:gd name="connsiteX1" fmla="*/ 2137852 w 3093732"/>
                  <a:gd name="connsiteY1" fmla="*/ 603709 h 2935368"/>
                  <a:gd name="connsiteX2" fmla="*/ 2132430 w 3093732"/>
                  <a:gd name="connsiteY2" fmla="*/ 776410 h 2935368"/>
                  <a:gd name="connsiteX3" fmla="*/ 2998821 w 3093732"/>
                  <a:gd name="connsiteY3" fmla="*/ 773490 h 2935368"/>
                  <a:gd name="connsiteX4" fmla="*/ 3070010 w 3093732"/>
                  <a:gd name="connsiteY4" fmla="*/ 877752 h 2935368"/>
                  <a:gd name="connsiteX5" fmla="*/ 3070583 w 3093732"/>
                  <a:gd name="connsiteY5" fmla="*/ 1509843 h 2935368"/>
                  <a:gd name="connsiteX6" fmla="*/ 2723584 w 3093732"/>
                  <a:gd name="connsiteY6" fmla="*/ 1643816 h 2935368"/>
                  <a:gd name="connsiteX7" fmla="*/ 2664086 w 3093732"/>
                  <a:gd name="connsiteY7" fmla="*/ 2221080 h 2935368"/>
                  <a:gd name="connsiteX8" fmla="*/ 3013970 w 3093732"/>
                  <a:gd name="connsiteY8" fmla="*/ 2723054 h 2935368"/>
                  <a:gd name="connsiteX9" fmla="*/ 2983649 w 3093732"/>
                  <a:gd name="connsiteY9" fmla="*/ 2906393 h 2935368"/>
                  <a:gd name="connsiteX10" fmla="*/ 874143 w 3093732"/>
                  <a:gd name="connsiteY10" fmla="*/ 2935358 h 2935368"/>
                  <a:gd name="connsiteX11" fmla="*/ 758381 w 3093732"/>
                  <a:gd name="connsiteY11" fmla="*/ 2822732 h 2935368"/>
                  <a:gd name="connsiteX12" fmla="*/ 750127 w 3093732"/>
                  <a:gd name="connsiteY12" fmla="*/ 2221600 h 2935368"/>
                  <a:gd name="connsiteX13" fmla="*/ 181200 w 3093732"/>
                  <a:gd name="connsiteY13" fmla="*/ 2277320 h 2935368"/>
                  <a:gd name="connsiteX14" fmla="*/ 394351 w 3093732"/>
                  <a:gd name="connsiteY14" fmla="*/ 1541377 h 2935368"/>
                  <a:gd name="connsiteX15" fmla="*/ 742815 w 3093732"/>
                  <a:gd name="connsiteY15" fmla="*/ 1689069 h 2935368"/>
                  <a:gd name="connsiteX16" fmla="*/ 732115 w 3093732"/>
                  <a:gd name="connsiteY16" fmla="*/ 909853 h 2935368"/>
                  <a:gd name="connsiteX17" fmla="*/ 844742 w 3093732"/>
                  <a:gd name="connsiteY17" fmla="*/ 794091 h 2935368"/>
                  <a:gd name="connsiteX18" fmla="*/ 1599561 w 3093732"/>
                  <a:gd name="connsiteY18" fmla="*/ 783727 h 2935368"/>
                  <a:gd name="connsiteX19" fmla="*/ 1599561 w 3093732"/>
                  <a:gd name="connsiteY19" fmla="*/ 646886 h 2935368"/>
                  <a:gd name="connsiteX20" fmla="*/ 1595963 w 3093732"/>
                  <a:gd name="connsiteY20" fmla="*/ 644381 h 2935368"/>
                  <a:gd name="connsiteX0" fmla="*/ 1595963 w 3101058"/>
                  <a:gd name="connsiteY0" fmla="*/ 644381 h 2935368"/>
                  <a:gd name="connsiteX1" fmla="*/ 2137852 w 3101058"/>
                  <a:gd name="connsiteY1" fmla="*/ 603709 h 2935368"/>
                  <a:gd name="connsiteX2" fmla="*/ 2132430 w 3101058"/>
                  <a:gd name="connsiteY2" fmla="*/ 776410 h 2935368"/>
                  <a:gd name="connsiteX3" fmla="*/ 2998821 w 3101058"/>
                  <a:gd name="connsiteY3" fmla="*/ 773490 h 2935368"/>
                  <a:gd name="connsiteX4" fmla="*/ 3070010 w 3101058"/>
                  <a:gd name="connsiteY4" fmla="*/ 877752 h 2935368"/>
                  <a:gd name="connsiteX5" fmla="*/ 3070583 w 3101058"/>
                  <a:gd name="connsiteY5" fmla="*/ 1509843 h 2935368"/>
                  <a:gd name="connsiteX6" fmla="*/ 2723584 w 3101058"/>
                  <a:gd name="connsiteY6" fmla="*/ 1643816 h 2935368"/>
                  <a:gd name="connsiteX7" fmla="*/ 2664086 w 3101058"/>
                  <a:gd name="connsiteY7" fmla="*/ 2221080 h 2935368"/>
                  <a:gd name="connsiteX8" fmla="*/ 3013970 w 3101058"/>
                  <a:gd name="connsiteY8" fmla="*/ 2723054 h 2935368"/>
                  <a:gd name="connsiteX9" fmla="*/ 2983649 w 3101058"/>
                  <a:gd name="connsiteY9" fmla="*/ 2906393 h 2935368"/>
                  <a:gd name="connsiteX10" fmla="*/ 874143 w 3101058"/>
                  <a:gd name="connsiteY10" fmla="*/ 2935358 h 2935368"/>
                  <a:gd name="connsiteX11" fmla="*/ 758381 w 3101058"/>
                  <a:gd name="connsiteY11" fmla="*/ 2822732 h 2935368"/>
                  <a:gd name="connsiteX12" fmla="*/ 750127 w 3101058"/>
                  <a:gd name="connsiteY12" fmla="*/ 2221600 h 2935368"/>
                  <a:gd name="connsiteX13" fmla="*/ 181200 w 3101058"/>
                  <a:gd name="connsiteY13" fmla="*/ 2277320 h 2935368"/>
                  <a:gd name="connsiteX14" fmla="*/ 394351 w 3101058"/>
                  <a:gd name="connsiteY14" fmla="*/ 1541377 h 2935368"/>
                  <a:gd name="connsiteX15" fmla="*/ 742815 w 3101058"/>
                  <a:gd name="connsiteY15" fmla="*/ 1689069 h 2935368"/>
                  <a:gd name="connsiteX16" fmla="*/ 732115 w 3101058"/>
                  <a:gd name="connsiteY16" fmla="*/ 909853 h 2935368"/>
                  <a:gd name="connsiteX17" fmla="*/ 844742 w 3101058"/>
                  <a:gd name="connsiteY17" fmla="*/ 794091 h 2935368"/>
                  <a:gd name="connsiteX18" fmla="*/ 1599561 w 3101058"/>
                  <a:gd name="connsiteY18" fmla="*/ 783727 h 2935368"/>
                  <a:gd name="connsiteX19" fmla="*/ 1599561 w 3101058"/>
                  <a:gd name="connsiteY19" fmla="*/ 646886 h 2935368"/>
                  <a:gd name="connsiteX20" fmla="*/ 1595963 w 3101058"/>
                  <a:gd name="connsiteY20"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983649 w 3070583"/>
                  <a:gd name="connsiteY9" fmla="*/ 2906393 h 2935368"/>
                  <a:gd name="connsiteX10" fmla="*/ 874143 w 3070583"/>
                  <a:gd name="connsiteY10" fmla="*/ 2935358 h 2935368"/>
                  <a:gd name="connsiteX11" fmla="*/ 758381 w 3070583"/>
                  <a:gd name="connsiteY11" fmla="*/ 2822732 h 2935368"/>
                  <a:gd name="connsiteX12" fmla="*/ 750127 w 3070583"/>
                  <a:gd name="connsiteY12" fmla="*/ 2221600 h 2935368"/>
                  <a:gd name="connsiteX13" fmla="*/ 181200 w 3070583"/>
                  <a:gd name="connsiteY13" fmla="*/ 2277320 h 2935368"/>
                  <a:gd name="connsiteX14" fmla="*/ 394351 w 3070583"/>
                  <a:gd name="connsiteY14" fmla="*/ 1541377 h 2935368"/>
                  <a:gd name="connsiteX15" fmla="*/ 742815 w 3070583"/>
                  <a:gd name="connsiteY15" fmla="*/ 1689069 h 2935368"/>
                  <a:gd name="connsiteX16" fmla="*/ 732115 w 3070583"/>
                  <a:gd name="connsiteY16" fmla="*/ 909853 h 2935368"/>
                  <a:gd name="connsiteX17" fmla="*/ 844742 w 3070583"/>
                  <a:gd name="connsiteY17" fmla="*/ 794091 h 2935368"/>
                  <a:gd name="connsiteX18" fmla="*/ 1599561 w 3070583"/>
                  <a:gd name="connsiteY18" fmla="*/ 783727 h 2935368"/>
                  <a:gd name="connsiteX19" fmla="*/ 1599561 w 3070583"/>
                  <a:gd name="connsiteY19" fmla="*/ 646886 h 2935368"/>
                  <a:gd name="connsiteX20" fmla="*/ 1595963 w 3070583"/>
                  <a:gd name="connsiteY20"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874143 w 3070583"/>
                  <a:gd name="connsiteY10" fmla="*/ 2935358 h 2935368"/>
                  <a:gd name="connsiteX11" fmla="*/ 758381 w 3070583"/>
                  <a:gd name="connsiteY11" fmla="*/ 2822732 h 2935368"/>
                  <a:gd name="connsiteX12" fmla="*/ 750127 w 3070583"/>
                  <a:gd name="connsiteY12" fmla="*/ 2221600 h 2935368"/>
                  <a:gd name="connsiteX13" fmla="*/ 181200 w 3070583"/>
                  <a:gd name="connsiteY13" fmla="*/ 2277320 h 2935368"/>
                  <a:gd name="connsiteX14" fmla="*/ 394351 w 3070583"/>
                  <a:gd name="connsiteY14" fmla="*/ 1541377 h 2935368"/>
                  <a:gd name="connsiteX15" fmla="*/ 742815 w 3070583"/>
                  <a:gd name="connsiteY15" fmla="*/ 1689069 h 2935368"/>
                  <a:gd name="connsiteX16" fmla="*/ 732115 w 3070583"/>
                  <a:gd name="connsiteY16" fmla="*/ 909853 h 2935368"/>
                  <a:gd name="connsiteX17" fmla="*/ 844742 w 3070583"/>
                  <a:gd name="connsiteY17" fmla="*/ 794091 h 2935368"/>
                  <a:gd name="connsiteX18" fmla="*/ 1599561 w 3070583"/>
                  <a:gd name="connsiteY18" fmla="*/ 783727 h 2935368"/>
                  <a:gd name="connsiteX19" fmla="*/ 1599561 w 3070583"/>
                  <a:gd name="connsiteY19" fmla="*/ 646886 h 2935368"/>
                  <a:gd name="connsiteX20" fmla="*/ 1595963 w 3070583"/>
                  <a:gd name="connsiteY20"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874143 w 3070583"/>
                  <a:gd name="connsiteY10" fmla="*/ 2935358 h 2935368"/>
                  <a:gd name="connsiteX11" fmla="*/ 758381 w 3070583"/>
                  <a:gd name="connsiteY11" fmla="*/ 2822732 h 2935368"/>
                  <a:gd name="connsiteX12" fmla="*/ 750127 w 3070583"/>
                  <a:gd name="connsiteY12" fmla="*/ 2221600 h 2935368"/>
                  <a:gd name="connsiteX13" fmla="*/ 181200 w 3070583"/>
                  <a:gd name="connsiteY13" fmla="*/ 2277320 h 2935368"/>
                  <a:gd name="connsiteX14" fmla="*/ 394351 w 3070583"/>
                  <a:gd name="connsiteY14" fmla="*/ 1541377 h 2935368"/>
                  <a:gd name="connsiteX15" fmla="*/ 742815 w 3070583"/>
                  <a:gd name="connsiteY15" fmla="*/ 1689069 h 2935368"/>
                  <a:gd name="connsiteX16" fmla="*/ 732115 w 3070583"/>
                  <a:gd name="connsiteY16" fmla="*/ 909853 h 2935368"/>
                  <a:gd name="connsiteX17" fmla="*/ 844742 w 3070583"/>
                  <a:gd name="connsiteY17" fmla="*/ 794091 h 2935368"/>
                  <a:gd name="connsiteX18" fmla="*/ 1599561 w 3070583"/>
                  <a:gd name="connsiteY18" fmla="*/ 783727 h 2935368"/>
                  <a:gd name="connsiteX19" fmla="*/ 1599561 w 3070583"/>
                  <a:gd name="connsiteY19" fmla="*/ 646886 h 2935368"/>
                  <a:gd name="connsiteX20" fmla="*/ 1595963 w 3070583"/>
                  <a:gd name="connsiteY20"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874143 w 3070583"/>
                  <a:gd name="connsiteY10" fmla="*/ 2935358 h 2935368"/>
                  <a:gd name="connsiteX11" fmla="*/ 758381 w 3070583"/>
                  <a:gd name="connsiteY11" fmla="*/ 2822732 h 2935368"/>
                  <a:gd name="connsiteX12" fmla="*/ 750127 w 3070583"/>
                  <a:gd name="connsiteY12" fmla="*/ 2221600 h 2935368"/>
                  <a:gd name="connsiteX13" fmla="*/ 181200 w 3070583"/>
                  <a:gd name="connsiteY13" fmla="*/ 2277320 h 2935368"/>
                  <a:gd name="connsiteX14" fmla="*/ 394351 w 3070583"/>
                  <a:gd name="connsiteY14" fmla="*/ 1541377 h 2935368"/>
                  <a:gd name="connsiteX15" fmla="*/ 742815 w 3070583"/>
                  <a:gd name="connsiteY15" fmla="*/ 1689069 h 2935368"/>
                  <a:gd name="connsiteX16" fmla="*/ 732115 w 3070583"/>
                  <a:gd name="connsiteY16" fmla="*/ 909853 h 2935368"/>
                  <a:gd name="connsiteX17" fmla="*/ 844742 w 3070583"/>
                  <a:gd name="connsiteY17" fmla="*/ 794091 h 2935368"/>
                  <a:gd name="connsiteX18" fmla="*/ 1599561 w 3070583"/>
                  <a:gd name="connsiteY18" fmla="*/ 783727 h 2935368"/>
                  <a:gd name="connsiteX19" fmla="*/ 1599561 w 3070583"/>
                  <a:gd name="connsiteY19" fmla="*/ 646886 h 2935368"/>
                  <a:gd name="connsiteX20" fmla="*/ 1595963 w 3070583"/>
                  <a:gd name="connsiteY20" fmla="*/ 644381 h 2935368"/>
                  <a:gd name="connsiteX0" fmla="*/ 1595963 w 3070583"/>
                  <a:gd name="connsiteY0" fmla="*/ 644381 h 2949585"/>
                  <a:gd name="connsiteX1" fmla="*/ 2137852 w 3070583"/>
                  <a:gd name="connsiteY1" fmla="*/ 603709 h 2949585"/>
                  <a:gd name="connsiteX2" fmla="*/ 2132430 w 3070583"/>
                  <a:gd name="connsiteY2" fmla="*/ 776410 h 2949585"/>
                  <a:gd name="connsiteX3" fmla="*/ 2998821 w 3070583"/>
                  <a:gd name="connsiteY3" fmla="*/ 773490 h 2949585"/>
                  <a:gd name="connsiteX4" fmla="*/ 3070010 w 3070583"/>
                  <a:gd name="connsiteY4" fmla="*/ 877752 h 2949585"/>
                  <a:gd name="connsiteX5" fmla="*/ 3070583 w 3070583"/>
                  <a:gd name="connsiteY5" fmla="*/ 1509843 h 2949585"/>
                  <a:gd name="connsiteX6" fmla="*/ 2723584 w 3070583"/>
                  <a:gd name="connsiteY6" fmla="*/ 1643816 h 2949585"/>
                  <a:gd name="connsiteX7" fmla="*/ 2664086 w 3070583"/>
                  <a:gd name="connsiteY7" fmla="*/ 2221080 h 2949585"/>
                  <a:gd name="connsiteX8" fmla="*/ 3013970 w 3070583"/>
                  <a:gd name="connsiteY8" fmla="*/ 2723054 h 2949585"/>
                  <a:gd name="connsiteX9" fmla="*/ 2892085 w 3070583"/>
                  <a:gd name="connsiteY9" fmla="*/ 2855464 h 2949585"/>
                  <a:gd name="connsiteX10" fmla="*/ 1930391 w 3070583"/>
                  <a:gd name="connsiteY10" fmla="*/ 2939246 h 2949585"/>
                  <a:gd name="connsiteX11" fmla="*/ 874143 w 3070583"/>
                  <a:gd name="connsiteY11" fmla="*/ 2935358 h 2949585"/>
                  <a:gd name="connsiteX12" fmla="*/ 758381 w 3070583"/>
                  <a:gd name="connsiteY12" fmla="*/ 2822732 h 2949585"/>
                  <a:gd name="connsiteX13" fmla="*/ 750127 w 3070583"/>
                  <a:gd name="connsiteY13" fmla="*/ 2221600 h 2949585"/>
                  <a:gd name="connsiteX14" fmla="*/ 181200 w 3070583"/>
                  <a:gd name="connsiteY14" fmla="*/ 2277320 h 2949585"/>
                  <a:gd name="connsiteX15" fmla="*/ 394351 w 3070583"/>
                  <a:gd name="connsiteY15" fmla="*/ 1541377 h 2949585"/>
                  <a:gd name="connsiteX16" fmla="*/ 742815 w 3070583"/>
                  <a:gd name="connsiteY16" fmla="*/ 1689069 h 2949585"/>
                  <a:gd name="connsiteX17" fmla="*/ 732115 w 3070583"/>
                  <a:gd name="connsiteY17" fmla="*/ 909853 h 2949585"/>
                  <a:gd name="connsiteX18" fmla="*/ 844742 w 3070583"/>
                  <a:gd name="connsiteY18" fmla="*/ 794091 h 2949585"/>
                  <a:gd name="connsiteX19" fmla="*/ 1599561 w 3070583"/>
                  <a:gd name="connsiteY19" fmla="*/ 783727 h 2949585"/>
                  <a:gd name="connsiteX20" fmla="*/ 1599561 w 3070583"/>
                  <a:gd name="connsiteY20" fmla="*/ 646886 h 2949585"/>
                  <a:gd name="connsiteX21" fmla="*/ 1595963 w 3070583"/>
                  <a:gd name="connsiteY21" fmla="*/ 644381 h 2949585"/>
                  <a:gd name="connsiteX0" fmla="*/ 1595963 w 3070583"/>
                  <a:gd name="connsiteY0" fmla="*/ 644381 h 2936966"/>
                  <a:gd name="connsiteX1" fmla="*/ 2137852 w 3070583"/>
                  <a:gd name="connsiteY1" fmla="*/ 603709 h 2936966"/>
                  <a:gd name="connsiteX2" fmla="*/ 2132430 w 3070583"/>
                  <a:gd name="connsiteY2" fmla="*/ 776410 h 2936966"/>
                  <a:gd name="connsiteX3" fmla="*/ 2998821 w 3070583"/>
                  <a:gd name="connsiteY3" fmla="*/ 773490 h 2936966"/>
                  <a:gd name="connsiteX4" fmla="*/ 3070010 w 3070583"/>
                  <a:gd name="connsiteY4" fmla="*/ 877752 h 2936966"/>
                  <a:gd name="connsiteX5" fmla="*/ 3070583 w 3070583"/>
                  <a:gd name="connsiteY5" fmla="*/ 1509843 h 2936966"/>
                  <a:gd name="connsiteX6" fmla="*/ 2723584 w 3070583"/>
                  <a:gd name="connsiteY6" fmla="*/ 1643816 h 2936966"/>
                  <a:gd name="connsiteX7" fmla="*/ 2664086 w 3070583"/>
                  <a:gd name="connsiteY7" fmla="*/ 2221080 h 2936966"/>
                  <a:gd name="connsiteX8" fmla="*/ 3013970 w 3070583"/>
                  <a:gd name="connsiteY8" fmla="*/ 2723054 h 2936966"/>
                  <a:gd name="connsiteX9" fmla="*/ 2892085 w 3070583"/>
                  <a:gd name="connsiteY9" fmla="*/ 2855464 h 2936966"/>
                  <a:gd name="connsiteX10" fmla="*/ 1968711 w 3070583"/>
                  <a:gd name="connsiteY10" fmla="*/ 2778906 h 2936966"/>
                  <a:gd name="connsiteX11" fmla="*/ 874143 w 3070583"/>
                  <a:gd name="connsiteY11" fmla="*/ 2935358 h 2936966"/>
                  <a:gd name="connsiteX12" fmla="*/ 758381 w 3070583"/>
                  <a:gd name="connsiteY12" fmla="*/ 2822732 h 2936966"/>
                  <a:gd name="connsiteX13" fmla="*/ 750127 w 3070583"/>
                  <a:gd name="connsiteY13" fmla="*/ 2221600 h 2936966"/>
                  <a:gd name="connsiteX14" fmla="*/ 181200 w 3070583"/>
                  <a:gd name="connsiteY14" fmla="*/ 2277320 h 2936966"/>
                  <a:gd name="connsiteX15" fmla="*/ 394351 w 3070583"/>
                  <a:gd name="connsiteY15" fmla="*/ 1541377 h 2936966"/>
                  <a:gd name="connsiteX16" fmla="*/ 742815 w 3070583"/>
                  <a:gd name="connsiteY16" fmla="*/ 1689069 h 2936966"/>
                  <a:gd name="connsiteX17" fmla="*/ 732115 w 3070583"/>
                  <a:gd name="connsiteY17" fmla="*/ 909853 h 2936966"/>
                  <a:gd name="connsiteX18" fmla="*/ 844742 w 3070583"/>
                  <a:gd name="connsiteY18" fmla="*/ 794091 h 2936966"/>
                  <a:gd name="connsiteX19" fmla="*/ 1599561 w 3070583"/>
                  <a:gd name="connsiteY19" fmla="*/ 783727 h 2936966"/>
                  <a:gd name="connsiteX20" fmla="*/ 1599561 w 3070583"/>
                  <a:gd name="connsiteY20" fmla="*/ 646886 h 2936966"/>
                  <a:gd name="connsiteX21" fmla="*/ 1595963 w 3070583"/>
                  <a:gd name="connsiteY21" fmla="*/ 644381 h 2936966"/>
                  <a:gd name="connsiteX0" fmla="*/ 1595963 w 3070583"/>
                  <a:gd name="connsiteY0" fmla="*/ 644381 h 2937062"/>
                  <a:gd name="connsiteX1" fmla="*/ 2137852 w 3070583"/>
                  <a:gd name="connsiteY1" fmla="*/ 603709 h 2937062"/>
                  <a:gd name="connsiteX2" fmla="*/ 2132430 w 3070583"/>
                  <a:gd name="connsiteY2" fmla="*/ 776410 h 2937062"/>
                  <a:gd name="connsiteX3" fmla="*/ 2998821 w 3070583"/>
                  <a:gd name="connsiteY3" fmla="*/ 773490 h 2937062"/>
                  <a:gd name="connsiteX4" fmla="*/ 3070010 w 3070583"/>
                  <a:gd name="connsiteY4" fmla="*/ 877752 h 2937062"/>
                  <a:gd name="connsiteX5" fmla="*/ 3070583 w 3070583"/>
                  <a:gd name="connsiteY5" fmla="*/ 1509843 h 2937062"/>
                  <a:gd name="connsiteX6" fmla="*/ 2723584 w 3070583"/>
                  <a:gd name="connsiteY6" fmla="*/ 1643816 h 2937062"/>
                  <a:gd name="connsiteX7" fmla="*/ 2664086 w 3070583"/>
                  <a:gd name="connsiteY7" fmla="*/ 2221080 h 2937062"/>
                  <a:gd name="connsiteX8" fmla="*/ 3013970 w 3070583"/>
                  <a:gd name="connsiteY8" fmla="*/ 2723054 h 2937062"/>
                  <a:gd name="connsiteX9" fmla="*/ 2892085 w 3070583"/>
                  <a:gd name="connsiteY9" fmla="*/ 2855464 h 2937062"/>
                  <a:gd name="connsiteX10" fmla="*/ 2257967 w 3070583"/>
                  <a:gd name="connsiteY10" fmla="*/ 2794470 h 2937062"/>
                  <a:gd name="connsiteX11" fmla="*/ 1968711 w 3070583"/>
                  <a:gd name="connsiteY11" fmla="*/ 2778906 h 2937062"/>
                  <a:gd name="connsiteX12" fmla="*/ 874143 w 3070583"/>
                  <a:gd name="connsiteY12" fmla="*/ 2935358 h 2937062"/>
                  <a:gd name="connsiteX13" fmla="*/ 758381 w 3070583"/>
                  <a:gd name="connsiteY13" fmla="*/ 2822732 h 2937062"/>
                  <a:gd name="connsiteX14" fmla="*/ 750127 w 3070583"/>
                  <a:gd name="connsiteY14" fmla="*/ 2221600 h 2937062"/>
                  <a:gd name="connsiteX15" fmla="*/ 181200 w 3070583"/>
                  <a:gd name="connsiteY15" fmla="*/ 2277320 h 2937062"/>
                  <a:gd name="connsiteX16" fmla="*/ 394351 w 3070583"/>
                  <a:gd name="connsiteY16" fmla="*/ 1541377 h 2937062"/>
                  <a:gd name="connsiteX17" fmla="*/ 742815 w 3070583"/>
                  <a:gd name="connsiteY17" fmla="*/ 1689069 h 2937062"/>
                  <a:gd name="connsiteX18" fmla="*/ 732115 w 3070583"/>
                  <a:gd name="connsiteY18" fmla="*/ 909853 h 2937062"/>
                  <a:gd name="connsiteX19" fmla="*/ 844742 w 3070583"/>
                  <a:gd name="connsiteY19" fmla="*/ 794091 h 2937062"/>
                  <a:gd name="connsiteX20" fmla="*/ 1599561 w 3070583"/>
                  <a:gd name="connsiteY20" fmla="*/ 783727 h 2937062"/>
                  <a:gd name="connsiteX21" fmla="*/ 1599561 w 3070583"/>
                  <a:gd name="connsiteY21" fmla="*/ 646886 h 2937062"/>
                  <a:gd name="connsiteX22" fmla="*/ 1595963 w 3070583"/>
                  <a:gd name="connsiteY22" fmla="*/ 644381 h 2937062"/>
                  <a:gd name="connsiteX0" fmla="*/ 1595963 w 3070583"/>
                  <a:gd name="connsiteY0" fmla="*/ 644381 h 2937062"/>
                  <a:gd name="connsiteX1" fmla="*/ 2137852 w 3070583"/>
                  <a:gd name="connsiteY1" fmla="*/ 603709 h 2937062"/>
                  <a:gd name="connsiteX2" fmla="*/ 2132430 w 3070583"/>
                  <a:gd name="connsiteY2" fmla="*/ 776410 h 2937062"/>
                  <a:gd name="connsiteX3" fmla="*/ 2998821 w 3070583"/>
                  <a:gd name="connsiteY3" fmla="*/ 773490 h 2937062"/>
                  <a:gd name="connsiteX4" fmla="*/ 3070010 w 3070583"/>
                  <a:gd name="connsiteY4" fmla="*/ 877752 h 2937062"/>
                  <a:gd name="connsiteX5" fmla="*/ 3070583 w 3070583"/>
                  <a:gd name="connsiteY5" fmla="*/ 1509843 h 2937062"/>
                  <a:gd name="connsiteX6" fmla="*/ 2723584 w 3070583"/>
                  <a:gd name="connsiteY6" fmla="*/ 1643816 h 2937062"/>
                  <a:gd name="connsiteX7" fmla="*/ 2664086 w 3070583"/>
                  <a:gd name="connsiteY7" fmla="*/ 2221080 h 2937062"/>
                  <a:gd name="connsiteX8" fmla="*/ 3013970 w 3070583"/>
                  <a:gd name="connsiteY8" fmla="*/ 2723054 h 2937062"/>
                  <a:gd name="connsiteX9" fmla="*/ 2892085 w 3070583"/>
                  <a:gd name="connsiteY9" fmla="*/ 2855464 h 2937062"/>
                  <a:gd name="connsiteX10" fmla="*/ 2078418 w 3070583"/>
                  <a:gd name="connsiteY10" fmla="*/ 2934386 h 2937062"/>
                  <a:gd name="connsiteX11" fmla="*/ 1968711 w 3070583"/>
                  <a:gd name="connsiteY11" fmla="*/ 2778906 h 2937062"/>
                  <a:gd name="connsiteX12" fmla="*/ 874143 w 3070583"/>
                  <a:gd name="connsiteY12" fmla="*/ 2935358 h 2937062"/>
                  <a:gd name="connsiteX13" fmla="*/ 758381 w 3070583"/>
                  <a:gd name="connsiteY13" fmla="*/ 2822732 h 2937062"/>
                  <a:gd name="connsiteX14" fmla="*/ 750127 w 3070583"/>
                  <a:gd name="connsiteY14" fmla="*/ 2221600 h 2937062"/>
                  <a:gd name="connsiteX15" fmla="*/ 181200 w 3070583"/>
                  <a:gd name="connsiteY15" fmla="*/ 2277320 h 2937062"/>
                  <a:gd name="connsiteX16" fmla="*/ 394351 w 3070583"/>
                  <a:gd name="connsiteY16" fmla="*/ 1541377 h 2937062"/>
                  <a:gd name="connsiteX17" fmla="*/ 742815 w 3070583"/>
                  <a:gd name="connsiteY17" fmla="*/ 1689069 h 2937062"/>
                  <a:gd name="connsiteX18" fmla="*/ 732115 w 3070583"/>
                  <a:gd name="connsiteY18" fmla="*/ 909853 h 2937062"/>
                  <a:gd name="connsiteX19" fmla="*/ 844742 w 3070583"/>
                  <a:gd name="connsiteY19" fmla="*/ 794091 h 2937062"/>
                  <a:gd name="connsiteX20" fmla="*/ 1599561 w 3070583"/>
                  <a:gd name="connsiteY20" fmla="*/ 783727 h 2937062"/>
                  <a:gd name="connsiteX21" fmla="*/ 1599561 w 3070583"/>
                  <a:gd name="connsiteY21" fmla="*/ 646886 h 2937062"/>
                  <a:gd name="connsiteX22" fmla="*/ 1595963 w 3070583"/>
                  <a:gd name="connsiteY22" fmla="*/ 644381 h 2937062"/>
                  <a:gd name="connsiteX0" fmla="*/ 1595963 w 3070583"/>
                  <a:gd name="connsiteY0" fmla="*/ 644381 h 2936774"/>
                  <a:gd name="connsiteX1" fmla="*/ 2137852 w 3070583"/>
                  <a:gd name="connsiteY1" fmla="*/ 603709 h 2936774"/>
                  <a:gd name="connsiteX2" fmla="*/ 2132430 w 3070583"/>
                  <a:gd name="connsiteY2" fmla="*/ 776410 h 2936774"/>
                  <a:gd name="connsiteX3" fmla="*/ 2998821 w 3070583"/>
                  <a:gd name="connsiteY3" fmla="*/ 773490 h 2936774"/>
                  <a:gd name="connsiteX4" fmla="*/ 3070010 w 3070583"/>
                  <a:gd name="connsiteY4" fmla="*/ 877752 h 2936774"/>
                  <a:gd name="connsiteX5" fmla="*/ 3070583 w 3070583"/>
                  <a:gd name="connsiteY5" fmla="*/ 1509843 h 2936774"/>
                  <a:gd name="connsiteX6" fmla="*/ 2723584 w 3070583"/>
                  <a:gd name="connsiteY6" fmla="*/ 1643816 h 2936774"/>
                  <a:gd name="connsiteX7" fmla="*/ 2664086 w 3070583"/>
                  <a:gd name="connsiteY7" fmla="*/ 2221080 h 2936774"/>
                  <a:gd name="connsiteX8" fmla="*/ 3013970 w 3070583"/>
                  <a:gd name="connsiteY8" fmla="*/ 2723054 h 2936774"/>
                  <a:gd name="connsiteX9" fmla="*/ 2892085 w 3070583"/>
                  <a:gd name="connsiteY9" fmla="*/ 2855464 h 2936774"/>
                  <a:gd name="connsiteX10" fmla="*/ 2078418 w 3070583"/>
                  <a:gd name="connsiteY10" fmla="*/ 2934386 h 2936774"/>
                  <a:gd name="connsiteX11" fmla="*/ 1973046 w 3070583"/>
                  <a:gd name="connsiteY11" fmla="*/ 2744986 h 2936774"/>
                  <a:gd name="connsiteX12" fmla="*/ 874143 w 3070583"/>
                  <a:gd name="connsiteY12" fmla="*/ 2935358 h 2936774"/>
                  <a:gd name="connsiteX13" fmla="*/ 758381 w 3070583"/>
                  <a:gd name="connsiteY13" fmla="*/ 2822732 h 2936774"/>
                  <a:gd name="connsiteX14" fmla="*/ 750127 w 3070583"/>
                  <a:gd name="connsiteY14" fmla="*/ 2221600 h 2936774"/>
                  <a:gd name="connsiteX15" fmla="*/ 181200 w 3070583"/>
                  <a:gd name="connsiteY15" fmla="*/ 2277320 h 2936774"/>
                  <a:gd name="connsiteX16" fmla="*/ 394351 w 3070583"/>
                  <a:gd name="connsiteY16" fmla="*/ 1541377 h 2936774"/>
                  <a:gd name="connsiteX17" fmla="*/ 742815 w 3070583"/>
                  <a:gd name="connsiteY17" fmla="*/ 1689069 h 2936774"/>
                  <a:gd name="connsiteX18" fmla="*/ 732115 w 3070583"/>
                  <a:gd name="connsiteY18" fmla="*/ 909853 h 2936774"/>
                  <a:gd name="connsiteX19" fmla="*/ 844742 w 3070583"/>
                  <a:gd name="connsiteY19" fmla="*/ 794091 h 2936774"/>
                  <a:gd name="connsiteX20" fmla="*/ 1599561 w 3070583"/>
                  <a:gd name="connsiteY20" fmla="*/ 783727 h 2936774"/>
                  <a:gd name="connsiteX21" fmla="*/ 1599561 w 3070583"/>
                  <a:gd name="connsiteY21" fmla="*/ 646886 h 2936774"/>
                  <a:gd name="connsiteX22" fmla="*/ 1595963 w 3070583"/>
                  <a:gd name="connsiteY22" fmla="*/ 644381 h 2936774"/>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600484 w 3070583"/>
                  <a:gd name="connsiteY12" fmla="*/ 2813877 h 2935368"/>
                  <a:gd name="connsiteX13" fmla="*/ 874143 w 3070583"/>
                  <a:gd name="connsiteY13" fmla="*/ 2935358 h 2935368"/>
                  <a:gd name="connsiteX14" fmla="*/ 758381 w 3070583"/>
                  <a:gd name="connsiteY14" fmla="*/ 2822732 h 2935368"/>
                  <a:gd name="connsiteX15" fmla="*/ 750127 w 3070583"/>
                  <a:gd name="connsiteY15" fmla="*/ 2221600 h 2935368"/>
                  <a:gd name="connsiteX16" fmla="*/ 181200 w 3070583"/>
                  <a:gd name="connsiteY16" fmla="*/ 2277320 h 2935368"/>
                  <a:gd name="connsiteX17" fmla="*/ 394351 w 3070583"/>
                  <a:gd name="connsiteY17" fmla="*/ 1541377 h 2935368"/>
                  <a:gd name="connsiteX18" fmla="*/ 742815 w 3070583"/>
                  <a:gd name="connsiteY18" fmla="*/ 1689069 h 2935368"/>
                  <a:gd name="connsiteX19" fmla="*/ 732115 w 3070583"/>
                  <a:gd name="connsiteY19" fmla="*/ 909853 h 2935368"/>
                  <a:gd name="connsiteX20" fmla="*/ 844742 w 3070583"/>
                  <a:gd name="connsiteY20" fmla="*/ 794091 h 2935368"/>
                  <a:gd name="connsiteX21" fmla="*/ 1599561 w 3070583"/>
                  <a:gd name="connsiteY21" fmla="*/ 783727 h 2935368"/>
                  <a:gd name="connsiteX22" fmla="*/ 1599561 w 3070583"/>
                  <a:gd name="connsiteY22" fmla="*/ 646886 h 2935368"/>
                  <a:gd name="connsiteX23" fmla="*/ 1595963 w 3070583"/>
                  <a:gd name="connsiteY23"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874143 w 3070583"/>
                  <a:gd name="connsiteY13" fmla="*/ 2935358 h 2935368"/>
                  <a:gd name="connsiteX14" fmla="*/ 758381 w 3070583"/>
                  <a:gd name="connsiteY14" fmla="*/ 2822732 h 2935368"/>
                  <a:gd name="connsiteX15" fmla="*/ 750127 w 3070583"/>
                  <a:gd name="connsiteY15" fmla="*/ 2221600 h 2935368"/>
                  <a:gd name="connsiteX16" fmla="*/ 181200 w 3070583"/>
                  <a:gd name="connsiteY16" fmla="*/ 2277320 h 2935368"/>
                  <a:gd name="connsiteX17" fmla="*/ 394351 w 3070583"/>
                  <a:gd name="connsiteY17" fmla="*/ 1541377 h 2935368"/>
                  <a:gd name="connsiteX18" fmla="*/ 742815 w 3070583"/>
                  <a:gd name="connsiteY18" fmla="*/ 1689069 h 2935368"/>
                  <a:gd name="connsiteX19" fmla="*/ 732115 w 3070583"/>
                  <a:gd name="connsiteY19" fmla="*/ 909853 h 2935368"/>
                  <a:gd name="connsiteX20" fmla="*/ 844742 w 3070583"/>
                  <a:gd name="connsiteY20" fmla="*/ 794091 h 2935368"/>
                  <a:gd name="connsiteX21" fmla="*/ 1599561 w 3070583"/>
                  <a:gd name="connsiteY21" fmla="*/ 783727 h 2935368"/>
                  <a:gd name="connsiteX22" fmla="*/ 1599561 w 3070583"/>
                  <a:gd name="connsiteY22" fmla="*/ 646886 h 2935368"/>
                  <a:gd name="connsiteX23" fmla="*/ 1595963 w 3070583"/>
                  <a:gd name="connsiteY23"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874143 w 3070583"/>
                  <a:gd name="connsiteY13" fmla="*/ 2935358 h 2935368"/>
                  <a:gd name="connsiteX14" fmla="*/ 758381 w 3070583"/>
                  <a:gd name="connsiteY14" fmla="*/ 2822732 h 2935368"/>
                  <a:gd name="connsiteX15" fmla="*/ 750127 w 3070583"/>
                  <a:gd name="connsiteY15" fmla="*/ 2221600 h 2935368"/>
                  <a:gd name="connsiteX16" fmla="*/ 181200 w 3070583"/>
                  <a:gd name="connsiteY16" fmla="*/ 2277320 h 2935368"/>
                  <a:gd name="connsiteX17" fmla="*/ 394351 w 3070583"/>
                  <a:gd name="connsiteY17" fmla="*/ 1541377 h 2935368"/>
                  <a:gd name="connsiteX18" fmla="*/ 742815 w 3070583"/>
                  <a:gd name="connsiteY18" fmla="*/ 1689069 h 2935368"/>
                  <a:gd name="connsiteX19" fmla="*/ 732115 w 3070583"/>
                  <a:gd name="connsiteY19" fmla="*/ 909853 h 2935368"/>
                  <a:gd name="connsiteX20" fmla="*/ 844742 w 3070583"/>
                  <a:gd name="connsiteY20" fmla="*/ 794091 h 2935368"/>
                  <a:gd name="connsiteX21" fmla="*/ 1599561 w 3070583"/>
                  <a:gd name="connsiteY21" fmla="*/ 783727 h 2935368"/>
                  <a:gd name="connsiteX22" fmla="*/ 1599561 w 3070583"/>
                  <a:gd name="connsiteY22" fmla="*/ 646886 h 2935368"/>
                  <a:gd name="connsiteX23" fmla="*/ 1595963 w 3070583"/>
                  <a:gd name="connsiteY23"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874143 w 3070583"/>
                  <a:gd name="connsiteY13" fmla="*/ 2935358 h 2935368"/>
                  <a:gd name="connsiteX14" fmla="*/ 758381 w 3070583"/>
                  <a:gd name="connsiteY14" fmla="*/ 2822732 h 2935368"/>
                  <a:gd name="connsiteX15" fmla="*/ 750127 w 3070583"/>
                  <a:gd name="connsiteY15" fmla="*/ 2221600 h 2935368"/>
                  <a:gd name="connsiteX16" fmla="*/ 181200 w 3070583"/>
                  <a:gd name="connsiteY16" fmla="*/ 2277320 h 2935368"/>
                  <a:gd name="connsiteX17" fmla="*/ 394351 w 3070583"/>
                  <a:gd name="connsiteY17" fmla="*/ 1541377 h 2935368"/>
                  <a:gd name="connsiteX18" fmla="*/ 742815 w 3070583"/>
                  <a:gd name="connsiteY18" fmla="*/ 1689069 h 2935368"/>
                  <a:gd name="connsiteX19" fmla="*/ 732115 w 3070583"/>
                  <a:gd name="connsiteY19" fmla="*/ 909853 h 2935368"/>
                  <a:gd name="connsiteX20" fmla="*/ 844742 w 3070583"/>
                  <a:gd name="connsiteY20" fmla="*/ 794091 h 2935368"/>
                  <a:gd name="connsiteX21" fmla="*/ 1599561 w 3070583"/>
                  <a:gd name="connsiteY21" fmla="*/ 783727 h 2935368"/>
                  <a:gd name="connsiteX22" fmla="*/ 1599561 w 3070583"/>
                  <a:gd name="connsiteY22" fmla="*/ 646886 h 2935368"/>
                  <a:gd name="connsiteX23" fmla="*/ 1595963 w 3070583"/>
                  <a:gd name="connsiteY23"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874143 w 3070583"/>
                  <a:gd name="connsiteY13" fmla="*/ 2935358 h 2935368"/>
                  <a:gd name="connsiteX14" fmla="*/ 758381 w 3070583"/>
                  <a:gd name="connsiteY14" fmla="*/ 2822732 h 2935368"/>
                  <a:gd name="connsiteX15" fmla="*/ 750127 w 3070583"/>
                  <a:gd name="connsiteY15" fmla="*/ 2221600 h 2935368"/>
                  <a:gd name="connsiteX16" fmla="*/ 181200 w 3070583"/>
                  <a:gd name="connsiteY16" fmla="*/ 2277320 h 2935368"/>
                  <a:gd name="connsiteX17" fmla="*/ 394351 w 3070583"/>
                  <a:gd name="connsiteY17" fmla="*/ 1541377 h 2935368"/>
                  <a:gd name="connsiteX18" fmla="*/ 742815 w 3070583"/>
                  <a:gd name="connsiteY18" fmla="*/ 1689069 h 2935368"/>
                  <a:gd name="connsiteX19" fmla="*/ 732115 w 3070583"/>
                  <a:gd name="connsiteY19" fmla="*/ 909853 h 2935368"/>
                  <a:gd name="connsiteX20" fmla="*/ 844742 w 3070583"/>
                  <a:gd name="connsiteY20" fmla="*/ 794091 h 2935368"/>
                  <a:gd name="connsiteX21" fmla="*/ 1599561 w 3070583"/>
                  <a:gd name="connsiteY21" fmla="*/ 783727 h 2935368"/>
                  <a:gd name="connsiteX22" fmla="*/ 1599561 w 3070583"/>
                  <a:gd name="connsiteY22" fmla="*/ 646886 h 2935368"/>
                  <a:gd name="connsiteX23" fmla="*/ 1595963 w 3070583"/>
                  <a:gd name="connsiteY23"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874143 w 3070583"/>
                  <a:gd name="connsiteY13" fmla="*/ 2935358 h 2935368"/>
                  <a:gd name="connsiteX14" fmla="*/ 758381 w 3070583"/>
                  <a:gd name="connsiteY14" fmla="*/ 2822732 h 2935368"/>
                  <a:gd name="connsiteX15" fmla="*/ 750127 w 3070583"/>
                  <a:gd name="connsiteY15" fmla="*/ 2221600 h 2935368"/>
                  <a:gd name="connsiteX16" fmla="*/ 181200 w 3070583"/>
                  <a:gd name="connsiteY16" fmla="*/ 2277320 h 2935368"/>
                  <a:gd name="connsiteX17" fmla="*/ 394351 w 3070583"/>
                  <a:gd name="connsiteY17" fmla="*/ 1541377 h 2935368"/>
                  <a:gd name="connsiteX18" fmla="*/ 742815 w 3070583"/>
                  <a:gd name="connsiteY18" fmla="*/ 1689069 h 2935368"/>
                  <a:gd name="connsiteX19" fmla="*/ 732115 w 3070583"/>
                  <a:gd name="connsiteY19" fmla="*/ 909853 h 2935368"/>
                  <a:gd name="connsiteX20" fmla="*/ 844742 w 3070583"/>
                  <a:gd name="connsiteY20" fmla="*/ 794091 h 2935368"/>
                  <a:gd name="connsiteX21" fmla="*/ 1599561 w 3070583"/>
                  <a:gd name="connsiteY21" fmla="*/ 783727 h 2935368"/>
                  <a:gd name="connsiteX22" fmla="*/ 1599561 w 3070583"/>
                  <a:gd name="connsiteY22" fmla="*/ 646886 h 2935368"/>
                  <a:gd name="connsiteX23" fmla="*/ 1595963 w 3070583"/>
                  <a:gd name="connsiteY23"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874143 w 3070583"/>
                  <a:gd name="connsiteY13" fmla="*/ 2935358 h 2935368"/>
                  <a:gd name="connsiteX14" fmla="*/ 758381 w 3070583"/>
                  <a:gd name="connsiteY14" fmla="*/ 2822732 h 2935368"/>
                  <a:gd name="connsiteX15" fmla="*/ 750127 w 3070583"/>
                  <a:gd name="connsiteY15" fmla="*/ 2221600 h 2935368"/>
                  <a:gd name="connsiteX16" fmla="*/ 181200 w 3070583"/>
                  <a:gd name="connsiteY16" fmla="*/ 2277320 h 2935368"/>
                  <a:gd name="connsiteX17" fmla="*/ 394351 w 3070583"/>
                  <a:gd name="connsiteY17" fmla="*/ 1541377 h 2935368"/>
                  <a:gd name="connsiteX18" fmla="*/ 742815 w 3070583"/>
                  <a:gd name="connsiteY18" fmla="*/ 1689069 h 2935368"/>
                  <a:gd name="connsiteX19" fmla="*/ 732115 w 3070583"/>
                  <a:gd name="connsiteY19" fmla="*/ 909853 h 2935368"/>
                  <a:gd name="connsiteX20" fmla="*/ 844742 w 3070583"/>
                  <a:gd name="connsiteY20" fmla="*/ 794091 h 2935368"/>
                  <a:gd name="connsiteX21" fmla="*/ 1599561 w 3070583"/>
                  <a:gd name="connsiteY21" fmla="*/ 783727 h 2935368"/>
                  <a:gd name="connsiteX22" fmla="*/ 1599561 w 3070583"/>
                  <a:gd name="connsiteY22" fmla="*/ 646886 h 2935368"/>
                  <a:gd name="connsiteX23" fmla="*/ 1595963 w 3070583"/>
                  <a:gd name="connsiteY23"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874143 w 3070583"/>
                  <a:gd name="connsiteY13" fmla="*/ 2935358 h 2935368"/>
                  <a:gd name="connsiteX14" fmla="*/ 758381 w 3070583"/>
                  <a:gd name="connsiteY14" fmla="*/ 2822732 h 2935368"/>
                  <a:gd name="connsiteX15" fmla="*/ 750127 w 3070583"/>
                  <a:gd name="connsiteY15" fmla="*/ 2221600 h 2935368"/>
                  <a:gd name="connsiteX16" fmla="*/ 181200 w 3070583"/>
                  <a:gd name="connsiteY16" fmla="*/ 2277320 h 2935368"/>
                  <a:gd name="connsiteX17" fmla="*/ 394351 w 3070583"/>
                  <a:gd name="connsiteY17" fmla="*/ 1541377 h 2935368"/>
                  <a:gd name="connsiteX18" fmla="*/ 742815 w 3070583"/>
                  <a:gd name="connsiteY18" fmla="*/ 1689069 h 2935368"/>
                  <a:gd name="connsiteX19" fmla="*/ 732115 w 3070583"/>
                  <a:gd name="connsiteY19" fmla="*/ 909853 h 2935368"/>
                  <a:gd name="connsiteX20" fmla="*/ 844742 w 3070583"/>
                  <a:gd name="connsiteY20" fmla="*/ 794091 h 2935368"/>
                  <a:gd name="connsiteX21" fmla="*/ 1599561 w 3070583"/>
                  <a:gd name="connsiteY21" fmla="*/ 783727 h 2935368"/>
                  <a:gd name="connsiteX22" fmla="*/ 1599561 w 3070583"/>
                  <a:gd name="connsiteY22" fmla="*/ 646886 h 2935368"/>
                  <a:gd name="connsiteX23" fmla="*/ 1595963 w 3070583"/>
                  <a:gd name="connsiteY23"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337793 w 3070583"/>
                  <a:gd name="connsiteY13" fmla="*/ 2711362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95963 w 3070583"/>
                  <a:gd name="connsiteY0" fmla="*/ 644381 h 2935368"/>
                  <a:gd name="connsiteX1" fmla="*/ 2137852 w 3070583"/>
                  <a:gd name="connsiteY1" fmla="*/ 603709 h 2935368"/>
                  <a:gd name="connsiteX2" fmla="*/ 2132430 w 3070583"/>
                  <a:gd name="connsiteY2" fmla="*/ 776410 h 2935368"/>
                  <a:gd name="connsiteX3" fmla="*/ 2998821 w 3070583"/>
                  <a:gd name="connsiteY3" fmla="*/ 773490 h 2935368"/>
                  <a:gd name="connsiteX4" fmla="*/ 3070010 w 3070583"/>
                  <a:gd name="connsiteY4" fmla="*/ 877752 h 2935368"/>
                  <a:gd name="connsiteX5" fmla="*/ 3070583 w 3070583"/>
                  <a:gd name="connsiteY5" fmla="*/ 1509843 h 2935368"/>
                  <a:gd name="connsiteX6" fmla="*/ 2723584 w 3070583"/>
                  <a:gd name="connsiteY6" fmla="*/ 1643816 h 2935368"/>
                  <a:gd name="connsiteX7" fmla="*/ 2664086 w 3070583"/>
                  <a:gd name="connsiteY7" fmla="*/ 2221080 h 2935368"/>
                  <a:gd name="connsiteX8" fmla="*/ 3013970 w 3070583"/>
                  <a:gd name="connsiteY8" fmla="*/ 2723054 h 2935368"/>
                  <a:gd name="connsiteX9" fmla="*/ 2892085 w 3070583"/>
                  <a:gd name="connsiteY9" fmla="*/ 2855464 h 2935368"/>
                  <a:gd name="connsiteX10" fmla="*/ 2078418 w 3070583"/>
                  <a:gd name="connsiteY10" fmla="*/ 2934386 h 2935368"/>
                  <a:gd name="connsiteX11" fmla="*/ 1973046 w 3070583"/>
                  <a:gd name="connsiteY11" fmla="*/ 2744986 h 2935368"/>
                  <a:gd name="connsiteX12" fmla="*/ 1491401 w 3070583"/>
                  <a:gd name="connsiteY12" fmla="*/ 2644211 h 2935368"/>
                  <a:gd name="connsiteX13" fmla="*/ 1483882 w 3070583"/>
                  <a:gd name="connsiteY13" fmla="*/ 2879813 h 2935368"/>
                  <a:gd name="connsiteX14" fmla="*/ 874143 w 3070583"/>
                  <a:gd name="connsiteY14" fmla="*/ 2935358 h 2935368"/>
                  <a:gd name="connsiteX15" fmla="*/ 758381 w 3070583"/>
                  <a:gd name="connsiteY15" fmla="*/ 2822732 h 2935368"/>
                  <a:gd name="connsiteX16" fmla="*/ 750127 w 3070583"/>
                  <a:gd name="connsiteY16" fmla="*/ 2221600 h 2935368"/>
                  <a:gd name="connsiteX17" fmla="*/ 181200 w 3070583"/>
                  <a:gd name="connsiteY17" fmla="*/ 2277320 h 2935368"/>
                  <a:gd name="connsiteX18" fmla="*/ 394351 w 3070583"/>
                  <a:gd name="connsiteY18" fmla="*/ 1541377 h 2935368"/>
                  <a:gd name="connsiteX19" fmla="*/ 742815 w 3070583"/>
                  <a:gd name="connsiteY19" fmla="*/ 1689069 h 2935368"/>
                  <a:gd name="connsiteX20" fmla="*/ 732115 w 3070583"/>
                  <a:gd name="connsiteY20" fmla="*/ 909853 h 2935368"/>
                  <a:gd name="connsiteX21" fmla="*/ 844742 w 3070583"/>
                  <a:gd name="connsiteY21" fmla="*/ 794091 h 2935368"/>
                  <a:gd name="connsiteX22" fmla="*/ 1599561 w 3070583"/>
                  <a:gd name="connsiteY22" fmla="*/ 783727 h 2935368"/>
                  <a:gd name="connsiteX23" fmla="*/ 1599561 w 3070583"/>
                  <a:gd name="connsiteY23" fmla="*/ 646886 h 2935368"/>
                  <a:gd name="connsiteX24" fmla="*/ 1595963 w 3070583"/>
                  <a:gd name="connsiteY24" fmla="*/ 644381 h 2935368"/>
                  <a:gd name="connsiteX0" fmla="*/ 1589005 w 3070583"/>
                  <a:gd name="connsiteY0" fmla="*/ 631734 h 2947120"/>
                  <a:gd name="connsiteX1" fmla="*/ 2137852 w 3070583"/>
                  <a:gd name="connsiteY1" fmla="*/ 615461 h 2947120"/>
                  <a:gd name="connsiteX2" fmla="*/ 2132430 w 3070583"/>
                  <a:gd name="connsiteY2" fmla="*/ 788162 h 2947120"/>
                  <a:gd name="connsiteX3" fmla="*/ 2998821 w 3070583"/>
                  <a:gd name="connsiteY3" fmla="*/ 785242 h 2947120"/>
                  <a:gd name="connsiteX4" fmla="*/ 3070010 w 3070583"/>
                  <a:gd name="connsiteY4" fmla="*/ 889504 h 2947120"/>
                  <a:gd name="connsiteX5" fmla="*/ 3070583 w 3070583"/>
                  <a:gd name="connsiteY5" fmla="*/ 1521595 h 2947120"/>
                  <a:gd name="connsiteX6" fmla="*/ 2723584 w 3070583"/>
                  <a:gd name="connsiteY6" fmla="*/ 1655568 h 2947120"/>
                  <a:gd name="connsiteX7" fmla="*/ 2664086 w 3070583"/>
                  <a:gd name="connsiteY7" fmla="*/ 2232832 h 2947120"/>
                  <a:gd name="connsiteX8" fmla="*/ 3013970 w 3070583"/>
                  <a:gd name="connsiteY8" fmla="*/ 2734806 h 2947120"/>
                  <a:gd name="connsiteX9" fmla="*/ 2892085 w 3070583"/>
                  <a:gd name="connsiteY9" fmla="*/ 2867216 h 2947120"/>
                  <a:gd name="connsiteX10" fmla="*/ 2078418 w 3070583"/>
                  <a:gd name="connsiteY10" fmla="*/ 2946138 h 2947120"/>
                  <a:gd name="connsiteX11" fmla="*/ 1973046 w 3070583"/>
                  <a:gd name="connsiteY11" fmla="*/ 2756738 h 2947120"/>
                  <a:gd name="connsiteX12" fmla="*/ 1491401 w 3070583"/>
                  <a:gd name="connsiteY12" fmla="*/ 2655963 h 2947120"/>
                  <a:gd name="connsiteX13" fmla="*/ 1483882 w 3070583"/>
                  <a:gd name="connsiteY13" fmla="*/ 2891565 h 2947120"/>
                  <a:gd name="connsiteX14" fmla="*/ 874143 w 3070583"/>
                  <a:gd name="connsiteY14" fmla="*/ 2947110 h 2947120"/>
                  <a:gd name="connsiteX15" fmla="*/ 758381 w 3070583"/>
                  <a:gd name="connsiteY15" fmla="*/ 2834484 h 2947120"/>
                  <a:gd name="connsiteX16" fmla="*/ 750127 w 3070583"/>
                  <a:gd name="connsiteY16" fmla="*/ 2233352 h 2947120"/>
                  <a:gd name="connsiteX17" fmla="*/ 181200 w 3070583"/>
                  <a:gd name="connsiteY17" fmla="*/ 2289072 h 2947120"/>
                  <a:gd name="connsiteX18" fmla="*/ 394351 w 3070583"/>
                  <a:gd name="connsiteY18" fmla="*/ 1553129 h 2947120"/>
                  <a:gd name="connsiteX19" fmla="*/ 742815 w 3070583"/>
                  <a:gd name="connsiteY19" fmla="*/ 1700821 h 2947120"/>
                  <a:gd name="connsiteX20" fmla="*/ 732115 w 3070583"/>
                  <a:gd name="connsiteY20" fmla="*/ 921605 h 2947120"/>
                  <a:gd name="connsiteX21" fmla="*/ 844742 w 3070583"/>
                  <a:gd name="connsiteY21" fmla="*/ 805843 h 2947120"/>
                  <a:gd name="connsiteX22" fmla="*/ 1599561 w 3070583"/>
                  <a:gd name="connsiteY22" fmla="*/ 795479 h 2947120"/>
                  <a:gd name="connsiteX23" fmla="*/ 1599561 w 3070583"/>
                  <a:gd name="connsiteY23" fmla="*/ 658638 h 2947120"/>
                  <a:gd name="connsiteX24" fmla="*/ 1589005 w 3070583"/>
                  <a:gd name="connsiteY24" fmla="*/ 631734 h 2947120"/>
                  <a:gd name="connsiteX0" fmla="*/ 1589005 w 3070583"/>
                  <a:gd name="connsiteY0" fmla="*/ 631738 h 2947124"/>
                  <a:gd name="connsiteX1" fmla="*/ 2137852 w 3070583"/>
                  <a:gd name="connsiteY1" fmla="*/ 615465 h 2947124"/>
                  <a:gd name="connsiteX2" fmla="*/ 2132430 w 3070583"/>
                  <a:gd name="connsiteY2" fmla="*/ 788166 h 2947124"/>
                  <a:gd name="connsiteX3" fmla="*/ 2998821 w 3070583"/>
                  <a:gd name="connsiteY3" fmla="*/ 785246 h 2947124"/>
                  <a:gd name="connsiteX4" fmla="*/ 3070010 w 3070583"/>
                  <a:gd name="connsiteY4" fmla="*/ 889508 h 2947124"/>
                  <a:gd name="connsiteX5" fmla="*/ 3070583 w 3070583"/>
                  <a:gd name="connsiteY5" fmla="*/ 1521599 h 2947124"/>
                  <a:gd name="connsiteX6" fmla="*/ 2723584 w 3070583"/>
                  <a:gd name="connsiteY6" fmla="*/ 1655572 h 2947124"/>
                  <a:gd name="connsiteX7" fmla="*/ 2664086 w 3070583"/>
                  <a:gd name="connsiteY7" fmla="*/ 2232836 h 2947124"/>
                  <a:gd name="connsiteX8" fmla="*/ 3013970 w 3070583"/>
                  <a:gd name="connsiteY8" fmla="*/ 2734810 h 2947124"/>
                  <a:gd name="connsiteX9" fmla="*/ 2892085 w 3070583"/>
                  <a:gd name="connsiteY9" fmla="*/ 2867220 h 2947124"/>
                  <a:gd name="connsiteX10" fmla="*/ 2078418 w 3070583"/>
                  <a:gd name="connsiteY10" fmla="*/ 2946142 h 2947124"/>
                  <a:gd name="connsiteX11" fmla="*/ 1973046 w 3070583"/>
                  <a:gd name="connsiteY11" fmla="*/ 2756742 h 2947124"/>
                  <a:gd name="connsiteX12" fmla="*/ 1491401 w 3070583"/>
                  <a:gd name="connsiteY12" fmla="*/ 2655967 h 2947124"/>
                  <a:gd name="connsiteX13" fmla="*/ 1483882 w 3070583"/>
                  <a:gd name="connsiteY13" fmla="*/ 2891569 h 2947124"/>
                  <a:gd name="connsiteX14" fmla="*/ 874143 w 3070583"/>
                  <a:gd name="connsiteY14" fmla="*/ 2947114 h 2947124"/>
                  <a:gd name="connsiteX15" fmla="*/ 758381 w 3070583"/>
                  <a:gd name="connsiteY15" fmla="*/ 2834488 h 2947124"/>
                  <a:gd name="connsiteX16" fmla="*/ 750127 w 3070583"/>
                  <a:gd name="connsiteY16" fmla="*/ 2233356 h 2947124"/>
                  <a:gd name="connsiteX17" fmla="*/ 181200 w 3070583"/>
                  <a:gd name="connsiteY17" fmla="*/ 2289076 h 2947124"/>
                  <a:gd name="connsiteX18" fmla="*/ 394351 w 3070583"/>
                  <a:gd name="connsiteY18" fmla="*/ 1553133 h 2947124"/>
                  <a:gd name="connsiteX19" fmla="*/ 742815 w 3070583"/>
                  <a:gd name="connsiteY19" fmla="*/ 1700825 h 2947124"/>
                  <a:gd name="connsiteX20" fmla="*/ 732115 w 3070583"/>
                  <a:gd name="connsiteY20" fmla="*/ 921609 h 2947124"/>
                  <a:gd name="connsiteX21" fmla="*/ 844742 w 3070583"/>
                  <a:gd name="connsiteY21" fmla="*/ 805847 h 2947124"/>
                  <a:gd name="connsiteX22" fmla="*/ 1599561 w 3070583"/>
                  <a:gd name="connsiteY22" fmla="*/ 795483 h 2947124"/>
                  <a:gd name="connsiteX23" fmla="*/ 1599561 w 3070583"/>
                  <a:gd name="connsiteY23" fmla="*/ 658642 h 2947124"/>
                  <a:gd name="connsiteX24" fmla="*/ 1589005 w 3070583"/>
                  <a:gd name="connsiteY24" fmla="*/ 631738 h 2947124"/>
                  <a:gd name="connsiteX0" fmla="*/ 1589005 w 3070583"/>
                  <a:gd name="connsiteY0" fmla="*/ 631738 h 2947124"/>
                  <a:gd name="connsiteX1" fmla="*/ 2137852 w 3070583"/>
                  <a:gd name="connsiteY1" fmla="*/ 615465 h 2947124"/>
                  <a:gd name="connsiteX2" fmla="*/ 2132430 w 3070583"/>
                  <a:gd name="connsiteY2" fmla="*/ 788166 h 2947124"/>
                  <a:gd name="connsiteX3" fmla="*/ 2998821 w 3070583"/>
                  <a:gd name="connsiteY3" fmla="*/ 785246 h 2947124"/>
                  <a:gd name="connsiteX4" fmla="*/ 3070010 w 3070583"/>
                  <a:gd name="connsiteY4" fmla="*/ 889508 h 2947124"/>
                  <a:gd name="connsiteX5" fmla="*/ 3070583 w 3070583"/>
                  <a:gd name="connsiteY5" fmla="*/ 1521599 h 2947124"/>
                  <a:gd name="connsiteX6" fmla="*/ 2723584 w 3070583"/>
                  <a:gd name="connsiteY6" fmla="*/ 1655572 h 2947124"/>
                  <a:gd name="connsiteX7" fmla="*/ 2664086 w 3070583"/>
                  <a:gd name="connsiteY7" fmla="*/ 2232836 h 2947124"/>
                  <a:gd name="connsiteX8" fmla="*/ 3013970 w 3070583"/>
                  <a:gd name="connsiteY8" fmla="*/ 2734810 h 2947124"/>
                  <a:gd name="connsiteX9" fmla="*/ 2892085 w 3070583"/>
                  <a:gd name="connsiteY9" fmla="*/ 2867220 h 2947124"/>
                  <a:gd name="connsiteX10" fmla="*/ 2078418 w 3070583"/>
                  <a:gd name="connsiteY10" fmla="*/ 2946142 h 2947124"/>
                  <a:gd name="connsiteX11" fmla="*/ 1973046 w 3070583"/>
                  <a:gd name="connsiteY11" fmla="*/ 2756742 h 2947124"/>
                  <a:gd name="connsiteX12" fmla="*/ 1491401 w 3070583"/>
                  <a:gd name="connsiteY12" fmla="*/ 2655967 h 2947124"/>
                  <a:gd name="connsiteX13" fmla="*/ 1483882 w 3070583"/>
                  <a:gd name="connsiteY13" fmla="*/ 2891569 h 2947124"/>
                  <a:gd name="connsiteX14" fmla="*/ 874143 w 3070583"/>
                  <a:gd name="connsiteY14" fmla="*/ 2947114 h 2947124"/>
                  <a:gd name="connsiteX15" fmla="*/ 758381 w 3070583"/>
                  <a:gd name="connsiteY15" fmla="*/ 2834488 h 2947124"/>
                  <a:gd name="connsiteX16" fmla="*/ 750127 w 3070583"/>
                  <a:gd name="connsiteY16" fmla="*/ 2233356 h 2947124"/>
                  <a:gd name="connsiteX17" fmla="*/ 181200 w 3070583"/>
                  <a:gd name="connsiteY17" fmla="*/ 2289076 h 2947124"/>
                  <a:gd name="connsiteX18" fmla="*/ 394351 w 3070583"/>
                  <a:gd name="connsiteY18" fmla="*/ 1553133 h 2947124"/>
                  <a:gd name="connsiteX19" fmla="*/ 742815 w 3070583"/>
                  <a:gd name="connsiteY19" fmla="*/ 1700825 h 2947124"/>
                  <a:gd name="connsiteX20" fmla="*/ 732115 w 3070583"/>
                  <a:gd name="connsiteY20" fmla="*/ 921609 h 2947124"/>
                  <a:gd name="connsiteX21" fmla="*/ 844742 w 3070583"/>
                  <a:gd name="connsiteY21" fmla="*/ 805847 h 2947124"/>
                  <a:gd name="connsiteX22" fmla="*/ 1599561 w 3070583"/>
                  <a:gd name="connsiteY22" fmla="*/ 795483 h 2947124"/>
                  <a:gd name="connsiteX23" fmla="*/ 1589005 w 3070583"/>
                  <a:gd name="connsiteY23" fmla="*/ 631738 h 2947124"/>
                  <a:gd name="connsiteX0" fmla="*/ 1589005 w 3070583"/>
                  <a:gd name="connsiteY0" fmla="*/ 631738 h 2947124"/>
                  <a:gd name="connsiteX1" fmla="*/ 2137852 w 3070583"/>
                  <a:gd name="connsiteY1" fmla="*/ 615465 h 2947124"/>
                  <a:gd name="connsiteX2" fmla="*/ 2132430 w 3070583"/>
                  <a:gd name="connsiteY2" fmla="*/ 788166 h 2947124"/>
                  <a:gd name="connsiteX3" fmla="*/ 2998821 w 3070583"/>
                  <a:gd name="connsiteY3" fmla="*/ 785246 h 2947124"/>
                  <a:gd name="connsiteX4" fmla="*/ 3070010 w 3070583"/>
                  <a:gd name="connsiteY4" fmla="*/ 889508 h 2947124"/>
                  <a:gd name="connsiteX5" fmla="*/ 3070583 w 3070583"/>
                  <a:gd name="connsiteY5" fmla="*/ 1521599 h 2947124"/>
                  <a:gd name="connsiteX6" fmla="*/ 2723584 w 3070583"/>
                  <a:gd name="connsiteY6" fmla="*/ 1655572 h 2947124"/>
                  <a:gd name="connsiteX7" fmla="*/ 2664086 w 3070583"/>
                  <a:gd name="connsiteY7" fmla="*/ 2232836 h 2947124"/>
                  <a:gd name="connsiteX8" fmla="*/ 3013970 w 3070583"/>
                  <a:gd name="connsiteY8" fmla="*/ 2734810 h 2947124"/>
                  <a:gd name="connsiteX9" fmla="*/ 2892085 w 3070583"/>
                  <a:gd name="connsiteY9" fmla="*/ 2867220 h 2947124"/>
                  <a:gd name="connsiteX10" fmla="*/ 2078418 w 3070583"/>
                  <a:gd name="connsiteY10" fmla="*/ 2946142 h 2947124"/>
                  <a:gd name="connsiteX11" fmla="*/ 1973046 w 3070583"/>
                  <a:gd name="connsiteY11" fmla="*/ 2756742 h 2947124"/>
                  <a:gd name="connsiteX12" fmla="*/ 1491401 w 3070583"/>
                  <a:gd name="connsiteY12" fmla="*/ 2655967 h 2947124"/>
                  <a:gd name="connsiteX13" fmla="*/ 1483882 w 3070583"/>
                  <a:gd name="connsiteY13" fmla="*/ 2891569 h 2947124"/>
                  <a:gd name="connsiteX14" fmla="*/ 874143 w 3070583"/>
                  <a:gd name="connsiteY14" fmla="*/ 2947114 h 2947124"/>
                  <a:gd name="connsiteX15" fmla="*/ 758381 w 3070583"/>
                  <a:gd name="connsiteY15" fmla="*/ 2834488 h 2947124"/>
                  <a:gd name="connsiteX16" fmla="*/ 750127 w 3070583"/>
                  <a:gd name="connsiteY16" fmla="*/ 2233356 h 2947124"/>
                  <a:gd name="connsiteX17" fmla="*/ 181200 w 3070583"/>
                  <a:gd name="connsiteY17" fmla="*/ 2289076 h 2947124"/>
                  <a:gd name="connsiteX18" fmla="*/ 394351 w 3070583"/>
                  <a:gd name="connsiteY18" fmla="*/ 1553133 h 2947124"/>
                  <a:gd name="connsiteX19" fmla="*/ 742815 w 3070583"/>
                  <a:gd name="connsiteY19" fmla="*/ 1700825 h 2947124"/>
                  <a:gd name="connsiteX20" fmla="*/ 732115 w 3070583"/>
                  <a:gd name="connsiteY20" fmla="*/ 921609 h 2947124"/>
                  <a:gd name="connsiteX21" fmla="*/ 844742 w 3070583"/>
                  <a:gd name="connsiteY21" fmla="*/ 805847 h 2947124"/>
                  <a:gd name="connsiteX22" fmla="*/ 1599561 w 3070583"/>
                  <a:gd name="connsiteY22" fmla="*/ 795483 h 2947124"/>
                  <a:gd name="connsiteX23" fmla="*/ 1589005 w 3070583"/>
                  <a:gd name="connsiteY23" fmla="*/ 631738 h 2947124"/>
                  <a:gd name="connsiteX0" fmla="*/ 1589005 w 3070583"/>
                  <a:gd name="connsiteY0" fmla="*/ 631738 h 2947124"/>
                  <a:gd name="connsiteX1" fmla="*/ 2137852 w 3070583"/>
                  <a:gd name="connsiteY1" fmla="*/ 615465 h 2947124"/>
                  <a:gd name="connsiteX2" fmla="*/ 2132430 w 3070583"/>
                  <a:gd name="connsiteY2" fmla="*/ 788166 h 2947124"/>
                  <a:gd name="connsiteX3" fmla="*/ 2998821 w 3070583"/>
                  <a:gd name="connsiteY3" fmla="*/ 785246 h 2947124"/>
                  <a:gd name="connsiteX4" fmla="*/ 3070010 w 3070583"/>
                  <a:gd name="connsiteY4" fmla="*/ 889508 h 2947124"/>
                  <a:gd name="connsiteX5" fmla="*/ 3070583 w 3070583"/>
                  <a:gd name="connsiteY5" fmla="*/ 1521599 h 2947124"/>
                  <a:gd name="connsiteX6" fmla="*/ 2723584 w 3070583"/>
                  <a:gd name="connsiteY6" fmla="*/ 1655572 h 2947124"/>
                  <a:gd name="connsiteX7" fmla="*/ 2664086 w 3070583"/>
                  <a:gd name="connsiteY7" fmla="*/ 2232836 h 2947124"/>
                  <a:gd name="connsiteX8" fmla="*/ 3013970 w 3070583"/>
                  <a:gd name="connsiteY8" fmla="*/ 2734810 h 2947124"/>
                  <a:gd name="connsiteX9" fmla="*/ 2892085 w 3070583"/>
                  <a:gd name="connsiteY9" fmla="*/ 2867220 h 2947124"/>
                  <a:gd name="connsiteX10" fmla="*/ 2078418 w 3070583"/>
                  <a:gd name="connsiteY10" fmla="*/ 2946142 h 2947124"/>
                  <a:gd name="connsiteX11" fmla="*/ 1973046 w 3070583"/>
                  <a:gd name="connsiteY11" fmla="*/ 2756742 h 2947124"/>
                  <a:gd name="connsiteX12" fmla="*/ 1491401 w 3070583"/>
                  <a:gd name="connsiteY12" fmla="*/ 2655967 h 2947124"/>
                  <a:gd name="connsiteX13" fmla="*/ 1483882 w 3070583"/>
                  <a:gd name="connsiteY13" fmla="*/ 2891569 h 2947124"/>
                  <a:gd name="connsiteX14" fmla="*/ 874143 w 3070583"/>
                  <a:gd name="connsiteY14" fmla="*/ 2947114 h 2947124"/>
                  <a:gd name="connsiteX15" fmla="*/ 758381 w 3070583"/>
                  <a:gd name="connsiteY15" fmla="*/ 2834488 h 2947124"/>
                  <a:gd name="connsiteX16" fmla="*/ 750127 w 3070583"/>
                  <a:gd name="connsiteY16" fmla="*/ 2233356 h 2947124"/>
                  <a:gd name="connsiteX17" fmla="*/ 181200 w 3070583"/>
                  <a:gd name="connsiteY17" fmla="*/ 2289076 h 2947124"/>
                  <a:gd name="connsiteX18" fmla="*/ 394351 w 3070583"/>
                  <a:gd name="connsiteY18" fmla="*/ 1553133 h 2947124"/>
                  <a:gd name="connsiteX19" fmla="*/ 742815 w 3070583"/>
                  <a:gd name="connsiteY19" fmla="*/ 1700825 h 2947124"/>
                  <a:gd name="connsiteX20" fmla="*/ 732115 w 3070583"/>
                  <a:gd name="connsiteY20" fmla="*/ 921609 h 2947124"/>
                  <a:gd name="connsiteX21" fmla="*/ 844742 w 3070583"/>
                  <a:gd name="connsiteY21" fmla="*/ 805847 h 2947124"/>
                  <a:gd name="connsiteX22" fmla="*/ 1599561 w 3070583"/>
                  <a:gd name="connsiteY22" fmla="*/ 795483 h 2947124"/>
                  <a:gd name="connsiteX23" fmla="*/ 1589005 w 3070583"/>
                  <a:gd name="connsiteY23" fmla="*/ 631738 h 2947124"/>
                  <a:gd name="connsiteX0" fmla="*/ 1589005 w 3070583"/>
                  <a:gd name="connsiteY0" fmla="*/ 625963 h 2941349"/>
                  <a:gd name="connsiteX1" fmla="*/ 2121293 w 3070583"/>
                  <a:gd name="connsiteY1" fmla="*/ 621010 h 2941349"/>
                  <a:gd name="connsiteX2" fmla="*/ 2132430 w 3070583"/>
                  <a:gd name="connsiteY2" fmla="*/ 782391 h 2941349"/>
                  <a:gd name="connsiteX3" fmla="*/ 2998821 w 3070583"/>
                  <a:gd name="connsiteY3" fmla="*/ 779471 h 2941349"/>
                  <a:gd name="connsiteX4" fmla="*/ 3070010 w 3070583"/>
                  <a:gd name="connsiteY4" fmla="*/ 883733 h 2941349"/>
                  <a:gd name="connsiteX5" fmla="*/ 3070583 w 3070583"/>
                  <a:gd name="connsiteY5" fmla="*/ 1515824 h 2941349"/>
                  <a:gd name="connsiteX6" fmla="*/ 2723584 w 3070583"/>
                  <a:gd name="connsiteY6" fmla="*/ 1649797 h 2941349"/>
                  <a:gd name="connsiteX7" fmla="*/ 2664086 w 3070583"/>
                  <a:gd name="connsiteY7" fmla="*/ 2227061 h 2941349"/>
                  <a:gd name="connsiteX8" fmla="*/ 3013970 w 3070583"/>
                  <a:gd name="connsiteY8" fmla="*/ 2729035 h 2941349"/>
                  <a:gd name="connsiteX9" fmla="*/ 2892085 w 3070583"/>
                  <a:gd name="connsiteY9" fmla="*/ 2861445 h 2941349"/>
                  <a:gd name="connsiteX10" fmla="*/ 2078418 w 3070583"/>
                  <a:gd name="connsiteY10" fmla="*/ 2940367 h 2941349"/>
                  <a:gd name="connsiteX11" fmla="*/ 1973046 w 3070583"/>
                  <a:gd name="connsiteY11" fmla="*/ 2750967 h 2941349"/>
                  <a:gd name="connsiteX12" fmla="*/ 1491401 w 3070583"/>
                  <a:gd name="connsiteY12" fmla="*/ 2650192 h 2941349"/>
                  <a:gd name="connsiteX13" fmla="*/ 1483882 w 3070583"/>
                  <a:gd name="connsiteY13" fmla="*/ 2885794 h 2941349"/>
                  <a:gd name="connsiteX14" fmla="*/ 874143 w 3070583"/>
                  <a:gd name="connsiteY14" fmla="*/ 2941339 h 2941349"/>
                  <a:gd name="connsiteX15" fmla="*/ 758381 w 3070583"/>
                  <a:gd name="connsiteY15" fmla="*/ 2828713 h 2941349"/>
                  <a:gd name="connsiteX16" fmla="*/ 750127 w 3070583"/>
                  <a:gd name="connsiteY16" fmla="*/ 2227581 h 2941349"/>
                  <a:gd name="connsiteX17" fmla="*/ 181200 w 3070583"/>
                  <a:gd name="connsiteY17" fmla="*/ 2283301 h 2941349"/>
                  <a:gd name="connsiteX18" fmla="*/ 394351 w 3070583"/>
                  <a:gd name="connsiteY18" fmla="*/ 1547358 h 2941349"/>
                  <a:gd name="connsiteX19" fmla="*/ 742815 w 3070583"/>
                  <a:gd name="connsiteY19" fmla="*/ 1695050 h 2941349"/>
                  <a:gd name="connsiteX20" fmla="*/ 732115 w 3070583"/>
                  <a:gd name="connsiteY20" fmla="*/ 915834 h 2941349"/>
                  <a:gd name="connsiteX21" fmla="*/ 844742 w 3070583"/>
                  <a:gd name="connsiteY21" fmla="*/ 800072 h 2941349"/>
                  <a:gd name="connsiteX22" fmla="*/ 1599561 w 3070583"/>
                  <a:gd name="connsiteY22" fmla="*/ 789708 h 2941349"/>
                  <a:gd name="connsiteX23" fmla="*/ 1589005 w 3070583"/>
                  <a:gd name="connsiteY23" fmla="*/ 625963 h 2941349"/>
                  <a:gd name="connsiteX0" fmla="*/ 1589007 w 3070583"/>
                  <a:gd name="connsiteY0" fmla="*/ 625961 h 2941349"/>
                  <a:gd name="connsiteX1" fmla="*/ 2121293 w 3070583"/>
                  <a:gd name="connsiteY1" fmla="*/ 621010 h 2941349"/>
                  <a:gd name="connsiteX2" fmla="*/ 2132430 w 3070583"/>
                  <a:gd name="connsiteY2" fmla="*/ 782391 h 2941349"/>
                  <a:gd name="connsiteX3" fmla="*/ 2998821 w 3070583"/>
                  <a:gd name="connsiteY3" fmla="*/ 779471 h 2941349"/>
                  <a:gd name="connsiteX4" fmla="*/ 3070010 w 3070583"/>
                  <a:gd name="connsiteY4" fmla="*/ 883733 h 2941349"/>
                  <a:gd name="connsiteX5" fmla="*/ 3070583 w 3070583"/>
                  <a:gd name="connsiteY5" fmla="*/ 1515824 h 2941349"/>
                  <a:gd name="connsiteX6" fmla="*/ 2723584 w 3070583"/>
                  <a:gd name="connsiteY6" fmla="*/ 1649797 h 2941349"/>
                  <a:gd name="connsiteX7" fmla="*/ 2664086 w 3070583"/>
                  <a:gd name="connsiteY7" fmla="*/ 2227061 h 2941349"/>
                  <a:gd name="connsiteX8" fmla="*/ 3013970 w 3070583"/>
                  <a:gd name="connsiteY8" fmla="*/ 2729035 h 2941349"/>
                  <a:gd name="connsiteX9" fmla="*/ 2892085 w 3070583"/>
                  <a:gd name="connsiteY9" fmla="*/ 2861445 h 2941349"/>
                  <a:gd name="connsiteX10" fmla="*/ 2078418 w 3070583"/>
                  <a:gd name="connsiteY10" fmla="*/ 2940367 h 2941349"/>
                  <a:gd name="connsiteX11" fmla="*/ 1973046 w 3070583"/>
                  <a:gd name="connsiteY11" fmla="*/ 2750967 h 2941349"/>
                  <a:gd name="connsiteX12" fmla="*/ 1491401 w 3070583"/>
                  <a:gd name="connsiteY12" fmla="*/ 2650192 h 2941349"/>
                  <a:gd name="connsiteX13" fmla="*/ 1483882 w 3070583"/>
                  <a:gd name="connsiteY13" fmla="*/ 2885794 h 2941349"/>
                  <a:gd name="connsiteX14" fmla="*/ 874143 w 3070583"/>
                  <a:gd name="connsiteY14" fmla="*/ 2941339 h 2941349"/>
                  <a:gd name="connsiteX15" fmla="*/ 758381 w 3070583"/>
                  <a:gd name="connsiteY15" fmla="*/ 2828713 h 2941349"/>
                  <a:gd name="connsiteX16" fmla="*/ 750127 w 3070583"/>
                  <a:gd name="connsiteY16" fmla="*/ 2227581 h 2941349"/>
                  <a:gd name="connsiteX17" fmla="*/ 181200 w 3070583"/>
                  <a:gd name="connsiteY17" fmla="*/ 2283301 h 2941349"/>
                  <a:gd name="connsiteX18" fmla="*/ 394351 w 3070583"/>
                  <a:gd name="connsiteY18" fmla="*/ 1547358 h 2941349"/>
                  <a:gd name="connsiteX19" fmla="*/ 742815 w 3070583"/>
                  <a:gd name="connsiteY19" fmla="*/ 1695050 h 2941349"/>
                  <a:gd name="connsiteX20" fmla="*/ 732115 w 3070583"/>
                  <a:gd name="connsiteY20" fmla="*/ 915834 h 2941349"/>
                  <a:gd name="connsiteX21" fmla="*/ 844742 w 3070583"/>
                  <a:gd name="connsiteY21" fmla="*/ 800072 h 2941349"/>
                  <a:gd name="connsiteX22" fmla="*/ 1599561 w 3070583"/>
                  <a:gd name="connsiteY22" fmla="*/ 789708 h 2941349"/>
                  <a:gd name="connsiteX23" fmla="*/ 1589007 w 3070583"/>
                  <a:gd name="connsiteY23" fmla="*/ 625961 h 2941349"/>
                  <a:gd name="connsiteX0" fmla="*/ 1589007 w 3070583"/>
                  <a:gd name="connsiteY0" fmla="*/ 636663 h 2952051"/>
                  <a:gd name="connsiteX1" fmla="*/ 2121293 w 3070583"/>
                  <a:gd name="connsiteY1" fmla="*/ 631712 h 2952051"/>
                  <a:gd name="connsiteX2" fmla="*/ 2132430 w 3070583"/>
                  <a:gd name="connsiteY2" fmla="*/ 793093 h 2952051"/>
                  <a:gd name="connsiteX3" fmla="*/ 2998821 w 3070583"/>
                  <a:gd name="connsiteY3" fmla="*/ 790173 h 2952051"/>
                  <a:gd name="connsiteX4" fmla="*/ 3070010 w 3070583"/>
                  <a:gd name="connsiteY4" fmla="*/ 894435 h 2952051"/>
                  <a:gd name="connsiteX5" fmla="*/ 3070583 w 3070583"/>
                  <a:gd name="connsiteY5" fmla="*/ 1526526 h 2952051"/>
                  <a:gd name="connsiteX6" fmla="*/ 2723584 w 3070583"/>
                  <a:gd name="connsiteY6" fmla="*/ 1660499 h 2952051"/>
                  <a:gd name="connsiteX7" fmla="*/ 2664086 w 3070583"/>
                  <a:gd name="connsiteY7" fmla="*/ 2237763 h 2952051"/>
                  <a:gd name="connsiteX8" fmla="*/ 3013970 w 3070583"/>
                  <a:gd name="connsiteY8" fmla="*/ 2739737 h 2952051"/>
                  <a:gd name="connsiteX9" fmla="*/ 2892085 w 3070583"/>
                  <a:gd name="connsiteY9" fmla="*/ 2872147 h 2952051"/>
                  <a:gd name="connsiteX10" fmla="*/ 2078418 w 3070583"/>
                  <a:gd name="connsiteY10" fmla="*/ 2951069 h 2952051"/>
                  <a:gd name="connsiteX11" fmla="*/ 1973046 w 3070583"/>
                  <a:gd name="connsiteY11" fmla="*/ 2761669 h 2952051"/>
                  <a:gd name="connsiteX12" fmla="*/ 1491401 w 3070583"/>
                  <a:gd name="connsiteY12" fmla="*/ 2660894 h 2952051"/>
                  <a:gd name="connsiteX13" fmla="*/ 1483882 w 3070583"/>
                  <a:gd name="connsiteY13" fmla="*/ 2896496 h 2952051"/>
                  <a:gd name="connsiteX14" fmla="*/ 874143 w 3070583"/>
                  <a:gd name="connsiteY14" fmla="*/ 2952041 h 2952051"/>
                  <a:gd name="connsiteX15" fmla="*/ 758381 w 3070583"/>
                  <a:gd name="connsiteY15" fmla="*/ 2839415 h 2952051"/>
                  <a:gd name="connsiteX16" fmla="*/ 750127 w 3070583"/>
                  <a:gd name="connsiteY16" fmla="*/ 2238283 h 2952051"/>
                  <a:gd name="connsiteX17" fmla="*/ 181200 w 3070583"/>
                  <a:gd name="connsiteY17" fmla="*/ 2294003 h 2952051"/>
                  <a:gd name="connsiteX18" fmla="*/ 394351 w 3070583"/>
                  <a:gd name="connsiteY18" fmla="*/ 1558060 h 2952051"/>
                  <a:gd name="connsiteX19" fmla="*/ 742815 w 3070583"/>
                  <a:gd name="connsiteY19" fmla="*/ 1705752 h 2952051"/>
                  <a:gd name="connsiteX20" fmla="*/ 732115 w 3070583"/>
                  <a:gd name="connsiteY20" fmla="*/ 926536 h 2952051"/>
                  <a:gd name="connsiteX21" fmla="*/ 844742 w 3070583"/>
                  <a:gd name="connsiteY21" fmla="*/ 810774 h 2952051"/>
                  <a:gd name="connsiteX22" fmla="*/ 1599561 w 3070583"/>
                  <a:gd name="connsiteY22" fmla="*/ 800410 h 2952051"/>
                  <a:gd name="connsiteX23" fmla="*/ 1589007 w 3070583"/>
                  <a:gd name="connsiteY23" fmla="*/ 636663 h 2952051"/>
                  <a:gd name="connsiteX0" fmla="*/ 1589007 w 3070583"/>
                  <a:gd name="connsiteY0" fmla="*/ 643526 h 2958914"/>
                  <a:gd name="connsiteX1" fmla="*/ 2121293 w 3070583"/>
                  <a:gd name="connsiteY1" fmla="*/ 638575 h 2958914"/>
                  <a:gd name="connsiteX2" fmla="*/ 2132430 w 3070583"/>
                  <a:gd name="connsiteY2" fmla="*/ 799956 h 2958914"/>
                  <a:gd name="connsiteX3" fmla="*/ 2998821 w 3070583"/>
                  <a:gd name="connsiteY3" fmla="*/ 797036 h 2958914"/>
                  <a:gd name="connsiteX4" fmla="*/ 3070010 w 3070583"/>
                  <a:gd name="connsiteY4" fmla="*/ 901298 h 2958914"/>
                  <a:gd name="connsiteX5" fmla="*/ 3070583 w 3070583"/>
                  <a:gd name="connsiteY5" fmla="*/ 1533389 h 2958914"/>
                  <a:gd name="connsiteX6" fmla="*/ 2723584 w 3070583"/>
                  <a:gd name="connsiteY6" fmla="*/ 1667362 h 2958914"/>
                  <a:gd name="connsiteX7" fmla="*/ 2664086 w 3070583"/>
                  <a:gd name="connsiteY7" fmla="*/ 2244626 h 2958914"/>
                  <a:gd name="connsiteX8" fmla="*/ 3013970 w 3070583"/>
                  <a:gd name="connsiteY8" fmla="*/ 2746600 h 2958914"/>
                  <a:gd name="connsiteX9" fmla="*/ 2892085 w 3070583"/>
                  <a:gd name="connsiteY9" fmla="*/ 2879010 h 2958914"/>
                  <a:gd name="connsiteX10" fmla="*/ 2078418 w 3070583"/>
                  <a:gd name="connsiteY10" fmla="*/ 2957932 h 2958914"/>
                  <a:gd name="connsiteX11" fmla="*/ 1973046 w 3070583"/>
                  <a:gd name="connsiteY11" fmla="*/ 2768532 h 2958914"/>
                  <a:gd name="connsiteX12" fmla="*/ 1491401 w 3070583"/>
                  <a:gd name="connsiteY12" fmla="*/ 2667757 h 2958914"/>
                  <a:gd name="connsiteX13" fmla="*/ 1483882 w 3070583"/>
                  <a:gd name="connsiteY13" fmla="*/ 2903359 h 2958914"/>
                  <a:gd name="connsiteX14" fmla="*/ 874143 w 3070583"/>
                  <a:gd name="connsiteY14" fmla="*/ 2958904 h 2958914"/>
                  <a:gd name="connsiteX15" fmla="*/ 758381 w 3070583"/>
                  <a:gd name="connsiteY15" fmla="*/ 2846278 h 2958914"/>
                  <a:gd name="connsiteX16" fmla="*/ 750127 w 3070583"/>
                  <a:gd name="connsiteY16" fmla="*/ 2245146 h 2958914"/>
                  <a:gd name="connsiteX17" fmla="*/ 181200 w 3070583"/>
                  <a:gd name="connsiteY17" fmla="*/ 2300866 h 2958914"/>
                  <a:gd name="connsiteX18" fmla="*/ 394351 w 3070583"/>
                  <a:gd name="connsiteY18" fmla="*/ 1564923 h 2958914"/>
                  <a:gd name="connsiteX19" fmla="*/ 742815 w 3070583"/>
                  <a:gd name="connsiteY19" fmla="*/ 1712615 h 2958914"/>
                  <a:gd name="connsiteX20" fmla="*/ 732115 w 3070583"/>
                  <a:gd name="connsiteY20" fmla="*/ 933399 h 2958914"/>
                  <a:gd name="connsiteX21" fmla="*/ 844742 w 3070583"/>
                  <a:gd name="connsiteY21" fmla="*/ 817637 h 2958914"/>
                  <a:gd name="connsiteX22" fmla="*/ 1599561 w 3070583"/>
                  <a:gd name="connsiteY22" fmla="*/ 807273 h 2958914"/>
                  <a:gd name="connsiteX23" fmla="*/ 1589007 w 3070583"/>
                  <a:gd name="connsiteY23" fmla="*/ 643526 h 2958914"/>
                  <a:gd name="connsiteX0" fmla="*/ 1589007 w 3070583"/>
                  <a:gd name="connsiteY0" fmla="*/ 643526 h 2958914"/>
                  <a:gd name="connsiteX1" fmla="*/ 2121293 w 3070583"/>
                  <a:gd name="connsiteY1" fmla="*/ 638575 h 2958914"/>
                  <a:gd name="connsiteX2" fmla="*/ 2132430 w 3070583"/>
                  <a:gd name="connsiteY2" fmla="*/ 799956 h 2958914"/>
                  <a:gd name="connsiteX3" fmla="*/ 2998821 w 3070583"/>
                  <a:gd name="connsiteY3" fmla="*/ 797036 h 2958914"/>
                  <a:gd name="connsiteX4" fmla="*/ 3070010 w 3070583"/>
                  <a:gd name="connsiteY4" fmla="*/ 901298 h 2958914"/>
                  <a:gd name="connsiteX5" fmla="*/ 3070583 w 3070583"/>
                  <a:gd name="connsiteY5" fmla="*/ 1533389 h 2958914"/>
                  <a:gd name="connsiteX6" fmla="*/ 2723584 w 3070583"/>
                  <a:gd name="connsiteY6" fmla="*/ 1667362 h 2958914"/>
                  <a:gd name="connsiteX7" fmla="*/ 2664086 w 3070583"/>
                  <a:gd name="connsiteY7" fmla="*/ 2244626 h 2958914"/>
                  <a:gd name="connsiteX8" fmla="*/ 3013970 w 3070583"/>
                  <a:gd name="connsiteY8" fmla="*/ 2746600 h 2958914"/>
                  <a:gd name="connsiteX9" fmla="*/ 2892085 w 3070583"/>
                  <a:gd name="connsiteY9" fmla="*/ 2879010 h 2958914"/>
                  <a:gd name="connsiteX10" fmla="*/ 2078418 w 3070583"/>
                  <a:gd name="connsiteY10" fmla="*/ 2957932 h 2958914"/>
                  <a:gd name="connsiteX11" fmla="*/ 1973046 w 3070583"/>
                  <a:gd name="connsiteY11" fmla="*/ 2768532 h 2958914"/>
                  <a:gd name="connsiteX12" fmla="*/ 1491401 w 3070583"/>
                  <a:gd name="connsiteY12" fmla="*/ 2667757 h 2958914"/>
                  <a:gd name="connsiteX13" fmla="*/ 1483882 w 3070583"/>
                  <a:gd name="connsiteY13" fmla="*/ 2903359 h 2958914"/>
                  <a:gd name="connsiteX14" fmla="*/ 874143 w 3070583"/>
                  <a:gd name="connsiteY14" fmla="*/ 2958904 h 2958914"/>
                  <a:gd name="connsiteX15" fmla="*/ 758381 w 3070583"/>
                  <a:gd name="connsiteY15" fmla="*/ 2846278 h 2958914"/>
                  <a:gd name="connsiteX16" fmla="*/ 750127 w 3070583"/>
                  <a:gd name="connsiteY16" fmla="*/ 2245146 h 2958914"/>
                  <a:gd name="connsiteX17" fmla="*/ 181200 w 3070583"/>
                  <a:gd name="connsiteY17" fmla="*/ 2300866 h 2958914"/>
                  <a:gd name="connsiteX18" fmla="*/ 394351 w 3070583"/>
                  <a:gd name="connsiteY18" fmla="*/ 1564923 h 2958914"/>
                  <a:gd name="connsiteX19" fmla="*/ 742815 w 3070583"/>
                  <a:gd name="connsiteY19" fmla="*/ 1712615 h 2958914"/>
                  <a:gd name="connsiteX20" fmla="*/ 732115 w 3070583"/>
                  <a:gd name="connsiteY20" fmla="*/ 933399 h 2958914"/>
                  <a:gd name="connsiteX21" fmla="*/ 844742 w 3070583"/>
                  <a:gd name="connsiteY21" fmla="*/ 817637 h 2958914"/>
                  <a:gd name="connsiteX22" fmla="*/ 1599561 w 3070583"/>
                  <a:gd name="connsiteY22" fmla="*/ 807273 h 2958914"/>
                  <a:gd name="connsiteX23" fmla="*/ 1589007 w 3070583"/>
                  <a:gd name="connsiteY23" fmla="*/ 643526 h 2958914"/>
                  <a:gd name="connsiteX0" fmla="*/ 1589007 w 3070583"/>
                  <a:gd name="connsiteY0" fmla="*/ 643526 h 2958914"/>
                  <a:gd name="connsiteX1" fmla="*/ 2121293 w 3070583"/>
                  <a:gd name="connsiteY1" fmla="*/ 638575 h 2958914"/>
                  <a:gd name="connsiteX2" fmla="*/ 2132430 w 3070583"/>
                  <a:gd name="connsiteY2" fmla="*/ 799956 h 2958914"/>
                  <a:gd name="connsiteX3" fmla="*/ 2998821 w 3070583"/>
                  <a:gd name="connsiteY3" fmla="*/ 797036 h 2958914"/>
                  <a:gd name="connsiteX4" fmla="*/ 3070010 w 3070583"/>
                  <a:gd name="connsiteY4" fmla="*/ 901298 h 2958914"/>
                  <a:gd name="connsiteX5" fmla="*/ 3070583 w 3070583"/>
                  <a:gd name="connsiteY5" fmla="*/ 1533389 h 2958914"/>
                  <a:gd name="connsiteX6" fmla="*/ 2723584 w 3070583"/>
                  <a:gd name="connsiteY6" fmla="*/ 1667362 h 2958914"/>
                  <a:gd name="connsiteX7" fmla="*/ 2664086 w 3070583"/>
                  <a:gd name="connsiteY7" fmla="*/ 2244626 h 2958914"/>
                  <a:gd name="connsiteX8" fmla="*/ 3013970 w 3070583"/>
                  <a:gd name="connsiteY8" fmla="*/ 2746600 h 2958914"/>
                  <a:gd name="connsiteX9" fmla="*/ 2892085 w 3070583"/>
                  <a:gd name="connsiteY9" fmla="*/ 2879010 h 2958914"/>
                  <a:gd name="connsiteX10" fmla="*/ 2078418 w 3070583"/>
                  <a:gd name="connsiteY10" fmla="*/ 2957932 h 2958914"/>
                  <a:gd name="connsiteX11" fmla="*/ 1973046 w 3070583"/>
                  <a:gd name="connsiteY11" fmla="*/ 2768532 h 2958914"/>
                  <a:gd name="connsiteX12" fmla="*/ 1491401 w 3070583"/>
                  <a:gd name="connsiteY12" fmla="*/ 2667757 h 2958914"/>
                  <a:gd name="connsiteX13" fmla="*/ 1483882 w 3070583"/>
                  <a:gd name="connsiteY13" fmla="*/ 2903359 h 2958914"/>
                  <a:gd name="connsiteX14" fmla="*/ 874143 w 3070583"/>
                  <a:gd name="connsiteY14" fmla="*/ 2958904 h 2958914"/>
                  <a:gd name="connsiteX15" fmla="*/ 758381 w 3070583"/>
                  <a:gd name="connsiteY15" fmla="*/ 2846278 h 2958914"/>
                  <a:gd name="connsiteX16" fmla="*/ 750127 w 3070583"/>
                  <a:gd name="connsiteY16" fmla="*/ 2245146 h 2958914"/>
                  <a:gd name="connsiteX17" fmla="*/ 181200 w 3070583"/>
                  <a:gd name="connsiteY17" fmla="*/ 2300866 h 2958914"/>
                  <a:gd name="connsiteX18" fmla="*/ 394351 w 3070583"/>
                  <a:gd name="connsiteY18" fmla="*/ 1564923 h 2958914"/>
                  <a:gd name="connsiteX19" fmla="*/ 742815 w 3070583"/>
                  <a:gd name="connsiteY19" fmla="*/ 1712615 h 2958914"/>
                  <a:gd name="connsiteX20" fmla="*/ 732115 w 3070583"/>
                  <a:gd name="connsiteY20" fmla="*/ 933399 h 2958914"/>
                  <a:gd name="connsiteX21" fmla="*/ 844742 w 3070583"/>
                  <a:gd name="connsiteY21" fmla="*/ 817637 h 2958914"/>
                  <a:gd name="connsiteX22" fmla="*/ 1599561 w 3070583"/>
                  <a:gd name="connsiteY22" fmla="*/ 807273 h 2958914"/>
                  <a:gd name="connsiteX23" fmla="*/ 1589007 w 3070583"/>
                  <a:gd name="connsiteY23" fmla="*/ 643526 h 2958914"/>
                  <a:gd name="connsiteX0" fmla="*/ 1589007 w 3070583"/>
                  <a:gd name="connsiteY0" fmla="*/ 643526 h 2958914"/>
                  <a:gd name="connsiteX1" fmla="*/ 2121293 w 3070583"/>
                  <a:gd name="connsiteY1" fmla="*/ 638575 h 2958914"/>
                  <a:gd name="connsiteX2" fmla="*/ 2132430 w 3070583"/>
                  <a:gd name="connsiteY2" fmla="*/ 799956 h 2958914"/>
                  <a:gd name="connsiteX3" fmla="*/ 2998821 w 3070583"/>
                  <a:gd name="connsiteY3" fmla="*/ 797036 h 2958914"/>
                  <a:gd name="connsiteX4" fmla="*/ 3070010 w 3070583"/>
                  <a:gd name="connsiteY4" fmla="*/ 901298 h 2958914"/>
                  <a:gd name="connsiteX5" fmla="*/ 3070583 w 3070583"/>
                  <a:gd name="connsiteY5" fmla="*/ 1533389 h 2958914"/>
                  <a:gd name="connsiteX6" fmla="*/ 2723584 w 3070583"/>
                  <a:gd name="connsiteY6" fmla="*/ 1667362 h 2958914"/>
                  <a:gd name="connsiteX7" fmla="*/ 2664086 w 3070583"/>
                  <a:gd name="connsiteY7" fmla="*/ 2244626 h 2958914"/>
                  <a:gd name="connsiteX8" fmla="*/ 3013970 w 3070583"/>
                  <a:gd name="connsiteY8" fmla="*/ 2746600 h 2958914"/>
                  <a:gd name="connsiteX9" fmla="*/ 2892085 w 3070583"/>
                  <a:gd name="connsiteY9" fmla="*/ 2879010 h 2958914"/>
                  <a:gd name="connsiteX10" fmla="*/ 2078418 w 3070583"/>
                  <a:gd name="connsiteY10" fmla="*/ 2957932 h 2958914"/>
                  <a:gd name="connsiteX11" fmla="*/ 1973046 w 3070583"/>
                  <a:gd name="connsiteY11" fmla="*/ 2768532 h 2958914"/>
                  <a:gd name="connsiteX12" fmla="*/ 1491401 w 3070583"/>
                  <a:gd name="connsiteY12" fmla="*/ 2667757 h 2958914"/>
                  <a:gd name="connsiteX13" fmla="*/ 1483882 w 3070583"/>
                  <a:gd name="connsiteY13" fmla="*/ 2903359 h 2958914"/>
                  <a:gd name="connsiteX14" fmla="*/ 874143 w 3070583"/>
                  <a:gd name="connsiteY14" fmla="*/ 2958904 h 2958914"/>
                  <a:gd name="connsiteX15" fmla="*/ 758381 w 3070583"/>
                  <a:gd name="connsiteY15" fmla="*/ 2846278 h 2958914"/>
                  <a:gd name="connsiteX16" fmla="*/ 750127 w 3070583"/>
                  <a:gd name="connsiteY16" fmla="*/ 2245146 h 2958914"/>
                  <a:gd name="connsiteX17" fmla="*/ 181200 w 3070583"/>
                  <a:gd name="connsiteY17" fmla="*/ 2300866 h 2958914"/>
                  <a:gd name="connsiteX18" fmla="*/ 394351 w 3070583"/>
                  <a:gd name="connsiteY18" fmla="*/ 1564923 h 2958914"/>
                  <a:gd name="connsiteX19" fmla="*/ 742815 w 3070583"/>
                  <a:gd name="connsiteY19" fmla="*/ 1712615 h 2958914"/>
                  <a:gd name="connsiteX20" fmla="*/ 732115 w 3070583"/>
                  <a:gd name="connsiteY20" fmla="*/ 933399 h 2958914"/>
                  <a:gd name="connsiteX21" fmla="*/ 844742 w 3070583"/>
                  <a:gd name="connsiteY21" fmla="*/ 817637 h 2958914"/>
                  <a:gd name="connsiteX22" fmla="*/ 1599561 w 3070583"/>
                  <a:gd name="connsiteY22" fmla="*/ 807273 h 2958914"/>
                  <a:gd name="connsiteX23" fmla="*/ 1589007 w 3070583"/>
                  <a:gd name="connsiteY23" fmla="*/ 643526 h 2958914"/>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23584 w 3070583"/>
                  <a:gd name="connsiteY6" fmla="*/ 1674128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23584 w 3070583"/>
                  <a:gd name="connsiteY6" fmla="*/ 1674128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23584 w 3070583"/>
                  <a:gd name="connsiteY6" fmla="*/ 1674128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23584 w 3070583"/>
                  <a:gd name="connsiteY6" fmla="*/ 1674128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23584 w 3070583"/>
                  <a:gd name="connsiteY6" fmla="*/ 1674128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23584 w 3070583"/>
                  <a:gd name="connsiteY6" fmla="*/ 1674128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23584 w 3070583"/>
                  <a:gd name="connsiteY6" fmla="*/ 1674128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64550 w 3070583"/>
                  <a:gd name="connsiteY6" fmla="*/ 1696914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764550 w 3070583"/>
                  <a:gd name="connsiteY6" fmla="*/ 1696914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665528 w 3070583"/>
                  <a:gd name="connsiteY6" fmla="*/ 1682067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696829 w 3070583"/>
                  <a:gd name="connsiteY6" fmla="*/ 1686067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696829 w 3070583"/>
                  <a:gd name="connsiteY6" fmla="*/ 1686067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696829 w 3070583"/>
                  <a:gd name="connsiteY6" fmla="*/ 1686067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696829 w 3070583"/>
                  <a:gd name="connsiteY6" fmla="*/ 1686067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83037 w 3070583"/>
                  <a:gd name="connsiteY0" fmla="*/ 636914 h 2965680"/>
                  <a:gd name="connsiteX1" fmla="*/ 2121293 w 3070583"/>
                  <a:gd name="connsiteY1" fmla="*/ 645341 h 2965680"/>
                  <a:gd name="connsiteX2" fmla="*/ 2132430 w 3070583"/>
                  <a:gd name="connsiteY2" fmla="*/ 806722 h 2965680"/>
                  <a:gd name="connsiteX3" fmla="*/ 2998821 w 3070583"/>
                  <a:gd name="connsiteY3" fmla="*/ 803802 h 2965680"/>
                  <a:gd name="connsiteX4" fmla="*/ 3070010 w 3070583"/>
                  <a:gd name="connsiteY4" fmla="*/ 908064 h 2965680"/>
                  <a:gd name="connsiteX5" fmla="*/ 3070583 w 3070583"/>
                  <a:gd name="connsiteY5" fmla="*/ 1540155 h 2965680"/>
                  <a:gd name="connsiteX6" fmla="*/ 2696829 w 3070583"/>
                  <a:gd name="connsiteY6" fmla="*/ 1686067 h 2965680"/>
                  <a:gd name="connsiteX7" fmla="*/ 2664086 w 3070583"/>
                  <a:gd name="connsiteY7" fmla="*/ 2251392 h 2965680"/>
                  <a:gd name="connsiteX8" fmla="*/ 3013970 w 3070583"/>
                  <a:gd name="connsiteY8" fmla="*/ 2753366 h 2965680"/>
                  <a:gd name="connsiteX9" fmla="*/ 2892085 w 3070583"/>
                  <a:gd name="connsiteY9" fmla="*/ 2885776 h 2965680"/>
                  <a:gd name="connsiteX10" fmla="*/ 2078418 w 3070583"/>
                  <a:gd name="connsiteY10" fmla="*/ 2964698 h 2965680"/>
                  <a:gd name="connsiteX11" fmla="*/ 1973046 w 3070583"/>
                  <a:gd name="connsiteY11" fmla="*/ 2775298 h 2965680"/>
                  <a:gd name="connsiteX12" fmla="*/ 1491401 w 3070583"/>
                  <a:gd name="connsiteY12" fmla="*/ 2674523 h 2965680"/>
                  <a:gd name="connsiteX13" fmla="*/ 1483882 w 3070583"/>
                  <a:gd name="connsiteY13" fmla="*/ 2910125 h 2965680"/>
                  <a:gd name="connsiteX14" fmla="*/ 874143 w 3070583"/>
                  <a:gd name="connsiteY14" fmla="*/ 2965670 h 2965680"/>
                  <a:gd name="connsiteX15" fmla="*/ 758381 w 3070583"/>
                  <a:gd name="connsiteY15" fmla="*/ 2853044 h 2965680"/>
                  <a:gd name="connsiteX16" fmla="*/ 750127 w 3070583"/>
                  <a:gd name="connsiteY16" fmla="*/ 2251912 h 2965680"/>
                  <a:gd name="connsiteX17" fmla="*/ 181200 w 3070583"/>
                  <a:gd name="connsiteY17" fmla="*/ 2307632 h 2965680"/>
                  <a:gd name="connsiteX18" fmla="*/ 394351 w 3070583"/>
                  <a:gd name="connsiteY18" fmla="*/ 1571689 h 2965680"/>
                  <a:gd name="connsiteX19" fmla="*/ 742815 w 3070583"/>
                  <a:gd name="connsiteY19" fmla="*/ 1719381 h 2965680"/>
                  <a:gd name="connsiteX20" fmla="*/ 732115 w 3070583"/>
                  <a:gd name="connsiteY20" fmla="*/ 940165 h 2965680"/>
                  <a:gd name="connsiteX21" fmla="*/ 844742 w 3070583"/>
                  <a:gd name="connsiteY21" fmla="*/ 824403 h 2965680"/>
                  <a:gd name="connsiteX22" fmla="*/ 1599561 w 3070583"/>
                  <a:gd name="connsiteY22" fmla="*/ 814039 h 2965680"/>
                  <a:gd name="connsiteX23" fmla="*/ 1583037 w 3070583"/>
                  <a:gd name="connsiteY23" fmla="*/ 636914 h 2965680"/>
                  <a:gd name="connsiteX0" fmla="*/ 1595172 w 3082718"/>
                  <a:gd name="connsiteY0" fmla="*/ 636914 h 2965680"/>
                  <a:gd name="connsiteX1" fmla="*/ 2133428 w 3082718"/>
                  <a:gd name="connsiteY1" fmla="*/ 645341 h 2965680"/>
                  <a:gd name="connsiteX2" fmla="*/ 2144565 w 3082718"/>
                  <a:gd name="connsiteY2" fmla="*/ 806722 h 2965680"/>
                  <a:gd name="connsiteX3" fmla="*/ 3010956 w 3082718"/>
                  <a:gd name="connsiteY3" fmla="*/ 803802 h 2965680"/>
                  <a:gd name="connsiteX4" fmla="*/ 3082145 w 3082718"/>
                  <a:gd name="connsiteY4" fmla="*/ 908064 h 2965680"/>
                  <a:gd name="connsiteX5" fmla="*/ 3082718 w 3082718"/>
                  <a:gd name="connsiteY5" fmla="*/ 1540155 h 2965680"/>
                  <a:gd name="connsiteX6" fmla="*/ 2708964 w 3082718"/>
                  <a:gd name="connsiteY6" fmla="*/ 1686067 h 2965680"/>
                  <a:gd name="connsiteX7" fmla="*/ 2676221 w 3082718"/>
                  <a:gd name="connsiteY7" fmla="*/ 2251392 h 2965680"/>
                  <a:gd name="connsiteX8" fmla="*/ 3026105 w 3082718"/>
                  <a:gd name="connsiteY8" fmla="*/ 2753366 h 2965680"/>
                  <a:gd name="connsiteX9" fmla="*/ 2904220 w 3082718"/>
                  <a:gd name="connsiteY9" fmla="*/ 2885776 h 2965680"/>
                  <a:gd name="connsiteX10" fmla="*/ 2090553 w 3082718"/>
                  <a:gd name="connsiteY10" fmla="*/ 2964698 h 2965680"/>
                  <a:gd name="connsiteX11" fmla="*/ 1985181 w 3082718"/>
                  <a:gd name="connsiteY11" fmla="*/ 2775298 h 2965680"/>
                  <a:gd name="connsiteX12" fmla="*/ 1503536 w 3082718"/>
                  <a:gd name="connsiteY12" fmla="*/ 2674523 h 2965680"/>
                  <a:gd name="connsiteX13" fmla="*/ 1496017 w 3082718"/>
                  <a:gd name="connsiteY13" fmla="*/ 2910125 h 2965680"/>
                  <a:gd name="connsiteX14" fmla="*/ 886278 w 3082718"/>
                  <a:gd name="connsiteY14" fmla="*/ 2965670 h 2965680"/>
                  <a:gd name="connsiteX15" fmla="*/ 770516 w 3082718"/>
                  <a:gd name="connsiteY15" fmla="*/ 2853044 h 2965680"/>
                  <a:gd name="connsiteX16" fmla="*/ 762262 w 3082718"/>
                  <a:gd name="connsiteY16" fmla="*/ 2251912 h 2965680"/>
                  <a:gd name="connsiteX17" fmla="*/ 193335 w 3082718"/>
                  <a:gd name="connsiteY17" fmla="*/ 2307632 h 2965680"/>
                  <a:gd name="connsiteX18" fmla="*/ 406486 w 3082718"/>
                  <a:gd name="connsiteY18" fmla="*/ 1571689 h 2965680"/>
                  <a:gd name="connsiteX19" fmla="*/ 754950 w 3082718"/>
                  <a:gd name="connsiteY19" fmla="*/ 1719381 h 2965680"/>
                  <a:gd name="connsiteX20" fmla="*/ 744250 w 3082718"/>
                  <a:gd name="connsiteY20" fmla="*/ 940165 h 2965680"/>
                  <a:gd name="connsiteX21" fmla="*/ 856877 w 3082718"/>
                  <a:gd name="connsiteY21" fmla="*/ 824403 h 2965680"/>
                  <a:gd name="connsiteX22" fmla="*/ 1611696 w 3082718"/>
                  <a:gd name="connsiteY22" fmla="*/ 814039 h 2965680"/>
                  <a:gd name="connsiteX23" fmla="*/ 1595172 w 3082718"/>
                  <a:gd name="connsiteY23" fmla="*/ 636914 h 2965680"/>
                  <a:gd name="connsiteX0" fmla="*/ 1595172 w 3082718"/>
                  <a:gd name="connsiteY0" fmla="*/ 631803 h 2960569"/>
                  <a:gd name="connsiteX1" fmla="*/ 2133428 w 3082718"/>
                  <a:gd name="connsiteY1" fmla="*/ 640230 h 2960569"/>
                  <a:gd name="connsiteX2" fmla="*/ 2144565 w 3082718"/>
                  <a:gd name="connsiteY2" fmla="*/ 801611 h 2960569"/>
                  <a:gd name="connsiteX3" fmla="*/ 3010956 w 3082718"/>
                  <a:gd name="connsiteY3" fmla="*/ 798691 h 2960569"/>
                  <a:gd name="connsiteX4" fmla="*/ 3082145 w 3082718"/>
                  <a:gd name="connsiteY4" fmla="*/ 902953 h 2960569"/>
                  <a:gd name="connsiteX5" fmla="*/ 3082718 w 3082718"/>
                  <a:gd name="connsiteY5" fmla="*/ 1535044 h 2960569"/>
                  <a:gd name="connsiteX6" fmla="*/ 2708964 w 3082718"/>
                  <a:gd name="connsiteY6" fmla="*/ 1680956 h 2960569"/>
                  <a:gd name="connsiteX7" fmla="*/ 2676221 w 3082718"/>
                  <a:gd name="connsiteY7" fmla="*/ 2246281 h 2960569"/>
                  <a:gd name="connsiteX8" fmla="*/ 3026105 w 3082718"/>
                  <a:gd name="connsiteY8" fmla="*/ 2748255 h 2960569"/>
                  <a:gd name="connsiteX9" fmla="*/ 2904220 w 3082718"/>
                  <a:gd name="connsiteY9" fmla="*/ 2880665 h 2960569"/>
                  <a:gd name="connsiteX10" fmla="*/ 2090553 w 3082718"/>
                  <a:gd name="connsiteY10" fmla="*/ 2959587 h 2960569"/>
                  <a:gd name="connsiteX11" fmla="*/ 1985181 w 3082718"/>
                  <a:gd name="connsiteY11" fmla="*/ 2770187 h 2960569"/>
                  <a:gd name="connsiteX12" fmla="*/ 1503536 w 3082718"/>
                  <a:gd name="connsiteY12" fmla="*/ 2669412 h 2960569"/>
                  <a:gd name="connsiteX13" fmla="*/ 1496017 w 3082718"/>
                  <a:gd name="connsiteY13" fmla="*/ 2905014 h 2960569"/>
                  <a:gd name="connsiteX14" fmla="*/ 886278 w 3082718"/>
                  <a:gd name="connsiteY14" fmla="*/ 2960559 h 2960569"/>
                  <a:gd name="connsiteX15" fmla="*/ 770516 w 3082718"/>
                  <a:gd name="connsiteY15" fmla="*/ 2847933 h 2960569"/>
                  <a:gd name="connsiteX16" fmla="*/ 762262 w 3082718"/>
                  <a:gd name="connsiteY16" fmla="*/ 2246801 h 2960569"/>
                  <a:gd name="connsiteX17" fmla="*/ 193335 w 3082718"/>
                  <a:gd name="connsiteY17" fmla="*/ 2302521 h 2960569"/>
                  <a:gd name="connsiteX18" fmla="*/ 406486 w 3082718"/>
                  <a:gd name="connsiteY18" fmla="*/ 1566578 h 2960569"/>
                  <a:gd name="connsiteX19" fmla="*/ 754950 w 3082718"/>
                  <a:gd name="connsiteY19" fmla="*/ 1714270 h 2960569"/>
                  <a:gd name="connsiteX20" fmla="*/ 744250 w 3082718"/>
                  <a:gd name="connsiteY20" fmla="*/ 935054 h 2960569"/>
                  <a:gd name="connsiteX21" fmla="*/ 856877 w 3082718"/>
                  <a:gd name="connsiteY21" fmla="*/ 819292 h 2960569"/>
                  <a:gd name="connsiteX22" fmla="*/ 1611696 w 3082718"/>
                  <a:gd name="connsiteY22" fmla="*/ 808928 h 2960569"/>
                  <a:gd name="connsiteX23" fmla="*/ 1595172 w 3082718"/>
                  <a:gd name="connsiteY23" fmla="*/ 631803 h 2960569"/>
                  <a:gd name="connsiteX0" fmla="*/ 1595172 w 3082718"/>
                  <a:gd name="connsiteY0" fmla="*/ 609883 h 2938649"/>
                  <a:gd name="connsiteX1" fmla="*/ 2133428 w 3082718"/>
                  <a:gd name="connsiteY1" fmla="*/ 618310 h 2938649"/>
                  <a:gd name="connsiteX2" fmla="*/ 2144565 w 3082718"/>
                  <a:gd name="connsiteY2" fmla="*/ 779691 h 2938649"/>
                  <a:gd name="connsiteX3" fmla="*/ 3010956 w 3082718"/>
                  <a:gd name="connsiteY3" fmla="*/ 776771 h 2938649"/>
                  <a:gd name="connsiteX4" fmla="*/ 3082145 w 3082718"/>
                  <a:gd name="connsiteY4" fmla="*/ 881033 h 2938649"/>
                  <a:gd name="connsiteX5" fmla="*/ 3082718 w 3082718"/>
                  <a:gd name="connsiteY5" fmla="*/ 1513124 h 2938649"/>
                  <a:gd name="connsiteX6" fmla="*/ 2708964 w 3082718"/>
                  <a:gd name="connsiteY6" fmla="*/ 1659036 h 2938649"/>
                  <a:gd name="connsiteX7" fmla="*/ 2676221 w 3082718"/>
                  <a:gd name="connsiteY7" fmla="*/ 2224361 h 2938649"/>
                  <a:gd name="connsiteX8" fmla="*/ 3026105 w 3082718"/>
                  <a:gd name="connsiteY8" fmla="*/ 2726335 h 2938649"/>
                  <a:gd name="connsiteX9" fmla="*/ 2904220 w 3082718"/>
                  <a:gd name="connsiteY9" fmla="*/ 2858745 h 2938649"/>
                  <a:gd name="connsiteX10" fmla="*/ 2090553 w 3082718"/>
                  <a:gd name="connsiteY10" fmla="*/ 2937667 h 2938649"/>
                  <a:gd name="connsiteX11" fmla="*/ 1985181 w 3082718"/>
                  <a:gd name="connsiteY11" fmla="*/ 2748267 h 2938649"/>
                  <a:gd name="connsiteX12" fmla="*/ 1503536 w 3082718"/>
                  <a:gd name="connsiteY12" fmla="*/ 2647492 h 2938649"/>
                  <a:gd name="connsiteX13" fmla="*/ 1496017 w 3082718"/>
                  <a:gd name="connsiteY13" fmla="*/ 2883094 h 2938649"/>
                  <a:gd name="connsiteX14" fmla="*/ 886278 w 3082718"/>
                  <a:gd name="connsiteY14" fmla="*/ 2938639 h 2938649"/>
                  <a:gd name="connsiteX15" fmla="*/ 770516 w 3082718"/>
                  <a:gd name="connsiteY15" fmla="*/ 2826013 h 2938649"/>
                  <a:gd name="connsiteX16" fmla="*/ 762262 w 3082718"/>
                  <a:gd name="connsiteY16" fmla="*/ 2224881 h 2938649"/>
                  <a:gd name="connsiteX17" fmla="*/ 193335 w 3082718"/>
                  <a:gd name="connsiteY17" fmla="*/ 2280601 h 2938649"/>
                  <a:gd name="connsiteX18" fmla="*/ 406486 w 3082718"/>
                  <a:gd name="connsiteY18" fmla="*/ 1544658 h 2938649"/>
                  <a:gd name="connsiteX19" fmla="*/ 754950 w 3082718"/>
                  <a:gd name="connsiteY19" fmla="*/ 1692350 h 2938649"/>
                  <a:gd name="connsiteX20" fmla="*/ 744250 w 3082718"/>
                  <a:gd name="connsiteY20" fmla="*/ 913134 h 2938649"/>
                  <a:gd name="connsiteX21" fmla="*/ 856877 w 3082718"/>
                  <a:gd name="connsiteY21" fmla="*/ 797372 h 2938649"/>
                  <a:gd name="connsiteX22" fmla="*/ 1611696 w 3082718"/>
                  <a:gd name="connsiteY22" fmla="*/ 787008 h 2938649"/>
                  <a:gd name="connsiteX23" fmla="*/ 1595172 w 3082718"/>
                  <a:gd name="connsiteY23" fmla="*/ 609883 h 2938649"/>
                  <a:gd name="connsiteX0" fmla="*/ 1595172 w 3082718"/>
                  <a:gd name="connsiteY0" fmla="*/ 623489 h 2952255"/>
                  <a:gd name="connsiteX1" fmla="*/ 2133428 w 3082718"/>
                  <a:gd name="connsiteY1" fmla="*/ 631916 h 2952255"/>
                  <a:gd name="connsiteX2" fmla="*/ 2144565 w 3082718"/>
                  <a:gd name="connsiteY2" fmla="*/ 793297 h 2952255"/>
                  <a:gd name="connsiteX3" fmla="*/ 3010956 w 3082718"/>
                  <a:gd name="connsiteY3" fmla="*/ 790377 h 2952255"/>
                  <a:gd name="connsiteX4" fmla="*/ 3082145 w 3082718"/>
                  <a:gd name="connsiteY4" fmla="*/ 894639 h 2952255"/>
                  <a:gd name="connsiteX5" fmla="*/ 3082718 w 3082718"/>
                  <a:gd name="connsiteY5" fmla="*/ 1526730 h 2952255"/>
                  <a:gd name="connsiteX6" fmla="*/ 2708964 w 3082718"/>
                  <a:gd name="connsiteY6" fmla="*/ 1672642 h 2952255"/>
                  <a:gd name="connsiteX7" fmla="*/ 2676221 w 3082718"/>
                  <a:gd name="connsiteY7" fmla="*/ 2237967 h 2952255"/>
                  <a:gd name="connsiteX8" fmla="*/ 3026105 w 3082718"/>
                  <a:gd name="connsiteY8" fmla="*/ 2739941 h 2952255"/>
                  <a:gd name="connsiteX9" fmla="*/ 2904220 w 3082718"/>
                  <a:gd name="connsiteY9" fmla="*/ 2872351 h 2952255"/>
                  <a:gd name="connsiteX10" fmla="*/ 2090553 w 3082718"/>
                  <a:gd name="connsiteY10" fmla="*/ 2951273 h 2952255"/>
                  <a:gd name="connsiteX11" fmla="*/ 1985181 w 3082718"/>
                  <a:gd name="connsiteY11" fmla="*/ 2761873 h 2952255"/>
                  <a:gd name="connsiteX12" fmla="*/ 1503536 w 3082718"/>
                  <a:gd name="connsiteY12" fmla="*/ 2661098 h 2952255"/>
                  <a:gd name="connsiteX13" fmla="*/ 1496017 w 3082718"/>
                  <a:gd name="connsiteY13" fmla="*/ 2896700 h 2952255"/>
                  <a:gd name="connsiteX14" fmla="*/ 886278 w 3082718"/>
                  <a:gd name="connsiteY14" fmla="*/ 2952245 h 2952255"/>
                  <a:gd name="connsiteX15" fmla="*/ 770516 w 3082718"/>
                  <a:gd name="connsiteY15" fmla="*/ 2839619 h 2952255"/>
                  <a:gd name="connsiteX16" fmla="*/ 762262 w 3082718"/>
                  <a:gd name="connsiteY16" fmla="*/ 2238487 h 2952255"/>
                  <a:gd name="connsiteX17" fmla="*/ 193335 w 3082718"/>
                  <a:gd name="connsiteY17" fmla="*/ 2294207 h 2952255"/>
                  <a:gd name="connsiteX18" fmla="*/ 406486 w 3082718"/>
                  <a:gd name="connsiteY18" fmla="*/ 1558264 h 2952255"/>
                  <a:gd name="connsiteX19" fmla="*/ 754950 w 3082718"/>
                  <a:gd name="connsiteY19" fmla="*/ 1705956 h 2952255"/>
                  <a:gd name="connsiteX20" fmla="*/ 744250 w 3082718"/>
                  <a:gd name="connsiteY20" fmla="*/ 926740 h 2952255"/>
                  <a:gd name="connsiteX21" fmla="*/ 856877 w 3082718"/>
                  <a:gd name="connsiteY21" fmla="*/ 810978 h 2952255"/>
                  <a:gd name="connsiteX22" fmla="*/ 1611696 w 3082718"/>
                  <a:gd name="connsiteY22" fmla="*/ 800614 h 2952255"/>
                  <a:gd name="connsiteX23" fmla="*/ 1595172 w 3082718"/>
                  <a:gd name="connsiteY23" fmla="*/ 623489 h 2952255"/>
                  <a:gd name="connsiteX0" fmla="*/ 1595172 w 3082718"/>
                  <a:gd name="connsiteY0" fmla="*/ 619222 h 2947988"/>
                  <a:gd name="connsiteX1" fmla="*/ 2133428 w 3082718"/>
                  <a:gd name="connsiteY1" fmla="*/ 627649 h 2947988"/>
                  <a:gd name="connsiteX2" fmla="*/ 2144565 w 3082718"/>
                  <a:gd name="connsiteY2" fmla="*/ 789030 h 2947988"/>
                  <a:gd name="connsiteX3" fmla="*/ 3010956 w 3082718"/>
                  <a:gd name="connsiteY3" fmla="*/ 786110 h 2947988"/>
                  <a:gd name="connsiteX4" fmla="*/ 3082145 w 3082718"/>
                  <a:gd name="connsiteY4" fmla="*/ 890372 h 2947988"/>
                  <a:gd name="connsiteX5" fmla="*/ 3082718 w 3082718"/>
                  <a:gd name="connsiteY5" fmla="*/ 1522463 h 2947988"/>
                  <a:gd name="connsiteX6" fmla="*/ 2708964 w 3082718"/>
                  <a:gd name="connsiteY6" fmla="*/ 1668375 h 2947988"/>
                  <a:gd name="connsiteX7" fmla="*/ 2676221 w 3082718"/>
                  <a:gd name="connsiteY7" fmla="*/ 2233700 h 2947988"/>
                  <a:gd name="connsiteX8" fmla="*/ 3026105 w 3082718"/>
                  <a:gd name="connsiteY8" fmla="*/ 2735674 h 2947988"/>
                  <a:gd name="connsiteX9" fmla="*/ 2904220 w 3082718"/>
                  <a:gd name="connsiteY9" fmla="*/ 2868084 h 2947988"/>
                  <a:gd name="connsiteX10" fmla="*/ 2090553 w 3082718"/>
                  <a:gd name="connsiteY10" fmla="*/ 2947006 h 2947988"/>
                  <a:gd name="connsiteX11" fmla="*/ 1985181 w 3082718"/>
                  <a:gd name="connsiteY11" fmla="*/ 2757606 h 2947988"/>
                  <a:gd name="connsiteX12" fmla="*/ 1503536 w 3082718"/>
                  <a:gd name="connsiteY12" fmla="*/ 2656831 h 2947988"/>
                  <a:gd name="connsiteX13" fmla="*/ 1496017 w 3082718"/>
                  <a:gd name="connsiteY13" fmla="*/ 2892433 h 2947988"/>
                  <a:gd name="connsiteX14" fmla="*/ 886278 w 3082718"/>
                  <a:gd name="connsiteY14" fmla="*/ 2947978 h 2947988"/>
                  <a:gd name="connsiteX15" fmla="*/ 770516 w 3082718"/>
                  <a:gd name="connsiteY15" fmla="*/ 2835352 h 2947988"/>
                  <a:gd name="connsiteX16" fmla="*/ 762262 w 3082718"/>
                  <a:gd name="connsiteY16" fmla="*/ 2234220 h 2947988"/>
                  <a:gd name="connsiteX17" fmla="*/ 193335 w 3082718"/>
                  <a:gd name="connsiteY17" fmla="*/ 2289940 h 2947988"/>
                  <a:gd name="connsiteX18" fmla="*/ 406486 w 3082718"/>
                  <a:gd name="connsiteY18" fmla="*/ 1553997 h 2947988"/>
                  <a:gd name="connsiteX19" fmla="*/ 754950 w 3082718"/>
                  <a:gd name="connsiteY19" fmla="*/ 1701689 h 2947988"/>
                  <a:gd name="connsiteX20" fmla="*/ 744250 w 3082718"/>
                  <a:gd name="connsiteY20" fmla="*/ 922473 h 2947988"/>
                  <a:gd name="connsiteX21" fmla="*/ 856877 w 3082718"/>
                  <a:gd name="connsiteY21" fmla="*/ 806711 h 2947988"/>
                  <a:gd name="connsiteX22" fmla="*/ 1611696 w 3082718"/>
                  <a:gd name="connsiteY22" fmla="*/ 796347 h 2947988"/>
                  <a:gd name="connsiteX23" fmla="*/ 1595172 w 3082718"/>
                  <a:gd name="connsiteY23" fmla="*/ 619222 h 294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82718" h="2947988">
                    <a:moveTo>
                      <a:pt x="1595172" y="619222"/>
                    </a:moveTo>
                    <a:cubicBezTo>
                      <a:pt x="1140934" y="-222262"/>
                      <a:pt x="2618369" y="-193144"/>
                      <a:pt x="2133428" y="627649"/>
                    </a:cubicBezTo>
                    <a:cubicBezTo>
                      <a:pt x="2089786" y="723529"/>
                      <a:pt x="2125299" y="763324"/>
                      <a:pt x="2144565" y="789030"/>
                    </a:cubicBezTo>
                    <a:lnTo>
                      <a:pt x="3010956" y="786110"/>
                    </a:lnTo>
                    <a:cubicBezTo>
                      <a:pt x="3049138" y="786820"/>
                      <a:pt x="3086983" y="846125"/>
                      <a:pt x="3082145" y="890372"/>
                    </a:cubicBezTo>
                    <a:lnTo>
                      <a:pt x="3082718" y="1522463"/>
                    </a:lnTo>
                    <a:cubicBezTo>
                      <a:pt x="3076885" y="1719120"/>
                      <a:pt x="2920875" y="1780379"/>
                      <a:pt x="2708964" y="1668375"/>
                    </a:cubicBezTo>
                    <a:cubicBezTo>
                      <a:pt x="2119227" y="1484573"/>
                      <a:pt x="2280734" y="2438781"/>
                      <a:pt x="2676221" y="2233700"/>
                    </a:cubicBezTo>
                    <a:cubicBezTo>
                      <a:pt x="2801201" y="2207302"/>
                      <a:pt x="3193406" y="1872195"/>
                      <a:pt x="3026105" y="2735674"/>
                    </a:cubicBezTo>
                    <a:cubicBezTo>
                      <a:pt x="3016603" y="2800159"/>
                      <a:pt x="2980271" y="2857675"/>
                      <a:pt x="2904220" y="2868084"/>
                    </a:cubicBezTo>
                    <a:lnTo>
                      <a:pt x="2090553" y="2947006"/>
                    </a:lnTo>
                    <a:cubicBezTo>
                      <a:pt x="1935022" y="2950102"/>
                      <a:pt x="1914774" y="2857327"/>
                      <a:pt x="1985181" y="2757606"/>
                    </a:cubicBezTo>
                    <a:cubicBezTo>
                      <a:pt x="2385626" y="2227080"/>
                      <a:pt x="1330371" y="2061024"/>
                      <a:pt x="1503536" y="2656831"/>
                    </a:cubicBezTo>
                    <a:cubicBezTo>
                      <a:pt x="1568915" y="2789517"/>
                      <a:pt x="1598893" y="2843908"/>
                      <a:pt x="1496017" y="2892433"/>
                    </a:cubicBezTo>
                    <a:cubicBezTo>
                      <a:pt x="1393141" y="2940958"/>
                      <a:pt x="982847" y="2929416"/>
                      <a:pt x="886278" y="2947978"/>
                    </a:cubicBezTo>
                    <a:cubicBezTo>
                      <a:pt x="823210" y="2948844"/>
                      <a:pt x="771382" y="2898420"/>
                      <a:pt x="770516" y="2835352"/>
                    </a:cubicBezTo>
                    <a:lnTo>
                      <a:pt x="762262" y="2234220"/>
                    </a:lnTo>
                    <a:cubicBezTo>
                      <a:pt x="646848" y="2023001"/>
                      <a:pt x="498825" y="2481126"/>
                      <a:pt x="193335" y="2289940"/>
                    </a:cubicBezTo>
                    <a:cubicBezTo>
                      <a:pt x="-162064" y="2079692"/>
                      <a:pt x="9829" y="1537688"/>
                      <a:pt x="406486" y="1553997"/>
                    </a:cubicBezTo>
                    <a:cubicBezTo>
                      <a:pt x="592096" y="1579816"/>
                      <a:pt x="654705" y="1769519"/>
                      <a:pt x="754950" y="1701689"/>
                    </a:cubicBezTo>
                    <a:lnTo>
                      <a:pt x="744250" y="922473"/>
                    </a:lnTo>
                    <a:cubicBezTo>
                      <a:pt x="743384" y="859405"/>
                      <a:pt x="793809" y="807577"/>
                      <a:pt x="856877" y="806711"/>
                    </a:cubicBezTo>
                    <a:lnTo>
                      <a:pt x="1611696" y="796347"/>
                    </a:lnTo>
                    <a:cubicBezTo>
                      <a:pt x="1672148" y="752488"/>
                      <a:pt x="1618727" y="630116"/>
                      <a:pt x="1595172" y="619222"/>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8" name="Group 17"/>
              <p:cNvGrpSpPr/>
              <p:nvPr/>
            </p:nvGrpSpPr>
            <p:grpSpPr>
              <a:xfrm>
                <a:off x="4679844" y="5028123"/>
                <a:ext cx="252435" cy="229269"/>
                <a:chOff x="2691686" y="1471544"/>
                <a:chExt cx="4610636" cy="4105009"/>
              </a:xfrm>
              <a:solidFill>
                <a:sysClr val="window" lastClr="FFFFFF"/>
              </a:solidFill>
            </p:grpSpPr>
            <p:sp>
              <p:nvSpPr>
                <p:cNvPr id="19" name="Freeform 18"/>
                <p:cNvSpPr/>
                <p:nvPr/>
              </p:nvSpPr>
              <p:spPr>
                <a:xfrm>
                  <a:off x="2691686" y="1803043"/>
                  <a:ext cx="4610636" cy="3773510"/>
                </a:xfrm>
                <a:custGeom>
                  <a:avLst/>
                  <a:gdLst>
                    <a:gd name="connsiteX0" fmla="*/ 595581 w 4610636"/>
                    <a:gd name="connsiteY0" fmla="*/ 1063982 h 3773510"/>
                    <a:gd name="connsiteX1" fmla="*/ 595581 w 4610636"/>
                    <a:gd name="connsiteY1" fmla="*/ 3407132 h 3773510"/>
                    <a:gd name="connsiteX2" fmla="*/ 4015056 w 4610636"/>
                    <a:gd name="connsiteY2" fmla="*/ 3407132 h 3773510"/>
                    <a:gd name="connsiteX3" fmla="*/ 4015056 w 4610636"/>
                    <a:gd name="connsiteY3" fmla="*/ 1063982 h 3773510"/>
                    <a:gd name="connsiteX4" fmla="*/ 448633 w 4610636"/>
                    <a:gd name="connsiteY4" fmla="*/ 0 h 3773510"/>
                    <a:gd name="connsiteX5" fmla="*/ 1019251 w 4610636"/>
                    <a:gd name="connsiteY5" fmla="*/ 0 h 3773510"/>
                    <a:gd name="connsiteX6" fmla="*/ 1019251 w 4610636"/>
                    <a:gd name="connsiteY6" fmla="*/ 170957 h 3773510"/>
                    <a:gd name="connsiteX7" fmla="*/ 988643 w 4610636"/>
                    <a:gd name="connsiteY7" fmla="*/ 196211 h 3773510"/>
                    <a:gd name="connsiteX8" fmla="*/ 883364 w 4610636"/>
                    <a:gd name="connsiteY8" fmla="*/ 450378 h 3773510"/>
                    <a:gd name="connsiteX9" fmla="*/ 1242810 w 4610636"/>
                    <a:gd name="connsiteY9" fmla="*/ 809824 h 3773510"/>
                    <a:gd name="connsiteX10" fmla="*/ 1602256 w 4610636"/>
                    <a:gd name="connsiteY10" fmla="*/ 450378 h 3773510"/>
                    <a:gd name="connsiteX11" fmla="*/ 1496977 w 4610636"/>
                    <a:gd name="connsiteY11" fmla="*/ 196211 h 3773510"/>
                    <a:gd name="connsiteX12" fmla="*/ 1466369 w 4610636"/>
                    <a:gd name="connsiteY12" fmla="*/ 170957 h 3773510"/>
                    <a:gd name="connsiteX13" fmla="*/ 1466369 w 4610636"/>
                    <a:gd name="connsiteY13" fmla="*/ 0 h 3773510"/>
                    <a:gd name="connsiteX14" fmla="*/ 3172229 w 4610636"/>
                    <a:gd name="connsiteY14" fmla="*/ 0 h 3773510"/>
                    <a:gd name="connsiteX15" fmla="*/ 3172229 w 4610636"/>
                    <a:gd name="connsiteY15" fmla="*/ 170957 h 3773510"/>
                    <a:gd name="connsiteX16" fmla="*/ 3141621 w 4610636"/>
                    <a:gd name="connsiteY16" fmla="*/ 196211 h 3773510"/>
                    <a:gd name="connsiteX17" fmla="*/ 3036342 w 4610636"/>
                    <a:gd name="connsiteY17" fmla="*/ 450378 h 3773510"/>
                    <a:gd name="connsiteX18" fmla="*/ 3395788 w 4610636"/>
                    <a:gd name="connsiteY18" fmla="*/ 809824 h 3773510"/>
                    <a:gd name="connsiteX19" fmla="*/ 3755234 w 4610636"/>
                    <a:gd name="connsiteY19" fmla="*/ 450378 h 3773510"/>
                    <a:gd name="connsiteX20" fmla="*/ 3649955 w 4610636"/>
                    <a:gd name="connsiteY20" fmla="*/ 196211 h 3773510"/>
                    <a:gd name="connsiteX21" fmla="*/ 3619347 w 4610636"/>
                    <a:gd name="connsiteY21" fmla="*/ 170957 h 3773510"/>
                    <a:gd name="connsiteX22" fmla="*/ 3619347 w 4610636"/>
                    <a:gd name="connsiteY22" fmla="*/ 0 h 3773510"/>
                    <a:gd name="connsiteX23" fmla="*/ 4162003 w 4610636"/>
                    <a:gd name="connsiteY23" fmla="*/ 0 h 3773510"/>
                    <a:gd name="connsiteX24" fmla="*/ 4610636 w 4610636"/>
                    <a:gd name="connsiteY24" fmla="*/ 448633 h 3773510"/>
                    <a:gd name="connsiteX25" fmla="*/ 4610636 w 4610636"/>
                    <a:gd name="connsiteY25" fmla="*/ 3324877 h 3773510"/>
                    <a:gd name="connsiteX26" fmla="*/ 4162003 w 4610636"/>
                    <a:gd name="connsiteY26" fmla="*/ 3773510 h 3773510"/>
                    <a:gd name="connsiteX27" fmla="*/ 448633 w 4610636"/>
                    <a:gd name="connsiteY27" fmla="*/ 3773510 h 3773510"/>
                    <a:gd name="connsiteX28" fmla="*/ 0 w 4610636"/>
                    <a:gd name="connsiteY28" fmla="*/ 3324877 h 3773510"/>
                    <a:gd name="connsiteX29" fmla="*/ 0 w 4610636"/>
                    <a:gd name="connsiteY29" fmla="*/ 448633 h 3773510"/>
                    <a:gd name="connsiteX30" fmla="*/ 448633 w 4610636"/>
                    <a:gd name="connsiteY30" fmla="*/ 0 h 3773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610636" h="3773510">
                      <a:moveTo>
                        <a:pt x="595581" y="1063982"/>
                      </a:moveTo>
                      <a:lnTo>
                        <a:pt x="595581" y="3407132"/>
                      </a:lnTo>
                      <a:lnTo>
                        <a:pt x="4015056" y="3407132"/>
                      </a:lnTo>
                      <a:lnTo>
                        <a:pt x="4015056" y="1063982"/>
                      </a:lnTo>
                      <a:close/>
                      <a:moveTo>
                        <a:pt x="448633" y="0"/>
                      </a:moveTo>
                      <a:lnTo>
                        <a:pt x="1019251" y="0"/>
                      </a:lnTo>
                      <a:lnTo>
                        <a:pt x="1019251" y="170957"/>
                      </a:lnTo>
                      <a:lnTo>
                        <a:pt x="988643" y="196211"/>
                      </a:lnTo>
                      <a:cubicBezTo>
                        <a:pt x="923596" y="261258"/>
                        <a:pt x="883364" y="351120"/>
                        <a:pt x="883364" y="450378"/>
                      </a:cubicBezTo>
                      <a:cubicBezTo>
                        <a:pt x="883364" y="648895"/>
                        <a:pt x="1044293" y="809824"/>
                        <a:pt x="1242810" y="809824"/>
                      </a:cubicBezTo>
                      <a:cubicBezTo>
                        <a:pt x="1441327" y="809824"/>
                        <a:pt x="1602256" y="648895"/>
                        <a:pt x="1602256" y="450378"/>
                      </a:cubicBezTo>
                      <a:cubicBezTo>
                        <a:pt x="1602256" y="351120"/>
                        <a:pt x="1562024" y="261258"/>
                        <a:pt x="1496977" y="196211"/>
                      </a:cubicBezTo>
                      <a:lnTo>
                        <a:pt x="1466369" y="170957"/>
                      </a:lnTo>
                      <a:lnTo>
                        <a:pt x="1466369" y="0"/>
                      </a:lnTo>
                      <a:lnTo>
                        <a:pt x="3172229" y="0"/>
                      </a:lnTo>
                      <a:lnTo>
                        <a:pt x="3172229" y="170957"/>
                      </a:lnTo>
                      <a:lnTo>
                        <a:pt x="3141621" y="196211"/>
                      </a:lnTo>
                      <a:cubicBezTo>
                        <a:pt x="3076575" y="261258"/>
                        <a:pt x="3036342" y="351120"/>
                        <a:pt x="3036342" y="450378"/>
                      </a:cubicBezTo>
                      <a:cubicBezTo>
                        <a:pt x="3036342" y="648895"/>
                        <a:pt x="3197271" y="809824"/>
                        <a:pt x="3395788" y="809824"/>
                      </a:cubicBezTo>
                      <a:cubicBezTo>
                        <a:pt x="3594305" y="809824"/>
                        <a:pt x="3755234" y="648895"/>
                        <a:pt x="3755234" y="450378"/>
                      </a:cubicBezTo>
                      <a:cubicBezTo>
                        <a:pt x="3755234" y="351120"/>
                        <a:pt x="3715002" y="261258"/>
                        <a:pt x="3649955" y="196211"/>
                      </a:cubicBezTo>
                      <a:lnTo>
                        <a:pt x="3619347" y="170957"/>
                      </a:lnTo>
                      <a:lnTo>
                        <a:pt x="3619347" y="0"/>
                      </a:lnTo>
                      <a:lnTo>
                        <a:pt x="4162003" y="0"/>
                      </a:lnTo>
                      <a:cubicBezTo>
                        <a:pt x="4409776" y="0"/>
                        <a:pt x="4610636" y="200860"/>
                        <a:pt x="4610636" y="448633"/>
                      </a:cubicBezTo>
                      <a:lnTo>
                        <a:pt x="4610636" y="3324877"/>
                      </a:lnTo>
                      <a:cubicBezTo>
                        <a:pt x="4610636" y="3572650"/>
                        <a:pt x="4409776" y="3773510"/>
                        <a:pt x="4162003" y="3773510"/>
                      </a:cubicBezTo>
                      <a:lnTo>
                        <a:pt x="448633" y="3773510"/>
                      </a:lnTo>
                      <a:cubicBezTo>
                        <a:pt x="200860" y="3773510"/>
                        <a:pt x="0" y="3572650"/>
                        <a:pt x="0" y="3324877"/>
                      </a:cubicBezTo>
                      <a:lnTo>
                        <a:pt x="0" y="448633"/>
                      </a:lnTo>
                      <a:cubicBezTo>
                        <a:pt x="0" y="200860"/>
                        <a:pt x="200860" y="0"/>
                        <a:pt x="448633" y="0"/>
                      </a:cubicBezTo>
                      <a:close/>
                    </a:path>
                  </a:pathLst>
                </a:cu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0" name="Rounded Rectangle 19"/>
                <p:cNvSpPr/>
                <p:nvPr/>
              </p:nvSpPr>
              <p:spPr>
                <a:xfrm>
                  <a:off x="3802561" y="1471544"/>
                  <a:ext cx="263871" cy="909705"/>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1" name="Rounded Rectangle 20"/>
                <p:cNvSpPr/>
                <p:nvPr/>
              </p:nvSpPr>
              <p:spPr>
                <a:xfrm>
                  <a:off x="5955539" y="1471544"/>
                  <a:ext cx="263871" cy="909705"/>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2" name="Rectangle 21"/>
                <p:cNvSpPr/>
                <p:nvPr/>
              </p:nvSpPr>
              <p:spPr>
                <a:xfrm>
                  <a:off x="4410075" y="3081337"/>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3" name="Rectangle 22"/>
                <p:cNvSpPr/>
                <p:nvPr/>
              </p:nvSpPr>
              <p:spPr>
                <a:xfrm>
                  <a:off x="5105715" y="3081337"/>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4" name="Rectangle 23"/>
                <p:cNvSpPr/>
                <p:nvPr/>
              </p:nvSpPr>
              <p:spPr>
                <a:xfrm>
                  <a:off x="5801355" y="3081337"/>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5" name="Rectangle 24"/>
                <p:cNvSpPr/>
                <p:nvPr/>
              </p:nvSpPr>
              <p:spPr>
                <a:xfrm>
                  <a:off x="5801355" y="3776566"/>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6" name="Rectangle 25"/>
                <p:cNvSpPr/>
                <p:nvPr/>
              </p:nvSpPr>
              <p:spPr>
                <a:xfrm>
                  <a:off x="5106602" y="3776566"/>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7" name="Rectangle 26"/>
                <p:cNvSpPr/>
                <p:nvPr/>
              </p:nvSpPr>
              <p:spPr>
                <a:xfrm>
                  <a:off x="4411848" y="3776566"/>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8" name="Rectangle 27"/>
                <p:cNvSpPr/>
                <p:nvPr/>
              </p:nvSpPr>
              <p:spPr>
                <a:xfrm>
                  <a:off x="3717094" y="3776566"/>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9" name="Rectangle 28"/>
                <p:cNvSpPr/>
                <p:nvPr/>
              </p:nvSpPr>
              <p:spPr>
                <a:xfrm>
                  <a:off x="3717094" y="4467033"/>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30" name="Rectangle 29"/>
                <p:cNvSpPr/>
                <p:nvPr/>
              </p:nvSpPr>
              <p:spPr>
                <a:xfrm>
                  <a:off x="4410075" y="4467033"/>
                  <a:ext cx="447675" cy="495300"/>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grpSp>
      <p:grpSp>
        <p:nvGrpSpPr>
          <p:cNvPr id="82" name="Group 81"/>
          <p:cNvGrpSpPr/>
          <p:nvPr/>
        </p:nvGrpSpPr>
        <p:grpSpPr>
          <a:xfrm>
            <a:off x="9718176" y="5654682"/>
            <a:ext cx="2383316" cy="784208"/>
            <a:chOff x="4909737" y="5961082"/>
            <a:chExt cx="2229934" cy="733740"/>
          </a:xfrm>
        </p:grpSpPr>
        <p:sp>
          <p:nvSpPr>
            <p:cNvPr id="83" name="TextBox 82"/>
            <p:cNvSpPr txBox="1"/>
            <p:nvPr/>
          </p:nvSpPr>
          <p:spPr>
            <a:xfrm>
              <a:off x="4909737" y="5961082"/>
              <a:ext cx="2229934" cy="3167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3900D"/>
                  </a:solidFill>
                  <a:effectLst/>
                  <a:uLnTx/>
                  <a:uFillTx/>
                  <a:latin typeface="Arial" panose="020B0604020202020204" pitchFamily="34" charset="0"/>
                  <a:ea typeface="+mn-ea"/>
                  <a:cs typeface="Arial" panose="020B0604020202020204" pitchFamily="34" charset="0"/>
                </a:rPr>
                <a:t>CEF SOC Management</a:t>
              </a:r>
            </a:p>
          </p:txBody>
        </p:sp>
        <p:sp>
          <p:nvSpPr>
            <p:cNvPr id="84" name="Rectangle 83"/>
            <p:cNvSpPr/>
            <p:nvPr/>
          </p:nvSpPr>
          <p:spPr>
            <a:xfrm>
              <a:off x="5109882" y="6219673"/>
              <a:ext cx="2029789" cy="47514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CEF Group CE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CEF Group CO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CEF Group CFO</a:t>
              </a:r>
            </a:p>
          </p:txBody>
        </p:sp>
      </p:grpSp>
      <p:grpSp>
        <p:nvGrpSpPr>
          <p:cNvPr id="85" name="Group 84"/>
          <p:cNvGrpSpPr/>
          <p:nvPr/>
        </p:nvGrpSpPr>
        <p:grpSpPr>
          <a:xfrm flipH="1">
            <a:off x="6298608" y="5639979"/>
            <a:ext cx="2433684" cy="937403"/>
            <a:chOff x="-151533" y="1666625"/>
            <a:chExt cx="2277062" cy="877076"/>
          </a:xfrm>
        </p:grpSpPr>
        <p:sp>
          <p:nvSpPr>
            <p:cNvPr id="86" name="TextBox 85"/>
            <p:cNvSpPr txBox="1"/>
            <p:nvPr/>
          </p:nvSpPr>
          <p:spPr>
            <a:xfrm>
              <a:off x="-151533" y="1666625"/>
              <a:ext cx="2277062" cy="3167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PetroSA Management </a:t>
              </a:r>
            </a:p>
          </p:txBody>
        </p:sp>
        <p:sp>
          <p:nvSpPr>
            <p:cNvPr id="87" name="Rectangle 86"/>
            <p:cNvSpPr/>
            <p:nvPr/>
          </p:nvSpPr>
          <p:spPr>
            <a:xfrm>
              <a:off x="64472" y="1938965"/>
              <a:ext cx="2022936" cy="60473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PetroSA CE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PetroSA CF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PetroSA Technical &amp; Operations Teams</a:t>
              </a:r>
              <a:r>
                <a:rPr kumimoji="0" lang="en-US" sz="9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mn-ea"/>
                  <a:cs typeface="Arial" panose="020B0604020202020204" pitchFamily="34" charset="0"/>
                </a:rPr>
                <a:t>. </a:t>
              </a:r>
            </a:p>
          </p:txBody>
        </p:sp>
      </p:grpSp>
      <p:grpSp>
        <p:nvGrpSpPr>
          <p:cNvPr id="88" name="Group 87"/>
          <p:cNvGrpSpPr/>
          <p:nvPr/>
        </p:nvGrpSpPr>
        <p:grpSpPr>
          <a:xfrm>
            <a:off x="9699550" y="1081931"/>
            <a:ext cx="2788233" cy="850175"/>
            <a:chOff x="79459" y="1634731"/>
            <a:chExt cx="2115798" cy="795461"/>
          </a:xfrm>
        </p:grpSpPr>
        <p:sp>
          <p:nvSpPr>
            <p:cNvPr id="89" name="TextBox 88"/>
            <p:cNvSpPr txBox="1"/>
            <p:nvPr/>
          </p:nvSpPr>
          <p:spPr>
            <a:xfrm>
              <a:off x="93593" y="1634731"/>
              <a:ext cx="1993443" cy="5471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CEF  &amp; PetroSA Board Representatives </a:t>
              </a:r>
            </a:p>
          </p:txBody>
        </p:sp>
        <p:sp>
          <p:nvSpPr>
            <p:cNvPr id="90" name="Rectangle 89"/>
            <p:cNvSpPr/>
            <p:nvPr/>
          </p:nvSpPr>
          <p:spPr>
            <a:xfrm>
              <a:off x="79459" y="2113426"/>
              <a:ext cx="2115798" cy="31676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CEF Group &amp; PetroSA Chairpers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CEF and PetroSA Board Members</a:t>
              </a:r>
            </a:p>
          </p:txBody>
        </p:sp>
      </p:grpSp>
      <p:grpSp>
        <p:nvGrpSpPr>
          <p:cNvPr id="91" name="Group 90"/>
          <p:cNvGrpSpPr/>
          <p:nvPr/>
        </p:nvGrpSpPr>
        <p:grpSpPr>
          <a:xfrm>
            <a:off x="5959693" y="927105"/>
            <a:ext cx="3111515" cy="614932"/>
            <a:chOff x="-523115" y="1854835"/>
            <a:chExt cx="2911270" cy="575357"/>
          </a:xfrm>
        </p:grpSpPr>
        <p:sp>
          <p:nvSpPr>
            <p:cNvPr id="92" name="TextBox 91"/>
            <p:cNvSpPr txBox="1"/>
            <p:nvPr/>
          </p:nvSpPr>
          <p:spPr>
            <a:xfrm>
              <a:off x="-523115" y="1854835"/>
              <a:ext cx="2911270" cy="3167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DMRE Representatives</a:t>
              </a:r>
            </a:p>
          </p:txBody>
        </p:sp>
        <p:sp>
          <p:nvSpPr>
            <p:cNvPr id="93" name="Rectangle 92"/>
            <p:cNvSpPr/>
            <p:nvPr/>
          </p:nvSpPr>
          <p:spPr>
            <a:xfrm>
              <a:off x="79459" y="2113426"/>
              <a:ext cx="1827767" cy="31676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D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004074"/>
                  </a:solidFill>
                  <a:effectLst/>
                  <a:uLnTx/>
                  <a:uFillTx/>
                  <a:latin typeface="Arial" panose="020B0604020202020204" pitchFamily="34" charset="0"/>
                  <a:ea typeface="+mn-ea"/>
                  <a:cs typeface="Arial" panose="020B0604020202020204" pitchFamily="34" charset="0"/>
                </a:rPr>
                <a:t>DDG’s</a:t>
              </a:r>
            </a:p>
          </p:txBody>
        </p:sp>
      </p:grpSp>
      <p:sp>
        <p:nvSpPr>
          <p:cNvPr id="95" name="Rectangle 94"/>
          <p:cNvSpPr/>
          <p:nvPr/>
        </p:nvSpPr>
        <p:spPr>
          <a:xfrm>
            <a:off x="424179" y="5993711"/>
            <a:ext cx="5301403" cy="830997"/>
          </a:xfrm>
          <a:prstGeom prst="rect">
            <a:avLst/>
          </a:prstGeom>
          <a:solidFill>
            <a:schemeClr val="tx2"/>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charset="0"/>
                <a:ea typeface="+mn-ea"/>
                <a:cs typeface="+mn-cs"/>
              </a:rPr>
              <a:t>The  Tripartite War-Room representatives meet every week to advance key stabilisation &amp; turnaround initiatives  across the PetroSA Value Chain</a:t>
            </a:r>
          </a:p>
        </p:txBody>
      </p:sp>
    </p:spTree>
    <p:extLst>
      <p:ext uri="{BB962C8B-B14F-4D97-AF65-F5344CB8AC3E}">
        <p14:creationId xmlns:p14="http://schemas.microsoft.com/office/powerpoint/2010/main" xmlns="" val="1517726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667033A-4247-4ED4-8A21-2B1E2D674746}" type="slidenum">
              <a:rPr lang="en-ZA" smtClean="0"/>
              <a:pPr/>
              <a:t>3</a:t>
            </a:fld>
            <a:endParaRPr lang="en-ZA" dirty="0"/>
          </a:p>
        </p:txBody>
      </p:sp>
      <p:sp>
        <p:nvSpPr>
          <p:cNvPr id="3" name="TextBox 2"/>
          <p:cNvSpPr txBox="1"/>
          <p:nvPr/>
        </p:nvSpPr>
        <p:spPr>
          <a:xfrm>
            <a:off x="912369" y="996043"/>
            <a:ext cx="10303328" cy="5016758"/>
          </a:xfrm>
          <a:prstGeom prst="rect">
            <a:avLst/>
          </a:prstGeom>
          <a:noFill/>
        </p:spPr>
        <p:txBody>
          <a:bodyPr wrap="square" rtlCol="0">
            <a:spAutoFit/>
          </a:bodyPr>
          <a:lstStyle>
            <a:defPPr>
              <a:defRPr lang="en-US"/>
            </a:defPPr>
            <a:lvl1pPr algn="ctr" defTabSz="914362" fontAlgn="auto">
              <a:spcAft>
                <a:spcPts val="0"/>
              </a:spcAft>
              <a:defRPr sz="8000" b="1">
                <a:solidFill>
                  <a:srgbClr val="4F81BD"/>
                </a:solidFill>
                <a:effectLst>
                  <a:outerShdw blurRad="38100" dist="38100" dir="2700000" algn="tl">
                    <a:srgbClr val="000000">
                      <a:alpha val="43137"/>
                    </a:srgbClr>
                  </a:outerShdw>
                </a:effectLst>
                <a:latin typeface="Eras Bold ITC" panose="020B0907030504020204" pitchFamily="34" charset="0"/>
                <a:ea typeface="Verdana" panose="020B0604030504040204" pitchFamily="34" charset="0"/>
                <a:cs typeface="+mj-cs"/>
              </a:defRPr>
            </a:lvl1pPr>
          </a:lstStyle>
          <a:p>
            <a:r>
              <a:rPr lang="en-US" dirty="0"/>
              <a:t>CEF Group Overview and Internal/External Perspective</a:t>
            </a:r>
            <a:endParaRPr lang="en-ZA" dirty="0"/>
          </a:p>
        </p:txBody>
      </p:sp>
    </p:spTree>
    <p:extLst>
      <p:ext uri="{BB962C8B-B14F-4D97-AF65-F5344CB8AC3E}">
        <p14:creationId xmlns:p14="http://schemas.microsoft.com/office/powerpoint/2010/main" xmlns="" val="32602588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0" tIns="45720" rIns="0" bIns="45720" numCol="1" anchor="ctr" anchorCtr="0" compatLnSpc="1">
            <a:prstTxWarp prst="textNoShape">
              <a:avLst/>
            </a:prstTxWarp>
          </a:bodyPr>
          <a:lstStyle/>
          <a:p>
            <a:r>
              <a:rPr lang="en-US" dirty="0">
                <a:solidFill>
                  <a:schemeClr val="accent1"/>
                </a:solidFill>
              </a:rPr>
              <a:t>PetroSA Turnaround Programme</a:t>
            </a:r>
            <a:endParaRPr lang="en-ZA" dirty="0">
              <a:solidFill>
                <a:schemeClr val="accent1"/>
              </a:solidFill>
            </a:endParaRPr>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6" name="AutoShape 5">
            <a:extLst>
              <a:ext uri="{FF2B5EF4-FFF2-40B4-BE49-F238E27FC236}">
                <a16:creationId xmlns:a16="http://schemas.microsoft.com/office/drawing/2014/main" xmlns="" id="{F2A96746-5A73-417D-B247-F7E9D361597D}"/>
              </a:ext>
            </a:extLst>
          </p:cNvPr>
          <p:cNvSpPr>
            <a:spLocks noChangeArrowheads="1"/>
          </p:cNvSpPr>
          <p:nvPr/>
        </p:nvSpPr>
        <p:spPr bwMode="auto">
          <a:xfrm>
            <a:off x="378887" y="1266580"/>
            <a:ext cx="1761621" cy="1614745"/>
          </a:xfrm>
          <a:prstGeom prst="rect">
            <a:avLst/>
          </a:prstGeom>
          <a:solidFill>
            <a:srgbClr val="004074"/>
          </a:solidFill>
          <a:ln w="28575">
            <a:noFill/>
          </a:ln>
        </p:spPr>
        <p:txBody>
          <a:bodyPr lIns="144000" tIns="612000" rIns="36000" bIns="36000" anchor="ctr"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0" fontAlgn="auto" latinLnBrk="0" hangingPunct="0">
              <a:lnSpc>
                <a:spcPct val="9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pitchFamily="34" charset="0"/>
              </a:rPr>
              <a:t>SET-UP &amp; MOBILIZATION</a:t>
            </a:r>
          </a:p>
          <a:p>
            <a:pPr marL="0" marR="0" lvl="0" indent="0" algn="l" defTabSz="914400" rtl="0" eaLnBrk="0" fontAlgn="auto" latinLnBrk="0" hangingPunct="0">
              <a:lnSpc>
                <a:spcPct val="90000"/>
              </a:lnSpc>
              <a:spcBef>
                <a:spcPts val="0"/>
              </a:spcBef>
              <a:spcAft>
                <a:spcPts val="0"/>
              </a:spcAft>
              <a:buClrTx/>
              <a:buSzTx/>
              <a:buFontTx/>
              <a:buNone/>
              <a:tabLst/>
              <a:defRPr/>
            </a:pPr>
            <a:r>
              <a:rPr kumimoji="0" lang="en-GB" altLang="en-US" sz="1050" b="0" i="0" u="none" strike="noStrike" kern="0" cap="none" spc="0" normalizeH="0" baseline="0" noProof="0" dirty="0">
                <a:ln>
                  <a:noFill/>
                </a:ln>
                <a:solidFill>
                  <a:srgbClr val="FFFFFF"/>
                </a:solidFill>
                <a:effectLst/>
                <a:uLnTx/>
                <a:uFillTx/>
                <a:latin typeface="Arial"/>
                <a:ea typeface="+mn-ea"/>
                <a:cs typeface="Arial" pitchFamily="34" charset="0"/>
              </a:rPr>
              <a:t>Setup enabling CM</a:t>
            </a:r>
            <a:r>
              <a:rPr kumimoji="0" lang="en-GB" altLang="en-US" sz="1050" b="0" i="0" u="none" strike="noStrike" kern="0" cap="none" spc="0" normalizeH="0" baseline="30000" noProof="0" dirty="0">
                <a:ln>
                  <a:noFill/>
                </a:ln>
                <a:solidFill>
                  <a:srgbClr val="FFFFFF"/>
                </a:solidFill>
                <a:effectLst/>
                <a:uLnTx/>
                <a:uFillTx/>
                <a:latin typeface="Arial"/>
                <a:ea typeface="+mn-ea"/>
                <a:cs typeface="Arial" pitchFamily="34" charset="0"/>
              </a:rPr>
              <a:t>1</a:t>
            </a:r>
            <a:r>
              <a:rPr kumimoji="0" lang="en-GB" altLang="en-US" sz="1050" b="0" i="0" u="none" strike="noStrike" kern="0" cap="none" spc="0" normalizeH="0" baseline="0" noProof="0" dirty="0">
                <a:ln>
                  <a:noFill/>
                </a:ln>
                <a:solidFill>
                  <a:srgbClr val="FFFFFF"/>
                </a:solidFill>
                <a:effectLst/>
                <a:uLnTx/>
                <a:uFillTx/>
                <a:latin typeface="Arial"/>
                <a:ea typeface="+mn-ea"/>
                <a:cs typeface="Arial" pitchFamily="34" charset="0"/>
              </a:rPr>
              <a:t> structure and rally stakeholder support</a:t>
            </a:r>
          </a:p>
        </p:txBody>
      </p:sp>
      <p:cxnSp>
        <p:nvCxnSpPr>
          <p:cNvPr id="7" name="Straight Arrow Connector 6">
            <a:extLst>
              <a:ext uri="{FF2B5EF4-FFF2-40B4-BE49-F238E27FC236}">
                <a16:creationId xmlns:a16="http://schemas.microsoft.com/office/drawing/2014/main" xmlns="" id="{AA485CF9-4237-4E79-9322-B0A8812C3A7A}"/>
              </a:ext>
            </a:extLst>
          </p:cNvPr>
          <p:cNvCxnSpPr>
            <a:cxnSpLocks/>
          </p:cNvCxnSpPr>
          <p:nvPr/>
        </p:nvCxnSpPr>
        <p:spPr>
          <a:xfrm>
            <a:off x="373405" y="1177206"/>
            <a:ext cx="1772585" cy="3199"/>
          </a:xfrm>
          <a:prstGeom prst="straightConnector1">
            <a:avLst/>
          </a:prstGeom>
          <a:noFill/>
          <a:ln w="19050" cap="flat" cmpd="sng" algn="ctr">
            <a:solidFill>
              <a:srgbClr val="787878"/>
            </a:solidFill>
            <a:prstDash val="solid"/>
            <a:miter lim="800000"/>
            <a:headEnd type="triangle"/>
            <a:tailEnd type="triangle"/>
          </a:ln>
          <a:effectLst/>
        </p:spPr>
      </p:cxnSp>
      <p:sp>
        <p:nvSpPr>
          <p:cNvPr id="8" name="TextBox 7">
            <a:extLst>
              <a:ext uri="{FF2B5EF4-FFF2-40B4-BE49-F238E27FC236}">
                <a16:creationId xmlns:a16="http://schemas.microsoft.com/office/drawing/2014/main" xmlns="" id="{BE39B7D5-2CAA-4EB0-BA1A-D0BA870046DC}"/>
              </a:ext>
            </a:extLst>
          </p:cNvPr>
          <p:cNvSpPr txBox="1"/>
          <p:nvPr/>
        </p:nvSpPr>
        <p:spPr>
          <a:xfrm>
            <a:off x="743043" y="960552"/>
            <a:ext cx="1033309" cy="1523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1E1E1E"/>
                </a:solidFill>
                <a:effectLst/>
                <a:uLnTx/>
                <a:uFillTx/>
                <a:latin typeface="Arial"/>
                <a:ea typeface="+mn-ea"/>
                <a:cs typeface="+mn-cs"/>
              </a:rPr>
              <a:t>July-August</a:t>
            </a:r>
          </a:p>
        </p:txBody>
      </p:sp>
      <p:sp>
        <p:nvSpPr>
          <p:cNvPr id="9" name="TextBox 8">
            <a:extLst>
              <a:ext uri="{FF2B5EF4-FFF2-40B4-BE49-F238E27FC236}">
                <a16:creationId xmlns:a16="http://schemas.microsoft.com/office/drawing/2014/main" xmlns="" id="{016AF477-9F6A-4C92-A7DE-36C3D975EEC2}"/>
              </a:ext>
            </a:extLst>
          </p:cNvPr>
          <p:cNvSpPr txBox="1"/>
          <p:nvPr/>
        </p:nvSpPr>
        <p:spPr>
          <a:xfrm>
            <a:off x="5033550" y="960553"/>
            <a:ext cx="2755179" cy="1523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1E1E1E"/>
                </a:solidFill>
                <a:effectLst/>
                <a:uLnTx/>
                <a:uFillTx/>
                <a:latin typeface="Arial"/>
                <a:ea typeface="+mn-ea"/>
                <a:cs typeface="+mn-cs"/>
              </a:rPr>
              <a:t>~ September-March 2022</a:t>
            </a:r>
            <a:endParaRPr kumimoji="0" lang="en-US" sz="1400" b="1" i="0" u="none" strike="noStrike" kern="0" cap="none" spc="0" normalizeH="0" baseline="0" noProof="0" dirty="0">
              <a:ln>
                <a:noFill/>
              </a:ln>
              <a:solidFill>
                <a:srgbClr val="1E1E1E"/>
              </a:solidFill>
              <a:effectLst/>
              <a:uLnTx/>
              <a:uFillTx/>
              <a:latin typeface="Arial"/>
              <a:ea typeface="+mn-ea"/>
              <a:cs typeface="+mn-cs"/>
            </a:endParaRPr>
          </a:p>
        </p:txBody>
      </p:sp>
      <p:cxnSp>
        <p:nvCxnSpPr>
          <p:cNvPr id="10" name="Straight Arrow Connector 9">
            <a:extLst>
              <a:ext uri="{FF2B5EF4-FFF2-40B4-BE49-F238E27FC236}">
                <a16:creationId xmlns:a16="http://schemas.microsoft.com/office/drawing/2014/main" xmlns="" id="{7F2E7448-464C-4F5D-9142-7F9A7962F8FF}"/>
              </a:ext>
            </a:extLst>
          </p:cNvPr>
          <p:cNvCxnSpPr>
            <a:cxnSpLocks/>
          </p:cNvCxnSpPr>
          <p:nvPr/>
        </p:nvCxnSpPr>
        <p:spPr>
          <a:xfrm>
            <a:off x="2454410" y="1175606"/>
            <a:ext cx="5961521" cy="0"/>
          </a:xfrm>
          <a:prstGeom prst="straightConnector1">
            <a:avLst/>
          </a:prstGeom>
          <a:noFill/>
          <a:ln w="19050" cap="flat" cmpd="sng" algn="ctr">
            <a:solidFill>
              <a:srgbClr val="787878"/>
            </a:solidFill>
            <a:prstDash val="solid"/>
            <a:miter lim="800000"/>
            <a:headEnd type="triangle"/>
            <a:tailEnd type="triangle"/>
          </a:ln>
          <a:effectLst/>
        </p:spPr>
      </p:cxnSp>
      <p:sp>
        <p:nvSpPr>
          <p:cNvPr id="11" name="AutoShape 5">
            <a:extLst>
              <a:ext uri="{FF2B5EF4-FFF2-40B4-BE49-F238E27FC236}">
                <a16:creationId xmlns:a16="http://schemas.microsoft.com/office/drawing/2014/main" xmlns="" id="{45A7E2ED-8411-405A-9201-45EFC1C22E0E}"/>
              </a:ext>
            </a:extLst>
          </p:cNvPr>
          <p:cNvSpPr>
            <a:spLocks noChangeArrowheads="1"/>
          </p:cNvSpPr>
          <p:nvPr/>
        </p:nvSpPr>
        <p:spPr bwMode="auto">
          <a:xfrm>
            <a:off x="373405" y="2993417"/>
            <a:ext cx="1772585" cy="3228182"/>
          </a:xfrm>
          <a:prstGeom prst="rect">
            <a:avLst/>
          </a:prstGeom>
          <a:solidFill>
            <a:srgbClr val="AAB7D5">
              <a:lumMod val="20000"/>
              <a:lumOff val="80000"/>
            </a:srgbClr>
          </a:solidFill>
          <a:ln w="28575">
            <a:noFill/>
          </a:ln>
        </p:spPr>
        <p:txBody>
          <a:bodyPr lIns="90488" tIns="0" rIns="72000" bIns="36000" anchor="ctr"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1" indent="0" algn="l" defTabSz="914400" rtl="0" eaLnBrk="0" fontAlgn="auto" latinLnBrk="0" hangingPunct="0">
              <a:lnSpc>
                <a:spcPct val="90000"/>
              </a:lnSpc>
              <a:spcBef>
                <a:spcPts val="0"/>
              </a:spcBef>
              <a:spcAft>
                <a:spcPts val="0"/>
              </a:spcAft>
              <a:buClr>
                <a:srgbClr val="000000"/>
              </a:buClr>
              <a:buSzPct val="100000"/>
              <a:buFontTx/>
              <a:buNone/>
              <a:tabLst/>
              <a:defRPr/>
            </a:pPr>
            <a:r>
              <a:rPr kumimoji="0" lang="en-ZA" altLang="en-US" sz="1200" b="1" i="0" u="none" strike="noStrike" kern="0" cap="none" spc="0" normalizeH="0" baseline="0" noProof="0" dirty="0">
                <a:ln>
                  <a:noFill/>
                </a:ln>
                <a:solidFill>
                  <a:srgbClr val="004074"/>
                </a:solidFill>
                <a:effectLst/>
                <a:uLnTx/>
                <a:uFillTx/>
                <a:latin typeface="Arial" pitchFamily="34" charset="0"/>
                <a:ea typeface="+mn-ea"/>
                <a:cs typeface="Arial" pitchFamily="34" charset="0"/>
              </a:rPr>
              <a:t>Key Measures:</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endParaRPr kumimoji="0" lang="en-ZA" altLang="en-US" sz="400" b="0" i="0" u="none" strike="noStrike" kern="0" cap="none" spc="0" normalizeH="0" baseline="0" noProof="0" dirty="0">
              <a:ln>
                <a:noFill/>
              </a:ln>
              <a:solidFill>
                <a:srgbClr val="004074"/>
              </a:solidFill>
              <a:effectLst/>
              <a:uLnTx/>
              <a:uFillTx/>
              <a:latin typeface="Arial"/>
              <a:ea typeface="+mn-ea"/>
              <a:cs typeface="Arial" pitchFamily="34" charset="0"/>
            </a:endParaRPr>
          </a:p>
          <a:p>
            <a:pPr marL="152400" marR="0" lvl="1" indent="-152400" algn="l" defTabSz="914400" rtl="0" eaLnBrk="0" fontAlgn="auto" latinLnBrk="0" hangingPunct="0">
              <a:lnSpc>
                <a:spcPct val="90000"/>
              </a:lnSpc>
              <a:spcBef>
                <a:spcPts val="10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Appoint “</a:t>
            </a:r>
            <a:r>
              <a:rPr kumimoji="0" lang="en-ZA" altLang="en-US" sz="1200" b="1" i="0" u="none" strike="noStrike" kern="0" cap="none" spc="0" normalizeH="0" baseline="0" noProof="0" dirty="0">
                <a:ln>
                  <a:noFill/>
                </a:ln>
                <a:solidFill>
                  <a:srgbClr val="004074"/>
                </a:solidFill>
                <a:effectLst/>
                <a:uLnTx/>
                <a:uFillTx/>
                <a:latin typeface="Arial"/>
                <a:ea typeface="+mn-ea"/>
                <a:cs typeface="Arial" pitchFamily="34" charset="0"/>
              </a:rPr>
              <a:t>war room” </a:t>
            </a: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structure </a:t>
            </a:r>
          </a:p>
          <a:p>
            <a:pPr marL="152400" marR="0" lvl="1" indent="-152400" algn="l" defTabSz="914400" rtl="0" eaLnBrk="0" fontAlgn="auto" latinLnBrk="0" hangingPunct="0">
              <a:lnSpc>
                <a:spcPct val="90000"/>
              </a:lnSpc>
              <a:spcBef>
                <a:spcPts val="10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Define crisis management governance structures and </a:t>
            </a:r>
            <a:r>
              <a:rPr kumimoji="0" lang="en-ZA" altLang="en-US" sz="1200" b="0" i="0" u="none" strike="noStrike" kern="0" cap="none" spc="0" normalizeH="0" baseline="0" noProof="0" dirty="0" err="1">
                <a:ln>
                  <a:noFill/>
                </a:ln>
                <a:solidFill>
                  <a:srgbClr val="004074"/>
                </a:solidFill>
                <a:effectLst/>
                <a:uLnTx/>
                <a:uFillTx/>
                <a:latin typeface="Arial"/>
                <a:ea typeface="+mn-ea"/>
                <a:cs typeface="Arial" pitchFamily="34" charset="0"/>
              </a:rPr>
              <a:t>DoA</a:t>
            </a:r>
            <a:endPar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endParaRPr>
          </a:p>
          <a:p>
            <a:pPr marL="152400" marR="0" lvl="1" indent="-152400" algn="l" defTabSz="914400" rtl="0" eaLnBrk="0" fontAlgn="auto" latinLnBrk="0" hangingPunct="0">
              <a:lnSpc>
                <a:spcPct val="90000"/>
              </a:lnSpc>
              <a:spcBef>
                <a:spcPts val="10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Arrange necessary access to systems, workflows, etc.</a:t>
            </a:r>
          </a:p>
          <a:p>
            <a:pPr marL="152400" marR="0" lvl="1" indent="-152400" algn="l" defTabSz="914400" rtl="0" eaLnBrk="0" fontAlgn="auto" latinLnBrk="0" hangingPunct="0">
              <a:lnSpc>
                <a:spcPct val="90000"/>
              </a:lnSpc>
              <a:spcBef>
                <a:spcPts val="10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Develop an information advantage</a:t>
            </a:r>
          </a:p>
          <a:p>
            <a:pPr marL="152400" marR="0" lvl="1" indent="-152400" algn="l" defTabSz="914400" rtl="0" eaLnBrk="0" fontAlgn="auto" latinLnBrk="0" hangingPunct="0">
              <a:lnSpc>
                <a:spcPct val="90000"/>
              </a:lnSpc>
              <a:spcBef>
                <a:spcPts val="10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Drive understanding &amp; rally support from critical stakeholders</a:t>
            </a:r>
          </a:p>
        </p:txBody>
      </p:sp>
      <p:cxnSp>
        <p:nvCxnSpPr>
          <p:cNvPr id="12" name="Straight Connector 11">
            <a:extLst>
              <a:ext uri="{FF2B5EF4-FFF2-40B4-BE49-F238E27FC236}">
                <a16:creationId xmlns:a16="http://schemas.microsoft.com/office/drawing/2014/main" xmlns="" id="{9326070B-8A4B-4401-9E18-847102F6049D}"/>
              </a:ext>
            </a:extLst>
          </p:cNvPr>
          <p:cNvCxnSpPr>
            <a:cxnSpLocks/>
          </p:cNvCxnSpPr>
          <p:nvPr/>
        </p:nvCxnSpPr>
        <p:spPr>
          <a:xfrm>
            <a:off x="2289158" y="1266581"/>
            <a:ext cx="0" cy="4955018"/>
          </a:xfrm>
          <a:prstGeom prst="line">
            <a:avLst/>
          </a:prstGeom>
          <a:noFill/>
          <a:ln w="12700" cap="flat" cmpd="sng" algn="ctr">
            <a:solidFill>
              <a:srgbClr val="004074"/>
            </a:solidFill>
            <a:prstDash val="dash"/>
            <a:miter lim="800000"/>
            <a:headEnd type="none" w="med" len="med"/>
            <a:tailEnd type="none" w="med" len="med"/>
          </a:ln>
          <a:effectLst/>
        </p:spPr>
      </p:cxnSp>
      <p:grpSp>
        <p:nvGrpSpPr>
          <p:cNvPr id="13" name="Group 12">
            <a:extLst>
              <a:ext uri="{FF2B5EF4-FFF2-40B4-BE49-F238E27FC236}">
                <a16:creationId xmlns:a16="http://schemas.microsoft.com/office/drawing/2014/main" xmlns="" id="{5EF5CACE-D5E2-49A1-B3A1-34A030B5BDB6}"/>
              </a:ext>
            </a:extLst>
          </p:cNvPr>
          <p:cNvGrpSpPr/>
          <p:nvPr/>
        </p:nvGrpSpPr>
        <p:grpSpPr>
          <a:xfrm>
            <a:off x="2407070" y="1266581"/>
            <a:ext cx="6165063" cy="1620000"/>
            <a:chOff x="5450076" y="1114877"/>
            <a:chExt cx="6165063" cy="1620000"/>
          </a:xfrm>
        </p:grpSpPr>
        <p:sp>
          <p:nvSpPr>
            <p:cNvPr id="14" name="AutoShape 5">
              <a:extLst>
                <a:ext uri="{FF2B5EF4-FFF2-40B4-BE49-F238E27FC236}">
                  <a16:creationId xmlns:a16="http://schemas.microsoft.com/office/drawing/2014/main" xmlns="" id="{2A3468AB-5F27-4477-8F12-A40A24752749}"/>
                </a:ext>
              </a:extLst>
            </p:cNvPr>
            <p:cNvSpPr>
              <a:spLocks noChangeArrowheads="1"/>
            </p:cNvSpPr>
            <p:nvPr/>
          </p:nvSpPr>
          <p:spPr bwMode="auto">
            <a:xfrm>
              <a:off x="6952425" y="1114877"/>
              <a:ext cx="4662714" cy="1620000"/>
            </a:xfrm>
            <a:prstGeom prst="rect">
              <a:avLst/>
            </a:prstGeom>
            <a:solidFill>
              <a:srgbClr val="AAB7D5">
                <a:lumMod val="20000"/>
                <a:lumOff val="80000"/>
              </a:srgbClr>
            </a:solidFill>
            <a:ln w="28575">
              <a:noFill/>
            </a:ln>
          </p:spPr>
          <p:txBody>
            <a:bodyPr lIns="90488" tIns="0" rIns="72000" bIns="36000" anchor="ctr"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1" indent="0" algn="l" defTabSz="914400" rtl="0" eaLnBrk="0" fontAlgn="auto" latinLnBrk="0" hangingPunct="0">
                <a:lnSpc>
                  <a:spcPct val="90000"/>
                </a:lnSpc>
                <a:spcBef>
                  <a:spcPts val="0"/>
                </a:spcBef>
                <a:spcAft>
                  <a:spcPts val="600"/>
                </a:spcAft>
                <a:buClr>
                  <a:srgbClr val="000000"/>
                </a:buClr>
                <a:buSzPct val="100000"/>
                <a:buFontTx/>
                <a:buNone/>
                <a:tabLst/>
                <a:defRPr/>
              </a:pPr>
              <a:r>
                <a:rPr kumimoji="0" lang="en-ZA" altLang="en-US" sz="1200" b="1" i="0" u="none" strike="noStrike" kern="0" cap="none" spc="0" normalizeH="0" baseline="0" noProof="0" dirty="0">
                  <a:ln>
                    <a:noFill/>
                  </a:ln>
                  <a:solidFill>
                    <a:srgbClr val="004074"/>
                  </a:solidFill>
                  <a:effectLst/>
                  <a:uLnTx/>
                  <a:uFillTx/>
                  <a:latin typeface="Arial"/>
                  <a:ea typeface="+mn-ea"/>
                  <a:cs typeface="Arial" pitchFamily="34" charset="0"/>
                </a:rPr>
                <a:t>Key Measures:</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Establish Cash Management Office</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Release cash through working capital reduction</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Freeze budgets </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Realize rapid cost cutting opportunities</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Divest non-profitable businesses </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De-bottleneck &amp; remove backlogs for ongoing turnaround initiatives </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Consequence management &amp; addressing management failures</a:t>
              </a:r>
            </a:p>
          </p:txBody>
        </p:sp>
        <p:sp>
          <p:nvSpPr>
            <p:cNvPr id="15" name="AutoShape 5">
              <a:extLst>
                <a:ext uri="{FF2B5EF4-FFF2-40B4-BE49-F238E27FC236}">
                  <a16:creationId xmlns:a16="http://schemas.microsoft.com/office/drawing/2014/main" xmlns="" id="{8B7A2D06-BFA0-4873-A0FE-BA85D89EFDB6}"/>
                </a:ext>
              </a:extLst>
            </p:cNvPr>
            <p:cNvSpPr>
              <a:spLocks noChangeArrowheads="1"/>
            </p:cNvSpPr>
            <p:nvPr/>
          </p:nvSpPr>
          <p:spPr bwMode="auto">
            <a:xfrm>
              <a:off x="5475492" y="1114877"/>
              <a:ext cx="1384334" cy="1620000"/>
            </a:xfrm>
            <a:prstGeom prst="rect">
              <a:avLst/>
            </a:prstGeom>
            <a:solidFill>
              <a:srgbClr val="2A79D0"/>
            </a:solidFill>
            <a:ln w="28575">
              <a:noFill/>
            </a:ln>
          </p:spPr>
          <p:txBody>
            <a:bodyPr lIns="144000" tIns="684000" rIns="72000" bIns="36000" anchor="t"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0" fontAlgn="auto" latinLnBrk="0" hangingPunct="0">
                <a:lnSpc>
                  <a:spcPct val="9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FFFFFF"/>
                  </a:solidFill>
                  <a:effectLst/>
                  <a:uLnTx/>
                  <a:uFillTx/>
                  <a:latin typeface="Arial"/>
                  <a:ea typeface="+mn-ea"/>
                  <a:cs typeface="Arial" pitchFamily="34" charset="0"/>
                </a:rPr>
                <a:t>SURVIVE:</a:t>
              </a:r>
            </a:p>
            <a:p>
              <a:pPr marL="0" marR="0" lvl="0" indent="0" algn="l" defTabSz="914400" rtl="0" eaLnBrk="0" fontAlgn="auto" latinLnBrk="0" hangingPunct="0">
                <a:lnSpc>
                  <a:spcPct val="90000"/>
                </a:lnSpc>
                <a:spcBef>
                  <a:spcPts val="0"/>
                </a:spcBef>
                <a:spcAft>
                  <a:spcPts val="0"/>
                </a:spcAft>
                <a:buClrTx/>
                <a:buSzTx/>
                <a:buFontTx/>
                <a:buNone/>
                <a:tabLst/>
                <a:defRPr/>
              </a:pPr>
              <a:r>
                <a:rPr kumimoji="0" lang="en-GB" altLang="en-US" sz="1050" b="0" i="0" u="none" strike="noStrike" kern="0" cap="none" spc="0" normalizeH="0" baseline="0" noProof="0" dirty="0">
                  <a:ln>
                    <a:noFill/>
                  </a:ln>
                  <a:solidFill>
                    <a:srgbClr val="FFFFFF"/>
                  </a:solidFill>
                  <a:effectLst/>
                  <a:uLnTx/>
                  <a:uFillTx/>
                  <a:latin typeface="Arial"/>
                  <a:ea typeface="+mn-ea"/>
                  <a:cs typeface="Arial" pitchFamily="34" charset="0"/>
                </a:rPr>
                <a:t>Immediate action to secure cashflow &amp; realize quick wins</a:t>
              </a:r>
            </a:p>
          </p:txBody>
        </p:sp>
        <p:sp>
          <p:nvSpPr>
            <p:cNvPr id="16" name="Rectangle 15">
              <a:extLst>
                <a:ext uri="{FF2B5EF4-FFF2-40B4-BE49-F238E27FC236}">
                  <a16:creationId xmlns:a16="http://schemas.microsoft.com/office/drawing/2014/main" xmlns="" id="{82941798-3119-4B13-A679-5DD043B66D93}"/>
                </a:ext>
              </a:extLst>
            </p:cNvPr>
            <p:cNvSpPr/>
            <p:nvPr/>
          </p:nvSpPr>
          <p:spPr bwMode="gray">
            <a:xfrm>
              <a:off x="5450076" y="1132155"/>
              <a:ext cx="954210" cy="664797"/>
            </a:xfrm>
            <a:prstGeom prst="rect">
              <a:avLst/>
            </a:prstGeom>
            <a:noFill/>
            <a:ln w="12700" cap="flat" cmpd="sng" algn="ctr">
              <a:noFill/>
              <a:prstDash val="solid"/>
              <a:miter lim="800000"/>
            </a:ln>
            <a:effectLst/>
            <a:extLst>
              <a:ext uri="{909E8E84-426E-40DD-AFC4-6F175D3DCCD1}">
                <a14:hiddenFill xmlns:a14="http://schemas.microsoft.com/office/drawing/2010/main" xmlns="">
                  <a:solidFill>
                    <a:schemeClr val="accent1"/>
                  </a:solidFill>
                </a14:hiddenFill>
              </a:ext>
            </a:extLst>
          </p:spPr>
          <p:txBody>
            <a:bodyPr wrap="square" lIns="0" tIns="0" rIns="0" bIns="0" rtlCol="0" anchor="ctr">
              <a:spAutoFit/>
            </a:bodyPr>
            <a:lstStyle/>
            <a:p>
              <a:pPr marL="0" marR="0" lvl="0" indent="0" algn="ctr" defTabSz="882122" rtl="0" eaLnBrk="1" fontAlgn="auto" latinLnBrk="0" hangingPunct="1">
                <a:lnSpc>
                  <a:spcPct val="90000"/>
                </a:lnSpc>
                <a:spcBef>
                  <a:spcPts val="0"/>
                </a:spcBef>
                <a:spcAft>
                  <a:spcPts val="0"/>
                </a:spcAft>
                <a:buClrTx/>
                <a:buSzTx/>
                <a:buFontTx/>
                <a:buNone/>
                <a:tabLst/>
                <a:defRPr/>
              </a:pPr>
              <a:r>
                <a:rPr kumimoji="0" lang="en-GB" sz="4800" b="1" i="0" u="none" strike="noStrike" kern="0" cap="none" spc="0" normalizeH="0" baseline="0" noProof="0" dirty="0">
                  <a:ln>
                    <a:noFill/>
                  </a:ln>
                  <a:solidFill>
                    <a:srgbClr val="FFFFFF"/>
                  </a:solidFill>
                  <a:effectLst/>
                  <a:uLnTx/>
                  <a:uFillTx/>
                  <a:latin typeface="Arial"/>
                  <a:ea typeface="+mn-ea"/>
                  <a:cs typeface="+mn-cs"/>
                </a:rPr>
                <a:t>2a</a:t>
              </a:r>
            </a:p>
          </p:txBody>
        </p:sp>
      </p:grpSp>
      <p:sp>
        <p:nvSpPr>
          <p:cNvPr id="17" name="Right Triangle 16">
            <a:extLst>
              <a:ext uri="{FF2B5EF4-FFF2-40B4-BE49-F238E27FC236}">
                <a16:creationId xmlns:a16="http://schemas.microsoft.com/office/drawing/2014/main" xmlns="" id="{8F741C41-AF1C-4E8E-8CD4-31651559A967}"/>
              </a:ext>
            </a:extLst>
          </p:cNvPr>
          <p:cNvSpPr/>
          <p:nvPr/>
        </p:nvSpPr>
        <p:spPr>
          <a:xfrm>
            <a:off x="8499122" y="1224707"/>
            <a:ext cx="275376" cy="5376924"/>
          </a:xfrm>
          <a:prstGeom prst="rtTriangle">
            <a:avLst/>
          </a:prstGeom>
          <a:solidFill>
            <a:srgbClr val="E96E09"/>
          </a:solidFill>
          <a:ln w="12700" cap="flat" cmpd="sng" algn="ctr">
            <a:noFill/>
            <a:prstDash val="solid"/>
          </a:ln>
          <a:effectLst/>
        </p:spPr>
        <p:txBody>
          <a:bodyPr rot="0" spcFirstLastPara="0" vertOverflow="overflow" horzOverflow="overflow" vert="vert270" wrap="none" lIns="0" tIns="0" rIns="0" bIns="144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10000"/>
              </a:lnSpc>
              <a:spcBef>
                <a:spcPts val="100"/>
              </a:spcBef>
              <a:spcAft>
                <a:spcPts val="10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ea typeface="+mn-ea"/>
              <a:cs typeface="+mn-cs"/>
            </a:endParaRPr>
          </a:p>
        </p:txBody>
      </p:sp>
      <p:sp>
        <p:nvSpPr>
          <p:cNvPr id="18" name="TextBox 17">
            <a:extLst>
              <a:ext uri="{FF2B5EF4-FFF2-40B4-BE49-F238E27FC236}">
                <a16:creationId xmlns:a16="http://schemas.microsoft.com/office/drawing/2014/main" xmlns="" id="{1596BEDA-9255-4B86-AFD1-F2D269AF7314}"/>
              </a:ext>
            </a:extLst>
          </p:cNvPr>
          <p:cNvSpPr txBox="1"/>
          <p:nvPr/>
        </p:nvSpPr>
        <p:spPr>
          <a:xfrm>
            <a:off x="8591721" y="1266580"/>
            <a:ext cx="514804" cy="332399"/>
          </a:xfrm>
          <a:prstGeom prst="rect">
            <a:avLst/>
          </a:prstGeom>
          <a:noFill/>
          <a:ln w="6350" cap="flat">
            <a:noFill/>
            <a:miter lim="800000"/>
          </a:ln>
        </p:spPr>
        <p:txBody>
          <a:bodyPr wrap="square" lIns="0" tIns="0" rIns="0" bIns="0" rtlCol="0" anchor="t" anchorCtr="0">
            <a:spAutoFit/>
          </a:bodyPr>
          <a:lstStyle/>
          <a:p>
            <a:pPr marL="0" marR="0" lvl="0" indent="0" algn="l" defTabSz="914400" rtl="0" eaLnBrk="1" fontAlgn="auto" latinLnBrk="0" hangingPunct="1">
              <a:lnSpc>
                <a:spcPct val="90000"/>
              </a:lnSpc>
              <a:spcBef>
                <a:spcPts val="600"/>
              </a:spcBef>
              <a:spcAft>
                <a:spcPts val="0"/>
              </a:spcAft>
              <a:buClr>
                <a:srgbClr val="FEA501"/>
              </a:buClr>
              <a:buSzTx/>
              <a:buFontTx/>
              <a:buNone/>
              <a:tabLst/>
              <a:defRPr/>
            </a:pPr>
            <a:r>
              <a:rPr kumimoji="0" lang="en-US" sz="1200" b="1" i="0" u="none" strike="noStrike" kern="1200" cap="none" spc="0" normalizeH="0" baseline="0" noProof="0" dirty="0">
                <a:ln>
                  <a:noFill/>
                </a:ln>
                <a:solidFill>
                  <a:srgbClr val="C00000"/>
                </a:solidFill>
                <a:effectLst/>
                <a:uLnTx/>
                <a:uFillTx/>
                <a:latin typeface="Arial" pitchFamily="34" charset="0"/>
                <a:ea typeface="+mn-ea"/>
                <a:cs typeface="Arial" pitchFamily="34" charset="0"/>
              </a:rPr>
              <a:t>Short term</a:t>
            </a:r>
          </a:p>
        </p:txBody>
      </p:sp>
      <p:sp>
        <p:nvSpPr>
          <p:cNvPr id="19" name="TextBox 18">
            <a:extLst>
              <a:ext uri="{FF2B5EF4-FFF2-40B4-BE49-F238E27FC236}">
                <a16:creationId xmlns:a16="http://schemas.microsoft.com/office/drawing/2014/main" xmlns="" id="{D3C2C58F-37CA-4EAC-AAB4-3EAD9CBF843E}"/>
              </a:ext>
            </a:extLst>
          </p:cNvPr>
          <p:cNvSpPr txBox="1"/>
          <p:nvPr/>
        </p:nvSpPr>
        <p:spPr>
          <a:xfrm>
            <a:off x="8794086" y="6221599"/>
            <a:ext cx="610390" cy="290849"/>
          </a:xfrm>
          <a:prstGeom prst="rect">
            <a:avLst/>
          </a:prstGeom>
          <a:noFill/>
          <a:ln w="6350" cap="flat">
            <a:noFill/>
            <a:miter lim="800000"/>
          </a:ln>
        </p:spPr>
        <p:txBody>
          <a:bodyPr wrap="square" lIns="0" tIns="0" rIns="0" bIns="0" rtlCol="0" anchor="t" anchorCtr="0">
            <a:spAutoFit/>
          </a:bodyPr>
          <a:lstStyle/>
          <a:p>
            <a:pPr marL="0" marR="0" lvl="0" indent="0" algn="l" defTabSz="914400" rtl="0" eaLnBrk="1" fontAlgn="auto" latinLnBrk="0" hangingPunct="1">
              <a:lnSpc>
                <a:spcPct val="90000"/>
              </a:lnSpc>
              <a:spcBef>
                <a:spcPts val="600"/>
              </a:spcBef>
              <a:spcAft>
                <a:spcPts val="0"/>
              </a:spcAft>
              <a:buClr>
                <a:srgbClr val="FEA501"/>
              </a:buClr>
              <a:buSzTx/>
              <a:buFontTx/>
              <a:buNone/>
              <a:tabLst/>
              <a:defRPr/>
            </a:pPr>
            <a:r>
              <a:rPr kumimoji="0" lang="en-US" sz="1050" b="1" i="0" u="none" strike="noStrike" kern="1200" cap="none" spc="0" normalizeH="0" baseline="0" noProof="0" dirty="0">
                <a:ln>
                  <a:noFill/>
                </a:ln>
                <a:solidFill>
                  <a:srgbClr val="C00000"/>
                </a:solidFill>
                <a:effectLst/>
                <a:uLnTx/>
                <a:uFillTx/>
                <a:latin typeface="Arial" pitchFamily="34" charset="0"/>
                <a:ea typeface="+mn-ea"/>
                <a:cs typeface="Arial" pitchFamily="34" charset="0"/>
              </a:rPr>
              <a:t>Long term</a:t>
            </a:r>
          </a:p>
        </p:txBody>
      </p:sp>
      <p:grpSp>
        <p:nvGrpSpPr>
          <p:cNvPr id="20" name="Group 19">
            <a:extLst>
              <a:ext uri="{FF2B5EF4-FFF2-40B4-BE49-F238E27FC236}">
                <a16:creationId xmlns:a16="http://schemas.microsoft.com/office/drawing/2014/main" xmlns="" id="{43E1EFF0-2E9E-4B1E-A599-4FC0C3E1CE5B}"/>
              </a:ext>
            </a:extLst>
          </p:cNvPr>
          <p:cNvGrpSpPr/>
          <p:nvPr/>
        </p:nvGrpSpPr>
        <p:grpSpPr>
          <a:xfrm>
            <a:off x="2407070" y="2943835"/>
            <a:ext cx="6008861" cy="1620007"/>
            <a:chOff x="5450076" y="2841712"/>
            <a:chExt cx="6008861" cy="1620007"/>
          </a:xfrm>
        </p:grpSpPr>
        <p:sp>
          <p:nvSpPr>
            <p:cNvPr id="21" name="AutoShape 5">
              <a:extLst>
                <a:ext uri="{FF2B5EF4-FFF2-40B4-BE49-F238E27FC236}">
                  <a16:creationId xmlns:a16="http://schemas.microsoft.com/office/drawing/2014/main" xmlns="" id="{5AFFD056-A344-4958-BAD8-D1E5D86525DA}"/>
                </a:ext>
              </a:extLst>
            </p:cNvPr>
            <p:cNvSpPr>
              <a:spLocks noChangeArrowheads="1"/>
            </p:cNvSpPr>
            <p:nvPr/>
          </p:nvSpPr>
          <p:spPr bwMode="auto">
            <a:xfrm>
              <a:off x="5475492" y="2841712"/>
              <a:ext cx="1384334" cy="1620000"/>
            </a:xfrm>
            <a:prstGeom prst="rect">
              <a:avLst/>
            </a:prstGeom>
            <a:solidFill>
              <a:srgbClr val="2A79D0"/>
            </a:solidFill>
            <a:ln w="28575">
              <a:noFill/>
            </a:ln>
          </p:spPr>
          <p:txBody>
            <a:bodyPr lIns="144000" tIns="684000" rIns="72000" bIns="36000" anchor="t"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0" fontAlgn="auto" latinLnBrk="0" hangingPunct="0">
                <a:lnSpc>
                  <a:spcPct val="9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FFFFFF"/>
                  </a:solidFill>
                  <a:effectLst/>
                  <a:uLnTx/>
                  <a:uFillTx/>
                  <a:latin typeface="Arial"/>
                  <a:ea typeface="+mn-ea"/>
                  <a:cs typeface="Arial" pitchFamily="34" charset="0"/>
                </a:rPr>
                <a:t>IMPROVE:</a:t>
              </a:r>
            </a:p>
            <a:p>
              <a:pPr marL="0" marR="0" lvl="0" indent="0" algn="l" defTabSz="914400" rtl="0" eaLnBrk="0" fontAlgn="auto" latinLnBrk="0" hangingPunct="0">
                <a:lnSpc>
                  <a:spcPct val="90000"/>
                </a:lnSpc>
                <a:spcBef>
                  <a:spcPts val="0"/>
                </a:spcBef>
                <a:spcAft>
                  <a:spcPts val="0"/>
                </a:spcAft>
                <a:buClrTx/>
                <a:buSzTx/>
                <a:buFontTx/>
                <a:buNone/>
                <a:tabLst/>
                <a:defRPr/>
              </a:pPr>
              <a:r>
                <a:rPr kumimoji="0" lang="en-GB" altLang="en-US" sz="1050" b="0" i="0" u="none" strike="noStrike" kern="0" cap="none" spc="0" normalizeH="0" baseline="0" noProof="0" dirty="0">
                  <a:ln>
                    <a:noFill/>
                  </a:ln>
                  <a:solidFill>
                    <a:srgbClr val="FFFFFF"/>
                  </a:solidFill>
                  <a:effectLst/>
                  <a:uLnTx/>
                  <a:uFillTx/>
                  <a:latin typeface="Arial"/>
                  <a:ea typeface="+mn-ea"/>
                  <a:cs typeface="Arial" pitchFamily="34" charset="0"/>
                </a:rPr>
                <a:t>Identify &amp; mobilize fundamental action to reduce cost</a:t>
              </a:r>
            </a:p>
            <a:p>
              <a:pPr marL="0" marR="0" lvl="0" indent="0" algn="l" defTabSz="914400" rtl="0" eaLnBrk="0" fontAlgn="auto" latinLnBrk="0" hangingPunct="0">
                <a:lnSpc>
                  <a:spcPct val="90000"/>
                </a:lnSpc>
                <a:spcBef>
                  <a:spcPts val="0"/>
                </a:spcBef>
                <a:spcAft>
                  <a:spcPts val="0"/>
                </a:spcAft>
                <a:buClrTx/>
                <a:buSzTx/>
                <a:buFontTx/>
                <a:buNone/>
                <a:tabLst/>
                <a:defRPr/>
              </a:pPr>
              <a:endParaRPr kumimoji="0" lang="en-GB" altLang="en-US" sz="1600" b="1" i="0" u="none" strike="noStrike" kern="0" cap="none" spc="0" normalizeH="0" baseline="0" noProof="0" dirty="0">
                <a:ln>
                  <a:noFill/>
                </a:ln>
                <a:solidFill>
                  <a:srgbClr val="FFFFFF"/>
                </a:solidFill>
                <a:effectLst/>
                <a:uLnTx/>
                <a:uFillTx/>
                <a:latin typeface="Arial"/>
                <a:ea typeface="+mn-ea"/>
                <a:cs typeface="Arial" pitchFamily="34" charset="0"/>
              </a:endParaRPr>
            </a:p>
            <a:p>
              <a:pPr marL="0" marR="0" lvl="0" indent="0" algn="l" defTabSz="914400" rtl="0" eaLnBrk="0" fontAlgn="auto" latinLnBrk="0" hangingPunct="0">
                <a:lnSpc>
                  <a:spcPct val="9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FFFFFF"/>
                  </a:solidFill>
                  <a:effectLst/>
                  <a:uLnTx/>
                  <a:uFillTx/>
                  <a:latin typeface="Arial"/>
                  <a:ea typeface="+mn-ea"/>
                  <a:cs typeface="Arial" pitchFamily="34" charset="0"/>
                </a:rPr>
                <a:t> </a:t>
              </a:r>
            </a:p>
          </p:txBody>
        </p:sp>
        <p:sp>
          <p:nvSpPr>
            <p:cNvPr id="22" name="AutoShape 5">
              <a:extLst>
                <a:ext uri="{FF2B5EF4-FFF2-40B4-BE49-F238E27FC236}">
                  <a16:creationId xmlns:a16="http://schemas.microsoft.com/office/drawing/2014/main" xmlns="" id="{31140D31-8C1F-496C-837B-C5A4249E6594}"/>
                </a:ext>
              </a:extLst>
            </p:cNvPr>
            <p:cNvSpPr>
              <a:spLocks noChangeArrowheads="1"/>
            </p:cNvSpPr>
            <p:nvPr/>
          </p:nvSpPr>
          <p:spPr bwMode="auto">
            <a:xfrm>
              <a:off x="6941461" y="2841719"/>
              <a:ext cx="4517476" cy="1620000"/>
            </a:xfrm>
            <a:prstGeom prst="rect">
              <a:avLst/>
            </a:prstGeom>
            <a:solidFill>
              <a:srgbClr val="AAB7D5">
                <a:lumMod val="20000"/>
                <a:lumOff val="80000"/>
              </a:srgbClr>
            </a:solidFill>
            <a:ln w="28575">
              <a:noFill/>
            </a:ln>
          </p:spPr>
          <p:txBody>
            <a:bodyPr lIns="90488" tIns="0" rIns="72000" bIns="36000" anchor="ctr"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1" indent="0" algn="l" defTabSz="914400" rtl="0" eaLnBrk="0" fontAlgn="auto" latinLnBrk="0" hangingPunct="0">
                <a:lnSpc>
                  <a:spcPct val="90000"/>
                </a:lnSpc>
                <a:spcBef>
                  <a:spcPts val="600"/>
                </a:spcBef>
                <a:spcAft>
                  <a:spcPts val="0"/>
                </a:spcAft>
                <a:buClr>
                  <a:srgbClr val="000000"/>
                </a:buClr>
                <a:buSzPct val="100000"/>
                <a:buFontTx/>
                <a:buNone/>
                <a:tabLst/>
                <a:defRPr/>
              </a:pPr>
              <a:r>
                <a:rPr kumimoji="0" lang="en-ZA" altLang="en-US" sz="1200" b="1" i="0" u="none" strike="noStrike" kern="0" cap="none" spc="0" normalizeH="0" baseline="0" noProof="0" dirty="0">
                  <a:ln>
                    <a:noFill/>
                  </a:ln>
                  <a:solidFill>
                    <a:srgbClr val="004074"/>
                  </a:solidFill>
                  <a:effectLst/>
                  <a:uLnTx/>
                  <a:uFillTx/>
                  <a:latin typeface="Arial"/>
                  <a:ea typeface="+mn-ea"/>
                  <a:cs typeface="Arial" pitchFamily="34" charset="0"/>
                </a:rPr>
                <a:t>Key Measures for consideration:</a:t>
              </a:r>
            </a:p>
            <a:p>
              <a:pPr marL="152400" marR="0" lvl="1" indent="-152400" algn="l" defTabSz="914400" rtl="0" eaLnBrk="0" fontAlgn="auto" latinLnBrk="0" hangingPunct="0">
                <a:lnSpc>
                  <a:spcPct val="90000"/>
                </a:lnSpc>
                <a:spcBef>
                  <a:spcPts val="60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Decrease 3</a:t>
              </a:r>
              <a:r>
                <a:rPr kumimoji="0" lang="en-ZA" altLang="en-US" sz="1200" b="0" i="0" u="none" strike="noStrike" kern="0" cap="none" spc="0" normalizeH="0" baseline="30000" noProof="0" dirty="0">
                  <a:ln>
                    <a:noFill/>
                  </a:ln>
                  <a:solidFill>
                    <a:srgbClr val="004074"/>
                  </a:solidFill>
                  <a:effectLst/>
                  <a:uLnTx/>
                  <a:uFillTx/>
                  <a:latin typeface="Arial"/>
                  <a:ea typeface="+mn-ea"/>
                  <a:cs typeface="Arial" pitchFamily="34" charset="0"/>
                </a:rPr>
                <a:t>rd</a:t>
              </a: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 party spend through sourcing strategies</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Streamline overheads in sales</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Improve operations efficiency and streamline supply chain processes </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Reduce complexity in product/ customer p</a:t>
              </a:r>
              <a:r>
                <a:rPr kumimoji="0" lang="en-ZA" altLang="en-US" sz="1200" b="1" i="0" u="none" strike="noStrike" kern="0" cap="none" spc="0" normalizeH="0" baseline="0" noProof="0" dirty="0">
                  <a:ln>
                    <a:noFill/>
                  </a:ln>
                  <a:solidFill>
                    <a:srgbClr val="004074"/>
                  </a:solidFill>
                  <a:effectLst/>
                  <a:uLnTx/>
                  <a:uFillTx/>
                  <a:latin typeface="Arial"/>
                  <a:ea typeface="+mn-ea"/>
                  <a:cs typeface="Arial" pitchFamily="34" charset="0"/>
                </a:rPr>
                <a:t>ortfolio</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Divest non-core assets and businesses </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US" altLang="en-US" sz="1200" b="0" i="0" u="none" strike="noStrike" kern="0" cap="none" spc="0" normalizeH="0" baseline="0" noProof="0" dirty="0">
                  <a:ln>
                    <a:noFill/>
                  </a:ln>
                  <a:solidFill>
                    <a:srgbClr val="004074"/>
                  </a:solidFill>
                  <a:effectLst/>
                  <a:uLnTx/>
                  <a:uFillTx/>
                  <a:latin typeface="Arial"/>
                  <a:ea typeface="+mn-ea"/>
                  <a:cs typeface="Arial" pitchFamily="34" charset="0"/>
                </a:rPr>
                <a:t>Organisational rationalization (Voluntary Severance Packages)</a:t>
              </a:r>
              <a:endPar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endParaRPr>
            </a:p>
          </p:txBody>
        </p:sp>
        <p:sp>
          <p:nvSpPr>
            <p:cNvPr id="23" name="Rectangle 22">
              <a:extLst>
                <a:ext uri="{FF2B5EF4-FFF2-40B4-BE49-F238E27FC236}">
                  <a16:creationId xmlns:a16="http://schemas.microsoft.com/office/drawing/2014/main" xmlns="" id="{C3C1367D-E3E3-41EA-BC26-9E6964F02A70}"/>
                </a:ext>
              </a:extLst>
            </p:cNvPr>
            <p:cNvSpPr/>
            <p:nvPr/>
          </p:nvSpPr>
          <p:spPr bwMode="gray">
            <a:xfrm>
              <a:off x="5450076" y="2862969"/>
              <a:ext cx="954210" cy="664797"/>
            </a:xfrm>
            <a:prstGeom prst="rect">
              <a:avLst/>
            </a:prstGeom>
            <a:noFill/>
            <a:ln w="12700" cap="flat" cmpd="sng" algn="ctr">
              <a:noFill/>
              <a:prstDash val="solid"/>
              <a:miter lim="800000"/>
            </a:ln>
            <a:effectLst/>
            <a:extLst>
              <a:ext uri="{909E8E84-426E-40DD-AFC4-6F175D3DCCD1}">
                <a14:hiddenFill xmlns:a14="http://schemas.microsoft.com/office/drawing/2010/main" xmlns="">
                  <a:solidFill>
                    <a:schemeClr val="accent1"/>
                  </a:solidFill>
                </a14:hiddenFill>
              </a:ext>
            </a:extLst>
          </p:spPr>
          <p:txBody>
            <a:bodyPr wrap="square" lIns="0" tIns="0" rIns="0" bIns="0" rtlCol="0" anchor="ctr">
              <a:spAutoFit/>
            </a:bodyPr>
            <a:lstStyle/>
            <a:p>
              <a:pPr marL="0" marR="0" lvl="0" indent="0" algn="ctr" defTabSz="882122" rtl="0" eaLnBrk="1" fontAlgn="auto" latinLnBrk="0" hangingPunct="1">
                <a:lnSpc>
                  <a:spcPct val="90000"/>
                </a:lnSpc>
                <a:spcBef>
                  <a:spcPts val="0"/>
                </a:spcBef>
                <a:spcAft>
                  <a:spcPts val="0"/>
                </a:spcAft>
                <a:buClrTx/>
                <a:buSzTx/>
                <a:buFontTx/>
                <a:buNone/>
                <a:tabLst/>
                <a:defRPr/>
              </a:pPr>
              <a:r>
                <a:rPr kumimoji="0" lang="en-GB" sz="4800" b="1" i="0" u="none" strike="noStrike" kern="0" cap="none" spc="0" normalizeH="0" baseline="0" noProof="0" dirty="0">
                  <a:ln>
                    <a:noFill/>
                  </a:ln>
                  <a:solidFill>
                    <a:srgbClr val="FFFFFF"/>
                  </a:solidFill>
                  <a:effectLst/>
                  <a:uLnTx/>
                  <a:uFillTx/>
                  <a:latin typeface="Arial"/>
                  <a:ea typeface="+mn-ea"/>
                  <a:cs typeface="+mn-cs"/>
                </a:rPr>
                <a:t>2b</a:t>
              </a:r>
            </a:p>
          </p:txBody>
        </p:sp>
      </p:grpSp>
      <p:grpSp>
        <p:nvGrpSpPr>
          <p:cNvPr id="24" name="Group 23">
            <a:extLst>
              <a:ext uri="{FF2B5EF4-FFF2-40B4-BE49-F238E27FC236}">
                <a16:creationId xmlns:a16="http://schemas.microsoft.com/office/drawing/2014/main" xmlns="" id="{C48C6FE9-E8B3-49E0-B574-38855532989E}"/>
              </a:ext>
            </a:extLst>
          </p:cNvPr>
          <p:cNvGrpSpPr/>
          <p:nvPr/>
        </p:nvGrpSpPr>
        <p:grpSpPr>
          <a:xfrm>
            <a:off x="2407070" y="4621097"/>
            <a:ext cx="5997897" cy="1620007"/>
            <a:chOff x="5450076" y="4568546"/>
            <a:chExt cx="5997897" cy="1620007"/>
          </a:xfrm>
        </p:grpSpPr>
        <p:sp>
          <p:nvSpPr>
            <p:cNvPr id="25" name="AutoShape 5">
              <a:extLst>
                <a:ext uri="{FF2B5EF4-FFF2-40B4-BE49-F238E27FC236}">
                  <a16:creationId xmlns:a16="http://schemas.microsoft.com/office/drawing/2014/main" xmlns="" id="{94E673B1-BF20-4D60-968B-09BD347184E3}"/>
                </a:ext>
              </a:extLst>
            </p:cNvPr>
            <p:cNvSpPr>
              <a:spLocks noChangeArrowheads="1"/>
            </p:cNvSpPr>
            <p:nvPr/>
          </p:nvSpPr>
          <p:spPr bwMode="auto">
            <a:xfrm>
              <a:off x="5475492" y="4568546"/>
              <a:ext cx="1384334" cy="1620000"/>
            </a:xfrm>
            <a:prstGeom prst="rect">
              <a:avLst/>
            </a:prstGeom>
            <a:solidFill>
              <a:srgbClr val="2A79D0"/>
            </a:solidFill>
            <a:ln w="28575">
              <a:noFill/>
            </a:ln>
          </p:spPr>
          <p:txBody>
            <a:bodyPr lIns="144000" tIns="684000" rIns="36000" bIns="36000" anchor="t"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0" fontAlgn="auto" latinLnBrk="0" hangingPunct="0">
                <a:lnSpc>
                  <a:spcPct val="9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FFFFFF"/>
                  </a:solidFill>
                  <a:effectLst/>
                  <a:uLnTx/>
                  <a:uFillTx/>
                  <a:latin typeface="Arial"/>
                  <a:ea typeface="+mn-ea"/>
                  <a:cs typeface="Arial" pitchFamily="34" charset="0"/>
                </a:rPr>
                <a:t>POSITION</a:t>
              </a:r>
            </a:p>
            <a:p>
              <a:pPr marL="0" marR="0" lvl="0" indent="0" algn="l" defTabSz="914400" rtl="0" eaLnBrk="0" fontAlgn="auto" latinLnBrk="0" hangingPunct="0">
                <a:lnSpc>
                  <a:spcPct val="90000"/>
                </a:lnSpc>
                <a:spcBef>
                  <a:spcPts val="0"/>
                </a:spcBef>
                <a:spcAft>
                  <a:spcPts val="0"/>
                </a:spcAft>
                <a:buClrTx/>
                <a:buSzTx/>
                <a:buFontTx/>
                <a:buNone/>
                <a:tabLst/>
                <a:defRPr/>
              </a:pPr>
              <a:r>
                <a:rPr kumimoji="0" lang="en-GB" altLang="en-US" sz="1050" b="0" i="0" u="none" strike="noStrike" kern="0" cap="none" spc="0" normalizeH="0" baseline="0" noProof="0" dirty="0">
                  <a:ln>
                    <a:noFill/>
                  </a:ln>
                  <a:solidFill>
                    <a:srgbClr val="FFFFFF"/>
                  </a:solidFill>
                  <a:effectLst/>
                  <a:uLnTx/>
                  <a:uFillTx/>
                  <a:latin typeface="Arial"/>
                  <a:ea typeface="+mn-ea"/>
                  <a:cs typeface="Arial" pitchFamily="34" charset="0"/>
                </a:rPr>
                <a:t>Identify &amp; define roadmap for business continuity &amp; sustainability</a:t>
              </a:r>
              <a:endParaRPr kumimoji="0" lang="en-US" altLang="en-US" sz="14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26" name="AutoShape 5">
              <a:extLst>
                <a:ext uri="{FF2B5EF4-FFF2-40B4-BE49-F238E27FC236}">
                  <a16:creationId xmlns:a16="http://schemas.microsoft.com/office/drawing/2014/main" xmlns="" id="{E630E50C-2B41-491A-8AF3-D8131A6B298A}"/>
                </a:ext>
              </a:extLst>
            </p:cNvPr>
            <p:cNvSpPr>
              <a:spLocks noChangeArrowheads="1"/>
            </p:cNvSpPr>
            <p:nvPr/>
          </p:nvSpPr>
          <p:spPr bwMode="auto">
            <a:xfrm>
              <a:off x="6941461" y="4568553"/>
              <a:ext cx="4506512" cy="1620000"/>
            </a:xfrm>
            <a:prstGeom prst="rect">
              <a:avLst/>
            </a:prstGeom>
            <a:solidFill>
              <a:srgbClr val="AAB7D5">
                <a:lumMod val="20000"/>
                <a:lumOff val="80000"/>
              </a:srgbClr>
            </a:solidFill>
            <a:ln w="28575">
              <a:noFill/>
            </a:ln>
          </p:spPr>
          <p:txBody>
            <a:bodyPr lIns="90488" tIns="0" rIns="72000" bIns="36000" anchor="ctr"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1" indent="0" algn="l" defTabSz="914400" rtl="0" eaLnBrk="0" fontAlgn="auto" latinLnBrk="0" hangingPunct="0">
                <a:lnSpc>
                  <a:spcPct val="90000"/>
                </a:lnSpc>
                <a:spcBef>
                  <a:spcPts val="600"/>
                </a:spcBef>
                <a:spcAft>
                  <a:spcPts val="600"/>
                </a:spcAft>
                <a:buClr>
                  <a:srgbClr val="000000"/>
                </a:buClr>
                <a:buSzPct val="100000"/>
                <a:buFontTx/>
                <a:buNone/>
                <a:tabLst/>
                <a:defRPr/>
              </a:pPr>
              <a:r>
                <a:rPr kumimoji="0" lang="en-ZA" altLang="en-US" sz="1200" b="1" i="0" u="none" strike="noStrike" kern="0" cap="none" spc="0" normalizeH="0" baseline="0" noProof="0" dirty="0">
                  <a:ln>
                    <a:noFill/>
                  </a:ln>
                  <a:solidFill>
                    <a:srgbClr val="004074"/>
                  </a:solidFill>
                  <a:effectLst/>
                  <a:uLnTx/>
                  <a:uFillTx/>
                  <a:latin typeface="Arial"/>
                  <a:ea typeface="+mn-ea"/>
                  <a:cs typeface="Arial" pitchFamily="34" charset="0"/>
                </a:rPr>
                <a:t>Key Measures for consideration:</a:t>
              </a: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Ensure business continuity</a:t>
              </a:r>
            </a:p>
            <a:p>
              <a:pPr marL="288000" marR="0" lvl="1" indent="0" algn="l" defTabSz="914400" rtl="0" eaLnBrk="0" fontAlgn="auto" latinLnBrk="0" hangingPunct="0">
                <a:lnSpc>
                  <a:spcPct val="90000"/>
                </a:lnSpc>
                <a:spcBef>
                  <a:spcPts val="0"/>
                </a:spcBef>
                <a:spcAft>
                  <a:spcPts val="0"/>
                </a:spcAft>
                <a:buClr>
                  <a:srgbClr val="000000"/>
                </a:buClr>
                <a:buSzPct val="100000"/>
                <a:buFontTx/>
                <a:buNone/>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a. Improving and growing the TS&amp;L capability</a:t>
              </a:r>
            </a:p>
            <a:p>
              <a:pPr marL="288000" marR="0" lvl="1" indent="0" algn="l" defTabSz="914400" rtl="0" eaLnBrk="0" fontAlgn="auto" latinLnBrk="0" hangingPunct="0">
                <a:lnSpc>
                  <a:spcPct val="90000"/>
                </a:lnSpc>
                <a:spcBef>
                  <a:spcPts val="0"/>
                </a:spcBef>
                <a:spcAft>
                  <a:spcPts val="0"/>
                </a:spcAft>
                <a:buClr>
                  <a:srgbClr val="000000"/>
                </a:buClr>
                <a:buSzPct val="100000"/>
                <a:buFontTx/>
                <a:buNone/>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b. Sourcing of commercially viable feedstock</a:t>
              </a:r>
            </a:p>
            <a:p>
              <a:pPr marL="288000" marR="0" lvl="1" indent="0" algn="l" defTabSz="914400" rtl="0" eaLnBrk="0" fontAlgn="auto" latinLnBrk="0" hangingPunct="0">
                <a:lnSpc>
                  <a:spcPct val="90000"/>
                </a:lnSpc>
                <a:spcBef>
                  <a:spcPts val="0"/>
                </a:spcBef>
                <a:spcAft>
                  <a:spcPts val="0"/>
                </a:spcAft>
                <a:buClr>
                  <a:srgbClr val="000000"/>
                </a:buClr>
                <a:buSzPct val="100000"/>
                <a:buFontTx/>
                <a:buNone/>
                <a:tabLst/>
                <a:defRPr/>
              </a:pPr>
              <a:r>
                <a:rPr kumimoji="0" lang="en-US" altLang="en-US" sz="1200" b="0" i="0" u="none" strike="noStrike" kern="0" cap="none" spc="0" normalizeH="0" baseline="0" noProof="0" dirty="0">
                  <a:ln>
                    <a:noFill/>
                  </a:ln>
                  <a:solidFill>
                    <a:srgbClr val="004074"/>
                  </a:solidFill>
                  <a:effectLst/>
                  <a:uLnTx/>
                  <a:uFillTx/>
                  <a:latin typeface="Arial"/>
                  <a:ea typeface="+mn-ea"/>
                  <a:cs typeface="Arial" pitchFamily="34" charset="0"/>
                </a:rPr>
                <a:t>c. Organisational restructuring</a:t>
              </a:r>
              <a:endPar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endParaRPr>
            </a:p>
            <a:p>
              <a:pPr marL="152400" marR="0" lvl="1" indent="-152400" algn="l" defTabSz="914400" rtl="0" eaLnBrk="0" fontAlgn="auto" latinLnBrk="0" hangingPunct="0">
                <a:lnSpc>
                  <a:spcPct val="90000"/>
                </a:lnSpc>
                <a:spcBef>
                  <a:spcPts val="0"/>
                </a:spcBef>
                <a:spcAft>
                  <a:spcPts val="0"/>
                </a:spcAft>
                <a:buClr>
                  <a:srgbClr val="000000"/>
                </a:buClr>
                <a:buSzPct val="100000"/>
                <a:buFont typeface="Arial" panose="020B0604020202020204" pitchFamily="34" charset="0"/>
                <a:buChar char="–"/>
                <a:tabLst/>
                <a:defRPr/>
              </a:pPr>
              <a:r>
                <a:rPr kumimoji="0" lang="en-ZA" altLang="en-US" sz="1200" b="0" i="0" u="none" strike="noStrike" kern="0" cap="none" spc="0" normalizeH="0" baseline="0" noProof="0" dirty="0">
                  <a:ln>
                    <a:noFill/>
                  </a:ln>
                  <a:solidFill>
                    <a:srgbClr val="004074"/>
                  </a:solidFill>
                  <a:effectLst/>
                  <a:uLnTx/>
                  <a:uFillTx/>
                  <a:latin typeface="Arial"/>
                  <a:ea typeface="+mn-ea"/>
                  <a:cs typeface="Arial" pitchFamily="34" charset="0"/>
                </a:rPr>
                <a:t>Drive long-term sustainable solution for the refinery</a:t>
              </a:r>
            </a:p>
          </p:txBody>
        </p:sp>
        <p:sp>
          <p:nvSpPr>
            <p:cNvPr id="27" name="Rectangle 26">
              <a:extLst>
                <a:ext uri="{FF2B5EF4-FFF2-40B4-BE49-F238E27FC236}">
                  <a16:creationId xmlns:a16="http://schemas.microsoft.com/office/drawing/2014/main" xmlns="" id="{FE324ECC-FEDA-491E-AC7C-994BEACA97F8}"/>
                </a:ext>
              </a:extLst>
            </p:cNvPr>
            <p:cNvSpPr/>
            <p:nvPr/>
          </p:nvSpPr>
          <p:spPr bwMode="gray">
            <a:xfrm>
              <a:off x="5450076" y="4587814"/>
              <a:ext cx="954210" cy="664797"/>
            </a:xfrm>
            <a:prstGeom prst="rect">
              <a:avLst/>
            </a:prstGeom>
            <a:noFill/>
            <a:ln w="12700" cap="flat" cmpd="sng" algn="ctr">
              <a:noFill/>
              <a:prstDash val="solid"/>
              <a:miter lim="800000"/>
            </a:ln>
            <a:effectLst/>
            <a:extLst>
              <a:ext uri="{909E8E84-426E-40DD-AFC4-6F175D3DCCD1}">
                <a14:hiddenFill xmlns:a14="http://schemas.microsoft.com/office/drawing/2010/main" xmlns="">
                  <a:solidFill>
                    <a:schemeClr val="accent1"/>
                  </a:solidFill>
                </a14:hiddenFill>
              </a:ext>
            </a:extLst>
          </p:spPr>
          <p:txBody>
            <a:bodyPr wrap="square" lIns="0" tIns="0" rIns="0" bIns="0" rtlCol="0" anchor="ctr">
              <a:spAutoFit/>
            </a:bodyPr>
            <a:lstStyle/>
            <a:p>
              <a:pPr marL="0" marR="0" lvl="0" indent="0" algn="ctr" defTabSz="882122" rtl="0" eaLnBrk="1" fontAlgn="auto" latinLnBrk="0" hangingPunct="1">
                <a:lnSpc>
                  <a:spcPct val="90000"/>
                </a:lnSpc>
                <a:spcBef>
                  <a:spcPts val="0"/>
                </a:spcBef>
                <a:spcAft>
                  <a:spcPts val="0"/>
                </a:spcAft>
                <a:buClrTx/>
                <a:buSzTx/>
                <a:buFontTx/>
                <a:buNone/>
                <a:tabLst/>
                <a:defRPr/>
              </a:pPr>
              <a:r>
                <a:rPr kumimoji="0" lang="en-GB" sz="4800" b="1" i="0" u="none" strike="noStrike" kern="0" cap="none" spc="0" normalizeH="0" baseline="0" noProof="0" dirty="0">
                  <a:ln>
                    <a:noFill/>
                  </a:ln>
                  <a:solidFill>
                    <a:srgbClr val="FFFFFF"/>
                  </a:solidFill>
                  <a:effectLst/>
                  <a:uLnTx/>
                  <a:uFillTx/>
                  <a:latin typeface="Arial"/>
                  <a:ea typeface="+mn-ea"/>
                  <a:cs typeface="+mn-cs"/>
                </a:rPr>
                <a:t>2c</a:t>
              </a:r>
            </a:p>
          </p:txBody>
        </p:sp>
      </p:grpSp>
      <p:sp>
        <p:nvSpPr>
          <p:cNvPr id="28" name="TextBox 27">
            <a:extLst>
              <a:ext uri="{FF2B5EF4-FFF2-40B4-BE49-F238E27FC236}">
                <a16:creationId xmlns:a16="http://schemas.microsoft.com/office/drawing/2014/main" xmlns="" id="{0D1A39A3-605F-4644-A81B-59C66BFD7D05}"/>
              </a:ext>
            </a:extLst>
          </p:cNvPr>
          <p:cNvSpPr txBox="1"/>
          <p:nvPr/>
        </p:nvSpPr>
        <p:spPr>
          <a:xfrm>
            <a:off x="274149" y="6482082"/>
            <a:ext cx="7572057" cy="382866"/>
          </a:xfrm>
          <a:prstGeom prst="rect">
            <a:avLst/>
          </a:prstGeom>
          <a:noFill/>
          <a:ln w="6350" cap="flat">
            <a:noFill/>
            <a:miter lim="800000"/>
          </a:ln>
        </p:spPr>
        <p:txBody>
          <a:bodyPr vert="horz" wrap="square" lIns="0" tIns="0" rIns="0" bIns="0" rtlCol="0" anchor="b" anchorCtr="0">
            <a:noAutofit/>
          </a:bodyPr>
          <a:lstStyle/>
          <a:p>
            <a:pPr marL="0" marR="0" lvl="0" indent="0" algn="l" defTabSz="882122" rtl="0" eaLnBrk="1" fontAlgn="auto" latinLnBrk="0" hangingPunct="1">
              <a:lnSpc>
                <a:spcPct val="90000"/>
              </a:lnSpc>
              <a:spcBef>
                <a:spcPct val="0"/>
              </a:spcBef>
              <a:spcAft>
                <a:spcPts val="0"/>
              </a:spcAft>
              <a:buClr>
                <a:srgbClr val="FEA501"/>
              </a:buClr>
              <a:buSzTx/>
              <a:buFontTx/>
              <a:buNone/>
              <a:tabLst/>
              <a:defRPr/>
            </a:pPr>
            <a:r>
              <a:rPr kumimoji="0" lang="en-GB" sz="965" b="0" i="0" u="none" strike="noStrike" kern="1200" cap="none" spc="0" normalizeH="0" baseline="0" noProof="0" dirty="0">
                <a:ln>
                  <a:noFill/>
                </a:ln>
                <a:solidFill>
                  <a:srgbClr val="FFFFFF">
                    <a:lumMod val="65000"/>
                  </a:srgbClr>
                </a:solidFill>
                <a:effectLst/>
                <a:uLnTx/>
                <a:uFillTx/>
                <a:latin typeface="Arial" panose="020B0604020202020204" pitchFamily="34" charset="0"/>
                <a:ea typeface="Open Sans" panose="020B0606030504020204" pitchFamily="34" charset="0"/>
                <a:cs typeface="Arial" panose="020B0604020202020204" pitchFamily="34" charset="0"/>
                <a:sym typeface="Arial" panose="020B0604020202020204" pitchFamily="34" charset="0"/>
              </a:rPr>
              <a:t>1.. CM = Crisis Management</a:t>
            </a:r>
          </a:p>
        </p:txBody>
      </p:sp>
      <p:sp>
        <p:nvSpPr>
          <p:cNvPr id="29" name="AutoShape 5">
            <a:extLst>
              <a:ext uri="{FF2B5EF4-FFF2-40B4-BE49-F238E27FC236}">
                <a16:creationId xmlns:a16="http://schemas.microsoft.com/office/drawing/2014/main" xmlns="" id="{E34F2626-12B9-4FE7-8611-CDA55E33B2A1}"/>
              </a:ext>
            </a:extLst>
          </p:cNvPr>
          <p:cNvSpPr>
            <a:spLocks noChangeArrowheads="1"/>
          </p:cNvSpPr>
          <p:nvPr/>
        </p:nvSpPr>
        <p:spPr bwMode="auto">
          <a:xfrm>
            <a:off x="395518" y="6318241"/>
            <a:ext cx="8009446" cy="283390"/>
          </a:xfrm>
          <a:prstGeom prst="rect">
            <a:avLst/>
          </a:prstGeom>
          <a:solidFill>
            <a:srgbClr val="004074"/>
          </a:solidFill>
          <a:ln w="28575">
            <a:noFill/>
          </a:ln>
        </p:spPr>
        <p:txBody>
          <a:bodyPr lIns="144000" tIns="0" rIns="36000" bIns="0" anchor="ctr" anchorCtr="0">
            <a:no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FFFFFF"/>
                </a:solidFill>
                <a:effectLst/>
                <a:uLnTx/>
                <a:uFillTx/>
                <a:latin typeface="Arial"/>
                <a:ea typeface="+mn-ea"/>
                <a:cs typeface="Arial" pitchFamily="34" charset="0"/>
              </a:rPr>
              <a:t>CONTINUED TRANSPARENT STAKEHOLDER ENGAGEMENT</a:t>
            </a:r>
            <a:endParaRPr kumimoji="0" lang="en-GB" altLang="en-US" sz="1050" b="0" i="0" u="none" strike="noStrike" kern="0" cap="none" spc="0" normalizeH="0" baseline="0" noProof="0" dirty="0">
              <a:ln>
                <a:noFill/>
              </a:ln>
              <a:solidFill>
                <a:srgbClr val="FFFFFF"/>
              </a:solidFill>
              <a:effectLst/>
              <a:uLnTx/>
              <a:uFillTx/>
              <a:latin typeface="Arial"/>
              <a:ea typeface="+mn-ea"/>
              <a:cs typeface="Arial" pitchFamily="34" charset="0"/>
            </a:endParaRPr>
          </a:p>
        </p:txBody>
      </p:sp>
      <p:grpSp>
        <p:nvGrpSpPr>
          <p:cNvPr id="30" name="Group 29">
            <a:extLst>
              <a:ext uri="{FF2B5EF4-FFF2-40B4-BE49-F238E27FC236}">
                <a16:creationId xmlns:a16="http://schemas.microsoft.com/office/drawing/2014/main" xmlns="" id="{C6C08427-DDCB-4887-9291-6DEB9C8E28FF}"/>
              </a:ext>
            </a:extLst>
          </p:cNvPr>
          <p:cNvGrpSpPr/>
          <p:nvPr/>
        </p:nvGrpSpPr>
        <p:grpSpPr>
          <a:xfrm>
            <a:off x="9106525" y="927105"/>
            <a:ext cx="3455234" cy="4720759"/>
            <a:chOff x="7254980" y="1598918"/>
            <a:chExt cx="3455234" cy="3559193"/>
          </a:xfrm>
        </p:grpSpPr>
        <p:grpSp>
          <p:nvGrpSpPr>
            <p:cNvPr id="31" name="Group 30">
              <a:extLst>
                <a:ext uri="{FF2B5EF4-FFF2-40B4-BE49-F238E27FC236}">
                  <a16:creationId xmlns:a16="http://schemas.microsoft.com/office/drawing/2014/main" xmlns="" id="{1AE83B4A-30E1-4F1E-A100-17539EEBC64B}"/>
                </a:ext>
              </a:extLst>
            </p:cNvPr>
            <p:cNvGrpSpPr/>
            <p:nvPr/>
          </p:nvGrpSpPr>
          <p:grpSpPr>
            <a:xfrm>
              <a:off x="7393353" y="2275013"/>
              <a:ext cx="3215545" cy="1027769"/>
              <a:chOff x="7672388" y="2259644"/>
              <a:chExt cx="2657475" cy="849396"/>
            </a:xfrm>
          </p:grpSpPr>
          <p:sp>
            <p:nvSpPr>
              <p:cNvPr id="47" name="Rectangle: Rounded Corners 51">
                <a:extLst>
                  <a:ext uri="{FF2B5EF4-FFF2-40B4-BE49-F238E27FC236}">
                    <a16:creationId xmlns:a16="http://schemas.microsoft.com/office/drawing/2014/main" xmlns="" id="{63B7420F-F2B6-4735-B536-8A422D711F74}"/>
                  </a:ext>
                </a:extLst>
              </p:cNvPr>
              <p:cNvSpPr/>
              <p:nvPr/>
            </p:nvSpPr>
            <p:spPr>
              <a:xfrm>
                <a:off x="7672388" y="2744709"/>
                <a:ext cx="2657475" cy="364331"/>
              </a:xfrm>
              <a:prstGeom prst="roundRect">
                <a:avLst>
                  <a:gd name="adj" fmla="val 12425"/>
                </a:avLst>
              </a:prstGeom>
              <a:solidFill>
                <a:schemeClr val="accent6">
                  <a:lumMod val="75000"/>
                </a:schemeClr>
              </a:solid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8" name="Isosceles Triangle 47">
                <a:extLst>
                  <a:ext uri="{FF2B5EF4-FFF2-40B4-BE49-F238E27FC236}">
                    <a16:creationId xmlns:a16="http://schemas.microsoft.com/office/drawing/2014/main" xmlns="" id="{4A88DEC8-476C-4591-B8C3-8BE8850C5494}"/>
                  </a:ext>
                </a:extLst>
              </p:cNvPr>
              <p:cNvSpPr/>
              <p:nvPr/>
            </p:nvSpPr>
            <p:spPr>
              <a:xfrm rot="10800000">
                <a:off x="8617250" y="2259644"/>
                <a:ext cx="752208" cy="449775"/>
              </a:xfrm>
              <a:prstGeom prst="triangle">
                <a:avLst/>
              </a:prstGeom>
              <a:solidFill>
                <a:srgbClr val="E96E09"/>
              </a:solid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sp>
          <p:nvSpPr>
            <p:cNvPr id="32" name="Rectangle: Rounded Corners 32">
              <a:extLst>
                <a:ext uri="{FF2B5EF4-FFF2-40B4-BE49-F238E27FC236}">
                  <a16:creationId xmlns:a16="http://schemas.microsoft.com/office/drawing/2014/main" xmlns="" id="{84E47E0C-5425-485F-9F35-E36771F3E71F}"/>
                </a:ext>
              </a:extLst>
            </p:cNvPr>
            <p:cNvSpPr/>
            <p:nvPr/>
          </p:nvSpPr>
          <p:spPr>
            <a:xfrm>
              <a:off x="7254980" y="1598918"/>
              <a:ext cx="3205772" cy="582648"/>
            </a:xfrm>
            <a:prstGeom prst="roundRect">
              <a:avLst>
                <a:gd name="adj" fmla="val 50000"/>
              </a:avLst>
            </a:prstGeom>
            <a:noFill/>
            <a:ln w="381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xmlns="" id="{4D445D00-3458-4F18-8743-F9B3E7FAA77A}"/>
                </a:ext>
              </a:extLst>
            </p:cNvPr>
            <p:cNvSpPr txBox="1"/>
            <p:nvPr/>
          </p:nvSpPr>
          <p:spPr>
            <a:xfrm>
              <a:off x="7552931" y="2920781"/>
              <a:ext cx="2907821" cy="323165"/>
            </a:xfrm>
            <a:prstGeom prst="rect">
              <a:avLst/>
            </a:prstGeom>
            <a:noFill/>
            <a:ln>
              <a:solidFill>
                <a:schemeClr val="tx2"/>
              </a:solidFill>
            </a:ln>
          </p:spPr>
          <p:txBody>
            <a:bodyPr wrap="square">
              <a:sp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ZA" sz="1600" b="1" i="0" u="none" strike="noStrike" kern="0" cap="none" spc="0" normalizeH="0" baseline="0" noProof="0" dirty="0">
                  <a:ln>
                    <a:noFill/>
                  </a:ln>
                  <a:solidFill>
                    <a:prstClr val="white"/>
                  </a:solidFill>
                  <a:effectLst/>
                  <a:uLnTx/>
                  <a:uFillTx/>
                  <a:latin typeface="Arial" panose="020B0604020202020204"/>
                  <a:ea typeface="+mn-ea"/>
                  <a:cs typeface="+mn-cs"/>
                </a:rPr>
                <a:t>Entity Stabilisation</a:t>
              </a:r>
            </a:p>
          </p:txBody>
        </p:sp>
        <p:grpSp>
          <p:nvGrpSpPr>
            <p:cNvPr id="35" name="Group 34">
              <a:extLst>
                <a:ext uri="{FF2B5EF4-FFF2-40B4-BE49-F238E27FC236}">
                  <a16:creationId xmlns:a16="http://schemas.microsoft.com/office/drawing/2014/main" xmlns="" id="{85B022D0-F70A-41E8-9D9C-194404D31F08}"/>
                </a:ext>
              </a:extLst>
            </p:cNvPr>
            <p:cNvGrpSpPr/>
            <p:nvPr/>
          </p:nvGrpSpPr>
          <p:grpSpPr>
            <a:xfrm>
              <a:off x="7393353" y="3322262"/>
              <a:ext cx="3215545" cy="598963"/>
              <a:chOff x="7672388" y="2614029"/>
              <a:chExt cx="2657475" cy="495011"/>
            </a:xfrm>
            <a:solidFill>
              <a:srgbClr val="36B38B"/>
            </a:solidFill>
          </p:grpSpPr>
          <p:sp>
            <p:nvSpPr>
              <p:cNvPr id="45" name="Rectangle: Rounded Corners 100">
                <a:extLst>
                  <a:ext uri="{FF2B5EF4-FFF2-40B4-BE49-F238E27FC236}">
                    <a16:creationId xmlns:a16="http://schemas.microsoft.com/office/drawing/2014/main" xmlns="" id="{FBAF369A-05F1-49AE-8D17-F6E44639C57E}"/>
                  </a:ext>
                </a:extLst>
              </p:cNvPr>
              <p:cNvSpPr/>
              <p:nvPr/>
            </p:nvSpPr>
            <p:spPr>
              <a:xfrm>
                <a:off x="7672388" y="2744709"/>
                <a:ext cx="2657475" cy="364331"/>
              </a:xfrm>
              <a:prstGeom prst="roundRect">
                <a:avLst>
                  <a:gd name="adj" fmla="val 12425"/>
                </a:avLst>
              </a:prstGeom>
              <a:solidFill>
                <a:schemeClr val="accent6">
                  <a:lumMod val="75000"/>
                </a:schemeClr>
              </a:solid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6" name="Isosceles Triangle 45">
                <a:extLst>
                  <a:ext uri="{FF2B5EF4-FFF2-40B4-BE49-F238E27FC236}">
                    <a16:creationId xmlns:a16="http://schemas.microsoft.com/office/drawing/2014/main" xmlns="" id="{0ABCCC4A-09D0-4EBA-B86D-7ED0F68C2186}"/>
                  </a:ext>
                </a:extLst>
              </p:cNvPr>
              <p:cNvSpPr/>
              <p:nvPr/>
            </p:nvSpPr>
            <p:spPr>
              <a:xfrm rot="10800000">
                <a:off x="8861976" y="2614029"/>
                <a:ext cx="278296" cy="111919"/>
              </a:xfrm>
              <a:prstGeom prst="triangle">
                <a:avLst/>
              </a:prstGeom>
              <a:solidFill>
                <a:srgbClr val="E96E09"/>
              </a:solid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36" name="Group 35">
              <a:extLst>
                <a:ext uri="{FF2B5EF4-FFF2-40B4-BE49-F238E27FC236}">
                  <a16:creationId xmlns:a16="http://schemas.microsoft.com/office/drawing/2014/main" xmlns="" id="{CC5FE8DE-7298-4FA5-9B9D-1992A6330DC1}"/>
                </a:ext>
              </a:extLst>
            </p:cNvPr>
            <p:cNvGrpSpPr/>
            <p:nvPr/>
          </p:nvGrpSpPr>
          <p:grpSpPr>
            <a:xfrm>
              <a:off x="7393353" y="3940705"/>
              <a:ext cx="3215545" cy="598963"/>
              <a:chOff x="7672388" y="2614029"/>
              <a:chExt cx="2657475" cy="495011"/>
            </a:xfrm>
            <a:solidFill>
              <a:srgbClr val="A1C854"/>
            </a:solidFill>
          </p:grpSpPr>
          <p:sp>
            <p:nvSpPr>
              <p:cNvPr id="43" name="Rectangle: Rounded Corners 103">
                <a:extLst>
                  <a:ext uri="{FF2B5EF4-FFF2-40B4-BE49-F238E27FC236}">
                    <a16:creationId xmlns:a16="http://schemas.microsoft.com/office/drawing/2014/main" xmlns="" id="{8D7E19D7-04E1-4BE5-9EF8-7B22345586A8}"/>
                  </a:ext>
                </a:extLst>
              </p:cNvPr>
              <p:cNvSpPr/>
              <p:nvPr/>
            </p:nvSpPr>
            <p:spPr>
              <a:xfrm>
                <a:off x="7672388" y="2744709"/>
                <a:ext cx="2657475" cy="364331"/>
              </a:xfrm>
              <a:prstGeom prst="roundRect">
                <a:avLst>
                  <a:gd name="adj" fmla="val 12425"/>
                </a:avLst>
              </a:prstGeom>
              <a:solidFill>
                <a:schemeClr val="accent6">
                  <a:lumMod val="75000"/>
                </a:schemeClr>
              </a:solid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4" name="Isosceles Triangle 43">
                <a:extLst>
                  <a:ext uri="{FF2B5EF4-FFF2-40B4-BE49-F238E27FC236}">
                    <a16:creationId xmlns:a16="http://schemas.microsoft.com/office/drawing/2014/main" xmlns="" id="{CEF67E2F-302A-4B6C-AEDC-68E402FB32DB}"/>
                  </a:ext>
                </a:extLst>
              </p:cNvPr>
              <p:cNvSpPr/>
              <p:nvPr/>
            </p:nvSpPr>
            <p:spPr>
              <a:xfrm rot="10800000">
                <a:off x="8861976" y="2614029"/>
                <a:ext cx="278296" cy="111919"/>
              </a:xfrm>
              <a:prstGeom prst="triangle">
                <a:avLst/>
              </a:prstGeom>
              <a:solidFill>
                <a:srgbClr val="E96E09"/>
              </a:solid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grpSp>
          <p:nvGrpSpPr>
            <p:cNvPr id="37" name="Group 36">
              <a:extLst>
                <a:ext uri="{FF2B5EF4-FFF2-40B4-BE49-F238E27FC236}">
                  <a16:creationId xmlns:a16="http://schemas.microsoft.com/office/drawing/2014/main" xmlns="" id="{10068F7A-E6A6-473A-9A51-566FD9277921}"/>
                </a:ext>
              </a:extLst>
            </p:cNvPr>
            <p:cNvGrpSpPr/>
            <p:nvPr/>
          </p:nvGrpSpPr>
          <p:grpSpPr>
            <a:xfrm>
              <a:off x="7393354" y="4559148"/>
              <a:ext cx="3316860" cy="598963"/>
              <a:chOff x="7672388" y="2614029"/>
              <a:chExt cx="2741206" cy="495011"/>
            </a:xfrm>
            <a:solidFill>
              <a:srgbClr val="F9731F"/>
            </a:solidFill>
          </p:grpSpPr>
          <p:sp>
            <p:nvSpPr>
              <p:cNvPr id="41" name="Rectangle: Rounded Corners 106">
                <a:extLst>
                  <a:ext uri="{FF2B5EF4-FFF2-40B4-BE49-F238E27FC236}">
                    <a16:creationId xmlns:a16="http://schemas.microsoft.com/office/drawing/2014/main" xmlns="" id="{5C74B94C-17C1-4615-99D5-C7D2D126BD58}"/>
                  </a:ext>
                </a:extLst>
              </p:cNvPr>
              <p:cNvSpPr/>
              <p:nvPr/>
            </p:nvSpPr>
            <p:spPr>
              <a:xfrm>
                <a:off x="7672388" y="2744709"/>
                <a:ext cx="2741206" cy="364331"/>
              </a:xfrm>
              <a:prstGeom prst="roundRect">
                <a:avLst>
                  <a:gd name="adj" fmla="val 12425"/>
                </a:avLst>
              </a:prstGeom>
              <a:solidFill>
                <a:schemeClr val="accent6">
                  <a:lumMod val="75000"/>
                </a:schemeClr>
              </a:solid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2" name="Isosceles Triangle 41">
                <a:extLst>
                  <a:ext uri="{FF2B5EF4-FFF2-40B4-BE49-F238E27FC236}">
                    <a16:creationId xmlns:a16="http://schemas.microsoft.com/office/drawing/2014/main" xmlns="" id="{F668FFAB-EF8E-46FB-9E43-039EC84A52EC}"/>
                  </a:ext>
                </a:extLst>
              </p:cNvPr>
              <p:cNvSpPr/>
              <p:nvPr/>
            </p:nvSpPr>
            <p:spPr>
              <a:xfrm rot="10800000">
                <a:off x="8861976" y="2614029"/>
                <a:ext cx="278296" cy="111919"/>
              </a:xfrm>
              <a:prstGeom prst="triangle">
                <a:avLst/>
              </a:prstGeom>
              <a:grp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sp>
          <p:nvSpPr>
            <p:cNvPr id="38" name="TextBox 37">
              <a:extLst>
                <a:ext uri="{FF2B5EF4-FFF2-40B4-BE49-F238E27FC236}">
                  <a16:creationId xmlns:a16="http://schemas.microsoft.com/office/drawing/2014/main" xmlns="" id="{EFF887B8-EBC8-4C19-B28C-3F8A20853078}"/>
                </a:ext>
              </a:extLst>
            </p:cNvPr>
            <p:cNvSpPr txBox="1"/>
            <p:nvPr/>
          </p:nvSpPr>
          <p:spPr>
            <a:xfrm>
              <a:off x="7552931" y="3539222"/>
              <a:ext cx="2907821" cy="323165"/>
            </a:xfrm>
            <a:prstGeom prst="rect">
              <a:avLst/>
            </a:prstGeom>
            <a:noFill/>
            <a:ln>
              <a:solidFill>
                <a:schemeClr val="tx2"/>
              </a:solidFill>
            </a:ln>
          </p:spPr>
          <p:txBody>
            <a:bodyPr wrap="square">
              <a:sp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mn-cs"/>
                </a:rPr>
                <a:t>Improve accountability</a:t>
              </a:r>
            </a:p>
          </p:txBody>
        </p:sp>
        <p:sp>
          <p:nvSpPr>
            <p:cNvPr id="39" name="TextBox 38">
              <a:extLst>
                <a:ext uri="{FF2B5EF4-FFF2-40B4-BE49-F238E27FC236}">
                  <a16:creationId xmlns:a16="http://schemas.microsoft.com/office/drawing/2014/main" xmlns="" id="{1EACB788-390A-4827-A049-16B5AC1EED49}"/>
                </a:ext>
              </a:extLst>
            </p:cNvPr>
            <p:cNvSpPr txBox="1"/>
            <p:nvPr/>
          </p:nvSpPr>
          <p:spPr>
            <a:xfrm>
              <a:off x="7393352" y="4160841"/>
              <a:ext cx="3215545" cy="323165"/>
            </a:xfrm>
            <a:prstGeom prst="rect">
              <a:avLst/>
            </a:prstGeom>
            <a:noFill/>
            <a:ln>
              <a:solidFill>
                <a:schemeClr val="tx2"/>
              </a:solidFill>
            </a:ln>
          </p:spPr>
          <p:txBody>
            <a:bodyPr wrap="square">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mn-cs"/>
                </a:rPr>
                <a:t>Improve business performance</a:t>
              </a:r>
            </a:p>
          </p:txBody>
        </p:sp>
        <p:sp>
          <p:nvSpPr>
            <p:cNvPr id="40" name="TextBox 39">
              <a:extLst>
                <a:ext uri="{FF2B5EF4-FFF2-40B4-BE49-F238E27FC236}">
                  <a16:creationId xmlns:a16="http://schemas.microsoft.com/office/drawing/2014/main" xmlns="" id="{C9B6BC00-B10A-45F4-AF0E-25DD8F27716F}"/>
                </a:ext>
              </a:extLst>
            </p:cNvPr>
            <p:cNvSpPr txBox="1"/>
            <p:nvPr/>
          </p:nvSpPr>
          <p:spPr>
            <a:xfrm>
              <a:off x="7393352" y="4769687"/>
              <a:ext cx="3316860" cy="323165"/>
            </a:xfrm>
            <a:prstGeom prst="rect">
              <a:avLst/>
            </a:prstGeom>
            <a:noFill/>
            <a:ln>
              <a:solidFill>
                <a:schemeClr val="tx2"/>
              </a:solidFill>
            </a:ln>
          </p:spPr>
          <p:txBody>
            <a:bodyPr wrap="square">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mn-cs"/>
                </a:rPr>
                <a:t>Restore shareholder confidence</a:t>
              </a:r>
            </a:p>
          </p:txBody>
        </p:sp>
      </p:grpSp>
      <p:sp>
        <p:nvSpPr>
          <p:cNvPr id="49" name="Rectangle 48"/>
          <p:cNvSpPr/>
          <p:nvPr/>
        </p:nvSpPr>
        <p:spPr>
          <a:xfrm>
            <a:off x="9180160" y="998862"/>
            <a:ext cx="3133535" cy="58477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mn-cs"/>
              </a:rPr>
              <a:t>Executed n line  with the view of addressing the following areas</a:t>
            </a:r>
          </a:p>
        </p:txBody>
      </p:sp>
      <p:sp>
        <p:nvSpPr>
          <p:cNvPr id="50" name="Rectangle: Rounded Corners 106">
            <a:extLst>
              <a:ext uri="{FF2B5EF4-FFF2-40B4-BE49-F238E27FC236}">
                <a16:creationId xmlns:a16="http://schemas.microsoft.com/office/drawing/2014/main" xmlns="" id="{5C74B94C-17C1-4615-99D5-C7D2D126BD58}"/>
              </a:ext>
            </a:extLst>
          </p:cNvPr>
          <p:cNvSpPr/>
          <p:nvPr/>
        </p:nvSpPr>
        <p:spPr>
          <a:xfrm>
            <a:off x="9242177" y="5832078"/>
            <a:ext cx="3316860" cy="547850"/>
          </a:xfrm>
          <a:prstGeom prst="roundRect">
            <a:avLst>
              <a:gd name="adj" fmla="val 12425"/>
            </a:avLst>
          </a:prstGeom>
          <a:solidFill>
            <a:schemeClr val="accent6">
              <a:lumMod val="75000"/>
            </a:schemeClr>
          </a:solidFill>
          <a:ln w="12700" cap="flat" cmpd="sng" algn="ctr">
            <a:solidFill>
              <a:schemeClr val="tx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xmlns="" id="{C9B6BC00-B10A-45F4-AF0E-25DD8F27716F}"/>
              </a:ext>
            </a:extLst>
          </p:cNvPr>
          <p:cNvSpPr txBox="1"/>
          <p:nvPr/>
        </p:nvSpPr>
        <p:spPr>
          <a:xfrm>
            <a:off x="9242175" y="5897217"/>
            <a:ext cx="3316860" cy="553998"/>
          </a:xfrm>
          <a:prstGeom prst="rect">
            <a:avLst/>
          </a:prstGeom>
          <a:noFill/>
          <a:ln>
            <a:solidFill>
              <a:schemeClr val="tx2"/>
            </a:solidFill>
          </a:ln>
        </p:spPr>
        <p:txBody>
          <a:bodyPr wrap="square">
            <a:sp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mn-cs"/>
              </a:rPr>
              <a:t>Foundation for long term growth</a:t>
            </a:r>
          </a:p>
        </p:txBody>
      </p:sp>
    </p:spTree>
    <p:extLst>
      <p:ext uri="{BB962C8B-B14F-4D97-AF65-F5344CB8AC3E}">
        <p14:creationId xmlns:p14="http://schemas.microsoft.com/office/powerpoint/2010/main" xmlns="" val="32203941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rPr>
              <a:t>Progress to Date in Stabilising PetroSA</a:t>
            </a:r>
            <a:endParaRPr lang="en-ZA" dirty="0">
              <a:solidFill>
                <a:schemeClr val="accent1"/>
              </a:solidFill>
            </a:endParaRPr>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grpSp>
        <p:nvGrpSpPr>
          <p:cNvPr id="6" name="Group 5"/>
          <p:cNvGrpSpPr/>
          <p:nvPr/>
        </p:nvGrpSpPr>
        <p:grpSpPr>
          <a:xfrm>
            <a:off x="434442" y="3392442"/>
            <a:ext cx="11380184" cy="2944415"/>
            <a:chOff x="100616" y="4484866"/>
            <a:chExt cx="11380184" cy="2944415"/>
          </a:xfrm>
        </p:grpSpPr>
        <p:grpSp>
          <p:nvGrpSpPr>
            <p:cNvPr id="30" name="Group 29"/>
            <p:cNvGrpSpPr/>
            <p:nvPr/>
          </p:nvGrpSpPr>
          <p:grpSpPr>
            <a:xfrm>
              <a:off x="100616" y="4484866"/>
              <a:ext cx="2572480" cy="2944415"/>
              <a:chOff x="100616" y="5025073"/>
              <a:chExt cx="2572480" cy="2944415"/>
            </a:xfrm>
          </p:grpSpPr>
          <p:sp>
            <p:nvSpPr>
              <p:cNvPr id="31" name="Rectangle 30"/>
              <p:cNvSpPr/>
              <p:nvPr/>
            </p:nvSpPr>
            <p:spPr>
              <a:xfrm>
                <a:off x="304800" y="5025073"/>
                <a:ext cx="2368296" cy="400110"/>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C00000"/>
                    </a:solidFill>
                    <a:effectLst/>
                    <a:uLnTx/>
                    <a:uFillTx/>
                    <a:latin typeface="Times New Roman" panose="02020603050405020304" pitchFamily="18" charset="0"/>
                    <a:ea typeface="+mn-ea"/>
                    <a:cs typeface="Times New Roman" panose="02020603050405020304" pitchFamily="18" charset="0"/>
                  </a:rPr>
                  <a:t>Upstream</a:t>
                </a:r>
              </a:p>
            </p:txBody>
          </p:sp>
          <p:sp>
            <p:nvSpPr>
              <p:cNvPr id="32" name="Rectangle 31"/>
              <p:cNvSpPr/>
              <p:nvPr/>
            </p:nvSpPr>
            <p:spPr>
              <a:xfrm>
                <a:off x="100616" y="5414943"/>
                <a:ext cx="2490184" cy="2554545"/>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dentification of </a:t>
                </a:r>
                <a:r>
                  <a:rPr kumimoji="0" lang="en-US" sz="1600" b="1" i="1"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non core assets</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et from previous projects that have been disposed to provide much needed cash to fund growth initiativ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cus on decommissioning liability reduction</a:t>
                </a:r>
              </a:p>
            </p:txBody>
          </p:sp>
        </p:grpSp>
        <p:grpSp>
          <p:nvGrpSpPr>
            <p:cNvPr id="24" name="Group 23"/>
            <p:cNvGrpSpPr/>
            <p:nvPr/>
          </p:nvGrpSpPr>
          <p:grpSpPr>
            <a:xfrm>
              <a:off x="3240314" y="4484866"/>
              <a:ext cx="2368296" cy="2698194"/>
              <a:chOff x="3316224" y="4611866"/>
              <a:chExt cx="2368296" cy="2698194"/>
            </a:xfrm>
          </p:grpSpPr>
          <p:sp>
            <p:nvSpPr>
              <p:cNvPr id="25" name="Rectangle 24"/>
              <p:cNvSpPr/>
              <p:nvPr/>
            </p:nvSpPr>
            <p:spPr>
              <a:xfrm>
                <a:off x="3316224" y="4611866"/>
                <a:ext cx="2368296" cy="400110"/>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C00000"/>
                    </a:solidFill>
                    <a:effectLst/>
                    <a:uLnTx/>
                    <a:uFillTx/>
                    <a:latin typeface="Times New Roman" panose="02020603050405020304" pitchFamily="18" charset="0"/>
                    <a:ea typeface="+mn-ea"/>
                    <a:cs typeface="Times New Roman" panose="02020603050405020304" pitchFamily="18" charset="0"/>
                  </a:rPr>
                  <a:t>Midstream</a:t>
                </a:r>
              </a:p>
            </p:txBody>
          </p:sp>
          <p:sp>
            <p:nvSpPr>
              <p:cNvPr id="26" name="Rectangle 25"/>
              <p:cNvSpPr/>
              <p:nvPr/>
            </p:nvSpPr>
            <p:spPr>
              <a:xfrm>
                <a:off x="3316224" y="5001736"/>
                <a:ext cx="2194560" cy="230832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tinued evaluation of </a:t>
                </a:r>
                <a:r>
                  <a:rPr kumimoji="0" lang="en-US" sz="1600" b="1" i="1" u="none" strike="noStrike" kern="0" cap="none" spc="0" normalizeH="0" baseline="0" noProof="0" dirty="0">
                    <a:ln>
                      <a:noFill/>
                    </a:ln>
                    <a:solidFill>
                      <a:srgbClr val="0061B2"/>
                    </a:solidFill>
                    <a:effectLst/>
                    <a:uLnTx/>
                    <a:uFillTx/>
                    <a:latin typeface="Arial" panose="020B0604020202020204" pitchFamily="34" charset="0"/>
                    <a:ea typeface="+mn-ea"/>
                    <a:cs typeface="Arial" panose="020B0604020202020204" pitchFamily="34" charset="0"/>
                  </a:rPr>
                  <a:t>feedstock options </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hile the GTL Refinery in kept in a state of preservation with the support of external experts.</a:t>
                </a:r>
              </a:p>
            </p:txBody>
          </p:sp>
        </p:grpSp>
        <p:grpSp>
          <p:nvGrpSpPr>
            <p:cNvPr id="18" name="Group 17"/>
            <p:cNvGrpSpPr/>
            <p:nvPr/>
          </p:nvGrpSpPr>
          <p:grpSpPr>
            <a:xfrm>
              <a:off x="6175828" y="4484866"/>
              <a:ext cx="2368296" cy="2451973"/>
              <a:chOff x="6095999" y="5025073"/>
              <a:chExt cx="2368296" cy="2451973"/>
            </a:xfrm>
          </p:grpSpPr>
          <p:sp>
            <p:nvSpPr>
              <p:cNvPr id="19" name="Rectangle 18"/>
              <p:cNvSpPr/>
              <p:nvPr/>
            </p:nvSpPr>
            <p:spPr>
              <a:xfrm>
                <a:off x="6095999" y="5025073"/>
                <a:ext cx="2368296" cy="400110"/>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C00000"/>
                    </a:solidFill>
                    <a:effectLst/>
                    <a:uLnTx/>
                    <a:uFillTx/>
                    <a:latin typeface="Times New Roman" panose="02020603050405020304" pitchFamily="18" charset="0"/>
                    <a:ea typeface="+mn-ea"/>
                    <a:cs typeface="Times New Roman" panose="02020603050405020304" pitchFamily="18" charset="0"/>
                  </a:rPr>
                  <a:t>Downstream</a:t>
                </a:r>
              </a:p>
            </p:txBody>
          </p:sp>
          <p:sp>
            <p:nvSpPr>
              <p:cNvPr id="20" name="Rectangle 19"/>
              <p:cNvSpPr/>
              <p:nvPr/>
            </p:nvSpPr>
            <p:spPr>
              <a:xfrm>
                <a:off x="6096000" y="5414943"/>
                <a:ext cx="2286000" cy="2062103"/>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venue and Margin improvement and consolidation of key activities to support the long term downstream growth agenda</a:t>
                </a:r>
              </a:p>
            </p:txBody>
          </p:sp>
        </p:grpSp>
        <p:grpSp>
          <p:nvGrpSpPr>
            <p:cNvPr id="12" name="Group 11"/>
            <p:cNvGrpSpPr/>
            <p:nvPr/>
          </p:nvGrpSpPr>
          <p:grpSpPr>
            <a:xfrm>
              <a:off x="9019902" y="4484866"/>
              <a:ext cx="2460898" cy="2698194"/>
              <a:chOff x="9109710" y="5209739"/>
              <a:chExt cx="2460898" cy="2698194"/>
            </a:xfrm>
          </p:grpSpPr>
          <p:sp>
            <p:nvSpPr>
              <p:cNvPr id="13" name="Rectangle 12"/>
              <p:cNvSpPr/>
              <p:nvPr/>
            </p:nvSpPr>
            <p:spPr>
              <a:xfrm>
                <a:off x="9201150" y="5209739"/>
                <a:ext cx="2369458" cy="400110"/>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C00000"/>
                    </a:solidFill>
                    <a:effectLst/>
                    <a:uLnTx/>
                    <a:uFillTx/>
                    <a:latin typeface="Times New Roman" panose="02020603050405020304" pitchFamily="18" charset="0"/>
                    <a:ea typeface="+mn-ea"/>
                    <a:cs typeface="Times New Roman" panose="02020603050405020304" pitchFamily="18" charset="0"/>
                  </a:rPr>
                  <a:t>Corporate</a:t>
                </a:r>
              </a:p>
            </p:txBody>
          </p:sp>
          <p:sp>
            <p:nvSpPr>
              <p:cNvPr id="14" name="Rectangle 13"/>
              <p:cNvSpPr/>
              <p:nvPr/>
            </p:nvSpPr>
            <p:spPr>
              <a:xfrm>
                <a:off x="9109710" y="5599609"/>
                <a:ext cx="2377440" cy="230832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perating model review and headcount redu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everaging of Ghana ass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sh perseveration initiativ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st containment and contract reviews</a:t>
                </a:r>
              </a:p>
            </p:txBody>
          </p:sp>
        </p:grpSp>
      </p:grpSp>
      <p:sp>
        <p:nvSpPr>
          <p:cNvPr id="35" name="Content Placeholder 2"/>
          <p:cNvSpPr>
            <a:spLocks noGrp="1"/>
          </p:cNvSpPr>
          <p:nvPr>
            <p:ph sz="half" idx="1"/>
          </p:nvPr>
        </p:nvSpPr>
        <p:spPr>
          <a:xfrm>
            <a:off x="377796" y="985115"/>
            <a:ext cx="11782386" cy="1774269"/>
          </a:xfrm>
        </p:spPr>
        <p:txBody>
          <a:bodyPr/>
          <a:lstStyle/>
          <a:p>
            <a:r>
              <a:rPr lang="en-US" sz="1800" b="0" dirty="0"/>
              <a:t>With the support of the DMRE and the CEF Board, the PetroSA WAR-Room has been able to make incremental  but significant progress on efforts geared towards the stabilisation of PetroSA.</a:t>
            </a:r>
          </a:p>
          <a:p>
            <a:r>
              <a:rPr lang="en-US" sz="1800" b="0" dirty="0"/>
              <a:t>The progress albeit slow and painstaking has enabled the organization to reduce operational costs, preserve much needed cash and extend the company’s going concern whilst bringing about the required confidence to various credit lenders and strategic partners.</a:t>
            </a:r>
          </a:p>
          <a:p>
            <a:r>
              <a:rPr lang="en-US" sz="1800" b="0" dirty="0"/>
              <a:t>We are by no means out of the woods but we believe that we are making progress in the right direction and a number of difficult decisions must be taken in the coming months  across the main four focus areas.</a:t>
            </a:r>
            <a:endParaRPr lang="en-ZA" sz="1800" b="0" dirty="0"/>
          </a:p>
        </p:txBody>
      </p:sp>
    </p:spTree>
    <p:extLst>
      <p:ext uri="{BB962C8B-B14F-4D97-AF65-F5344CB8AC3E}">
        <p14:creationId xmlns:p14="http://schemas.microsoft.com/office/powerpoint/2010/main" xmlns="" val="26036088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4442" y="384553"/>
            <a:ext cx="11782384" cy="387798"/>
          </a:xfrm>
          <a:noFill/>
          <a:ln w="6350">
            <a:noFill/>
            <a:miter lim="800000"/>
            <a:headEnd/>
            <a:tailEnd/>
          </a:ln>
        </p:spPr>
        <p:txBody>
          <a:bodyPr vert="horz" wrap="square" lIns="0" tIns="0" rIns="0" bIns="0" numCol="1" rtlCol="0" anchor="t" anchorCtr="0" compatLnSpc="1">
            <a:prstTxWarp prst="textNoShape">
              <a:avLst/>
            </a:prstTxWarp>
            <a:spAutoFit/>
          </a:bodyPr>
          <a:lstStyle/>
          <a:p>
            <a:pPr defTabSz="1263792" eaLnBrk="1" fontAlgn="auto" hangingPunct="1">
              <a:lnSpc>
                <a:spcPct val="90000"/>
              </a:lnSpc>
              <a:spcAft>
                <a:spcPts val="0"/>
              </a:spcAft>
            </a:pPr>
            <a:r>
              <a:rPr lang="en-ZA" sz="2800" kern="1200" spc="-30" dirty="0">
                <a:solidFill>
                  <a:srgbClr val="0061B2"/>
                </a:solidFill>
                <a:latin typeface="Arial" pitchFamily="34" charset="0"/>
                <a:cs typeface="Arial" pitchFamily="34" charset="0"/>
              </a:rPr>
              <a:t>Key Takeaways on recent Business Performance</a:t>
            </a:r>
          </a:p>
        </p:txBody>
      </p:sp>
      <p:sp>
        <p:nvSpPr>
          <p:cNvPr id="2" name="Content Placeholder 1"/>
          <p:cNvSpPr>
            <a:spLocks noGrp="1"/>
          </p:cNvSpPr>
          <p:nvPr>
            <p:ph idx="1"/>
          </p:nvPr>
        </p:nvSpPr>
        <p:spPr>
          <a:xfrm>
            <a:off x="434442" y="858095"/>
            <a:ext cx="11987596" cy="5680172"/>
          </a:xfrm>
        </p:spPr>
        <p:txBody>
          <a:bodyPr/>
          <a:lstStyle/>
          <a:p>
            <a:pPr marL="0" indent="0">
              <a:buNone/>
            </a:pPr>
            <a:r>
              <a:rPr lang="en-ZA" b="0" dirty="0">
                <a:latin typeface="Calibri" panose="020F0502020204030204" pitchFamily="34" charset="0"/>
                <a:cs typeface="Calibri" panose="020F0502020204030204" pitchFamily="34" charset="0"/>
              </a:rPr>
              <a:t>The Group has generated a </a:t>
            </a:r>
            <a:r>
              <a:rPr lang="en-ZA" i="1" dirty="0">
                <a:solidFill>
                  <a:schemeClr val="accent1"/>
                </a:solidFill>
                <a:latin typeface="Calibri" panose="020F0502020204030204" pitchFamily="34" charset="0"/>
                <a:cs typeface="Calibri" panose="020F0502020204030204" pitchFamily="34" charset="0"/>
              </a:rPr>
              <a:t>net loss of R329 million </a:t>
            </a:r>
            <a:r>
              <a:rPr lang="en-ZA" b="0" dirty="0">
                <a:latin typeface="Calibri" panose="020F0502020204030204" pitchFamily="34" charset="0"/>
                <a:cs typeface="Calibri" panose="020F0502020204030204" pitchFamily="34" charset="0"/>
              </a:rPr>
              <a:t>due to the following:</a:t>
            </a:r>
          </a:p>
          <a:p>
            <a:pPr lvl="0"/>
            <a:r>
              <a:rPr lang="en-ZA" b="0" dirty="0">
                <a:latin typeface="Calibri" panose="020F0502020204030204" pitchFamily="34" charset="0"/>
                <a:cs typeface="Calibri" panose="020F0502020204030204" pitchFamily="34" charset="0"/>
              </a:rPr>
              <a:t>the medium-term shutdown of GTL refinery likely to resume production in May 2022 </a:t>
            </a:r>
          </a:p>
          <a:p>
            <a:pPr lvl="0"/>
            <a:r>
              <a:rPr lang="en-ZA" b="0" dirty="0">
                <a:latin typeface="Calibri" panose="020F0502020204030204" pitchFamily="34" charset="0"/>
                <a:cs typeface="Calibri" panose="020F0502020204030204" pitchFamily="34" charset="0"/>
              </a:rPr>
              <a:t>inefficient operating model that has high fixed costs  </a:t>
            </a:r>
          </a:p>
          <a:p>
            <a:pPr lvl="0"/>
            <a:r>
              <a:rPr lang="en-ZA" b="0" dirty="0">
                <a:latin typeface="Calibri" panose="020F0502020204030204" pitchFamily="34" charset="0"/>
                <a:cs typeface="Calibri" panose="020F0502020204030204" pitchFamily="34" charset="0"/>
              </a:rPr>
              <a:t>Unfavourable macro-economic conditions </a:t>
            </a:r>
          </a:p>
          <a:p>
            <a:pPr lvl="0"/>
            <a:r>
              <a:rPr lang="en-ZA" b="0" dirty="0">
                <a:latin typeface="Calibri" panose="020F0502020204030204" pitchFamily="34" charset="0"/>
                <a:cs typeface="Calibri" panose="020F0502020204030204" pitchFamily="34" charset="0"/>
              </a:rPr>
              <a:t>Depressed external environment due to COVID-19 impact </a:t>
            </a:r>
          </a:p>
          <a:p>
            <a:r>
              <a:rPr lang="en-ZA" b="0" dirty="0">
                <a:latin typeface="Calibri" panose="020F0502020204030204" pitchFamily="34" charset="0"/>
                <a:cs typeface="Calibri" panose="020F0502020204030204" pitchFamily="34" charset="0"/>
              </a:rPr>
              <a:t>Moreover, the execution pace for turnaround, sustenance and growth initiatives requires urgency</a:t>
            </a:r>
          </a:p>
          <a:p>
            <a:r>
              <a:rPr lang="en-US" b="0" dirty="0">
                <a:latin typeface="Calibri" panose="020F0502020204030204" pitchFamily="34" charset="0"/>
                <a:cs typeface="Calibri" panose="020F0502020204030204" pitchFamily="34" charset="0"/>
              </a:rPr>
              <a:t>As we move into Q4 focus will still be on the following initiatives:</a:t>
            </a:r>
          </a:p>
          <a:p>
            <a:pPr marL="592137" lvl="1" indent="-400050">
              <a:buFont typeface="+mj-lt"/>
              <a:buAutoNum type="romanLcPeriod"/>
            </a:pPr>
            <a:r>
              <a:rPr lang="en-US" sz="2000" dirty="0">
                <a:latin typeface="Calibri" panose="020F0502020204030204" pitchFamily="34" charset="0"/>
                <a:cs typeface="Calibri" panose="020F0502020204030204" pitchFamily="34" charset="0"/>
              </a:rPr>
              <a:t>Merger Project and obtain </a:t>
            </a:r>
            <a:r>
              <a:rPr lang="en-US" sz="2000" b="1" i="1" dirty="0">
                <a:solidFill>
                  <a:schemeClr val="accent1"/>
                </a:solidFill>
                <a:latin typeface="Calibri" panose="020F0502020204030204" pitchFamily="34" charset="0"/>
                <a:cs typeface="Calibri" panose="020F0502020204030204" pitchFamily="34" charset="0"/>
              </a:rPr>
              <a:t>Cabinet approval</a:t>
            </a:r>
          </a:p>
          <a:p>
            <a:pPr marL="592137" lvl="1" indent="-400050">
              <a:buFont typeface="+mj-lt"/>
              <a:buAutoNum type="romanLcPeriod"/>
            </a:pPr>
            <a:r>
              <a:rPr lang="en-US" sz="2000" b="0" dirty="0">
                <a:latin typeface="Calibri" panose="020F0502020204030204" pitchFamily="34" charset="0"/>
                <a:cs typeface="Calibri" panose="020F0502020204030204" pitchFamily="34" charset="0"/>
              </a:rPr>
              <a:t>CEF SOC Repositioning</a:t>
            </a:r>
          </a:p>
          <a:p>
            <a:pPr marL="592137" lvl="1" indent="-400050">
              <a:buFont typeface="+mj-lt"/>
              <a:buAutoNum type="romanLcPeriod"/>
            </a:pPr>
            <a:r>
              <a:rPr lang="en-US" sz="2000" dirty="0">
                <a:latin typeface="Calibri" panose="020F0502020204030204" pitchFamily="34" charset="0"/>
                <a:cs typeface="Calibri" panose="020F0502020204030204" pitchFamily="34" charset="0"/>
              </a:rPr>
              <a:t>PetroSA </a:t>
            </a:r>
            <a:r>
              <a:rPr lang="en-US" sz="2000" b="1" i="1" dirty="0">
                <a:solidFill>
                  <a:schemeClr val="accent1"/>
                </a:solidFill>
                <a:latin typeface="Calibri" panose="020F0502020204030204" pitchFamily="34" charset="0"/>
                <a:cs typeface="Calibri" panose="020F0502020204030204" pitchFamily="34" charset="0"/>
              </a:rPr>
              <a:t>War-Room</a:t>
            </a:r>
          </a:p>
          <a:p>
            <a:pPr marL="592137" lvl="1" indent="-400050">
              <a:buFont typeface="+mj-lt"/>
              <a:buAutoNum type="romanLcPeriod"/>
            </a:pPr>
            <a:r>
              <a:rPr lang="en-US" sz="2000" b="0" dirty="0">
                <a:latin typeface="Calibri" panose="020F0502020204030204" pitchFamily="34" charset="0"/>
                <a:cs typeface="Calibri" panose="020F0502020204030204" pitchFamily="34" charset="0"/>
              </a:rPr>
              <a:t>Business Development and Growth initiatives</a:t>
            </a:r>
          </a:p>
          <a:p>
            <a:pPr marL="592137" lvl="1" indent="-400050">
              <a:buFont typeface="+mj-lt"/>
              <a:buAutoNum type="romanLcPeriod"/>
            </a:pPr>
            <a:r>
              <a:rPr lang="en-US" sz="2000" dirty="0">
                <a:latin typeface="Calibri" panose="020F0502020204030204" pitchFamily="34" charset="0"/>
                <a:cs typeface="Calibri" panose="020F0502020204030204" pitchFamily="34" charset="0"/>
              </a:rPr>
              <a:t>Drive </a:t>
            </a:r>
            <a:r>
              <a:rPr lang="en-US" sz="2000" b="1" i="1" dirty="0">
                <a:solidFill>
                  <a:schemeClr val="accent1"/>
                </a:solidFill>
                <a:latin typeface="Calibri" panose="020F0502020204030204" pitchFamily="34" charset="0"/>
                <a:cs typeface="Calibri" panose="020F0502020204030204" pitchFamily="34" charset="0"/>
              </a:rPr>
              <a:t>consequence management </a:t>
            </a:r>
            <a:r>
              <a:rPr lang="en-US" sz="2000" dirty="0">
                <a:latin typeface="Calibri" panose="020F0502020204030204" pitchFamily="34" charset="0"/>
                <a:cs typeface="Calibri" panose="020F0502020204030204" pitchFamily="34" charset="0"/>
              </a:rPr>
              <a:t>to rid the organization of c</a:t>
            </a:r>
            <a:r>
              <a:rPr lang="en-US" sz="2000" b="1" i="1" dirty="0">
                <a:solidFill>
                  <a:schemeClr val="accent1"/>
                </a:solidFill>
                <a:latin typeface="Calibri" panose="020F0502020204030204" pitchFamily="34" charset="0"/>
                <a:cs typeface="Calibri" panose="020F0502020204030204" pitchFamily="34" charset="0"/>
              </a:rPr>
              <a:t>orruption and poor performance</a:t>
            </a:r>
          </a:p>
          <a:p>
            <a:pPr marL="592137" lvl="1" indent="-400050">
              <a:buFont typeface="+mj-lt"/>
              <a:buAutoNum type="romanLcPeriod"/>
            </a:pPr>
            <a:r>
              <a:rPr lang="en-US" sz="2000" dirty="0">
                <a:latin typeface="Calibri" panose="020F0502020204030204" pitchFamily="34" charset="0"/>
                <a:cs typeface="Calibri" panose="020F0502020204030204" pitchFamily="34" charset="0"/>
              </a:rPr>
              <a:t>Intensify the Group growth agenda with planned acquisitions and partnerships</a:t>
            </a:r>
            <a:endParaRPr lang="en-ZA" sz="2000" b="0" dirty="0">
              <a:latin typeface="Calibri" panose="020F0502020204030204" pitchFamily="34" charset="0"/>
              <a:cs typeface="Calibri" panose="020F0502020204030204" pitchFamily="34" charset="0"/>
            </a:endParaRPr>
          </a:p>
          <a:p>
            <a:endParaRPr lang="en-ZA" b="0" dirty="0">
              <a:latin typeface="Calibri" panose="020F0502020204030204" pitchFamily="34" charset="0"/>
              <a:cs typeface="Calibri" panose="020F0502020204030204" pitchFamily="34" charset="0"/>
            </a:endParaRPr>
          </a:p>
          <a:p>
            <a:endParaRPr lang="en-ZA" b="0" dirty="0">
              <a:latin typeface="Calibri" panose="020F0502020204030204" pitchFamily="34" charset="0"/>
              <a:cs typeface="Calibri" panose="020F0502020204030204" pitchFamily="34" charset="0"/>
            </a:endParaRPr>
          </a:p>
          <a:p>
            <a:pPr marL="0" indent="0">
              <a:buNone/>
            </a:pPr>
            <a:endParaRPr lang="en-ZA" b="0" dirty="0">
              <a:latin typeface="Calibri" panose="020F0502020204030204" pitchFamily="34" charset="0"/>
              <a:cs typeface="Calibri" panose="020F0502020204030204" pitchFamily="34" charset="0"/>
            </a:endParaRPr>
          </a:p>
          <a:p>
            <a:pPr marL="0" indent="0">
              <a:buNone/>
            </a:pPr>
            <a:endParaRPr lang="en-ZA" dirty="0"/>
          </a:p>
          <a:p>
            <a:pPr marL="0" indent="0">
              <a:buNone/>
            </a:pPr>
            <a:endParaRPr lang="en-ZA" b="0" dirty="0"/>
          </a:p>
        </p:txBody>
      </p:sp>
    </p:spTree>
    <p:extLst>
      <p:ext uri="{BB962C8B-B14F-4D97-AF65-F5344CB8AC3E}">
        <p14:creationId xmlns:p14="http://schemas.microsoft.com/office/powerpoint/2010/main" xmlns="" val="21643617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6446" y="2547715"/>
            <a:ext cx="7720149" cy="2520673"/>
          </a:xfrm>
        </p:spPr>
        <p:txBody>
          <a:bodyPr/>
          <a:lstStyle/>
          <a:p>
            <a:r>
              <a:rPr lang="en-US" sz="8000" i="1" dirty="0">
                <a:solidFill>
                  <a:srgbClr val="0050A4"/>
                </a:solidFill>
                <a:latin typeface="Rockwell Extra Bold" panose="02060903040505020403" pitchFamily="18" charset="0"/>
              </a:rPr>
              <a:t>T</a:t>
            </a:r>
            <a:r>
              <a:rPr lang="en-US" sz="8000" i="1" dirty="0">
                <a:solidFill>
                  <a:schemeClr val="tx1">
                    <a:lumMod val="50000"/>
                    <a:lumOff val="50000"/>
                  </a:schemeClr>
                </a:solidFill>
                <a:latin typeface="Rockwell Extra Bold" panose="02060903040505020403" pitchFamily="18" charset="0"/>
              </a:rPr>
              <a:t>hank </a:t>
            </a:r>
            <a:r>
              <a:rPr lang="en-US" sz="8000" i="1" dirty="0">
                <a:solidFill>
                  <a:srgbClr val="F37021"/>
                </a:solidFill>
                <a:latin typeface="Rockwell Extra Bold" panose="02060903040505020403" pitchFamily="18" charset="0"/>
              </a:rPr>
              <a:t>Y</a:t>
            </a:r>
            <a:r>
              <a:rPr lang="en-US" sz="8000" i="1" dirty="0">
                <a:solidFill>
                  <a:schemeClr val="tx1">
                    <a:lumMod val="50000"/>
                    <a:lumOff val="50000"/>
                  </a:schemeClr>
                </a:solidFill>
                <a:latin typeface="Rockwell Extra Bold" panose="02060903040505020403" pitchFamily="18" charset="0"/>
              </a:rPr>
              <a:t>ou</a:t>
            </a:r>
          </a:p>
        </p:txBody>
      </p:sp>
      <p:sp>
        <p:nvSpPr>
          <p:cNvPr id="5" name="Slide Number Placeholder 1"/>
          <p:cNvSpPr>
            <a:spLocks noGrp="1"/>
          </p:cNvSpPr>
          <p:nvPr>
            <p:ph type="sldNum" sz="quarter" idx="4"/>
          </p:nvPr>
        </p:nvSpPr>
        <p:spPr>
          <a:xfrm>
            <a:off x="9793297" y="0"/>
            <a:ext cx="2844800" cy="327030"/>
          </a:xfrm>
        </p:spPr>
        <p:txBody>
          <a:bodyPr/>
          <a:lstStyle/>
          <a:p>
            <a:fld id="{1F5339F2-E51D-4D5B-A74B-C331401D45E9}" type="slidenum">
              <a:rPr lang="en-ZA" smtClean="0"/>
              <a:pPr/>
              <a:t>33</a:t>
            </a:fld>
            <a:endParaRPr lang="en-ZA" dirty="0"/>
          </a:p>
        </p:txBody>
      </p:sp>
    </p:spTree>
    <p:extLst>
      <p:ext uri="{BB962C8B-B14F-4D97-AF65-F5344CB8AC3E}">
        <p14:creationId xmlns:p14="http://schemas.microsoft.com/office/powerpoint/2010/main" xmlns="" val="22013997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0" y="1567544"/>
            <a:ext cx="12638088" cy="3579222"/>
          </a:xfrm>
          <a:prstGeom prst="rect">
            <a:avLst/>
          </a:prstGeom>
        </p:spPr>
        <p:txBody>
          <a:bodyPr vert="horz" lIns="91436" tIns="45718" rIns="91436" bIns="45718" rtlCol="0" anchor="ctr">
            <a:noAutofit/>
          </a:bodyPr>
          <a:lstStyle>
            <a:defPPr>
              <a:defRPr lang="en-US"/>
            </a:defPPr>
            <a:lvl1pPr algn="ctr" defTabSz="914362" eaLnBrk="1" fontAlgn="auto" latinLnBrk="0" hangingPunct="1">
              <a:spcAft>
                <a:spcPts val="0"/>
              </a:spcAft>
              <a:buNone/>
              <a:defRPr sz="9600" b="1">
                <a:solidFill>
                  <a:srgbClr val="0563B8"/>
                </a:solidFill>
                <a:latin typeface="Bodoni MT Black" panose="02070A03080606020203" pitchFamily="18" charset="0"/>
                <a:ea typeface="+mj-ea"/>
                <a:cs typeface="+mj-cs"/>
              </a:defRPr>
            </a:lvl1pPr>
          </a:lstStyle>
          <a:p>
            <a:pPr marL="0" marR="0" lvl="0" indent="0" algn="ctr" defTabSz="914362" rtl="0" eaLnBrk="1" fontAlgn="auto" latinLnBrk="0" hangingPunct="1">
              <a:lnSpc>
                <a:spcPct val="100000"/>
              </a:lnSpc>
              <a:spcBef>
                <a:spcPct val="0"/>
              </a:spcBef>
              <a:spcAft>
                <a:spcPts val="0"/>
              </a:spcAft>
              <a:buClrTx/>
              <a:buSzTx/>
              <a:buFontTx/>
              <a:buNone/>
              <a:tabLst/>
              <a:defRPr/>
            </a:pPr>
            <a:r>
              <a:rPr kumimoji="0" lang="en-US" sz="6600" b="1" i="0" u="none" strike="noStrike" kern="1200" cap="none" spc="0" normalizeH="0" baseline="0" noProof="0" dirty="0">
                <a:ln>
                  <a:noFill/>
                </a:ln>
                <a:solidFill>
                  <a:srgbClr val="4F81BD"/>
                </a:solidFill>
                <a:effectLst>
                  <a:outerShdw blurRad="38100" dist="38100" dir="2700000" algn="tl">
                    <a:srgbClr val="000000">
                      <a:alpha val="43137"/>
                    </a:srgbClr>
                  </a:outerShdw>
                </a:effectLst>
                <a:uLnTx/>
                <a:uFillTx/>
                <a:latin typeface="Century Schoolbook" panose="02040604050505020304" pitchFamily="18" charset="0"/>
                <a:ea typeface="+mj-ea"/>
                <a:cs typeface="+mj-cs"/>
              </a:rPr>
              <a:t>CEF Group Implementation Action Plan to address the findings and recommendations of the AGSA</a:t>
            </a:r>
          </a:p>
        </p:txBody>
      </p:sp>
      <p:sp>
        <p:nvSpPr>
          <p:cNvPr id="7" name="Slide Number Placeholder 5"/>
          <p:cNvSpPr>
            <a:spLocks noGrp="1"/>
          </p:cNvSpPr>
          <p:nvPr>
            <p:ph type="sldNum" sz="quarter" idx="4"/>
          </p:nvPr>
        </p:nvSpPr>
        <p:spPr>
          <a:xfrm>
            <a:off x="9793297" y="0"/>
            <a:ext cx="2844800" cy="32703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5F9929A-E65B-4A32-B95B-5449DD184F52}"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Tree>
    <p:extLst>
      <p:ext uri="{BB962C8B-B14F-4D97-AF65-F5344CB8AC3E}">
        <p14:creationId xmlns:p14="http://schemas.microsoft.com/office/powerpoint/2010/main" xmlns="" val="2615489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graphicFrame>
        <p:nvGraphicFramePr>
          <p:cNvPr id="6" name="Table 5"/>
          <p:cNvGraphicFramePr>
            <a:graphicFrameLocks noGrp="1"/>
          </p:cNvGraphicFramePr>
          <p:nvPr/>
        </p:nvGraphicFramePr>
        <p:xfrm>
          <a:off x="172527" y="590695"/>
          <a:ext cx="12327147" cy="6003268"/>
        </p:xfrm>
        <a:graphic>
          <a:graphicData uri="http://schemas.openxmlformats.org/drawingml/2006/table">
            <a:tbl>
              <a:tblPr firstRow="1" firstCol="1" lastRow="1" lastCol="1" bandRow="1" bandCol="1"/>
              <a:tblGrid>
                <a:gridCol w="1131177">
                  <a:extLst>
                    <a:ext uri="{9D8B030D-6E8A-4147-A177-3AD203B41FA5}">
                      <a16:colId xmlns:a16="http://schemas.microsoft.com/office/drawing/2014/main" xmlns="" val="2515123244"/>
                    </a:ext>
                  </a:extLst>
                </a:gridCol>
                <a:gridCol w="1802521">
                  <a:extLst>
                    <a:ext uri="{9D8B030D-6E8A-4147-A177-3AD203B41FA5}">
                      <a16:colId xmlns:a16="http://schemas.microsoft.com/office/drawing/2014/main" xmlns="" val="737328526"/>
                    </a:ext>
                  </a:extLst>
                </a:gridCol>
                <a:gridCol w="1845337">
                  <a:extLst>
                    <a:ext uri="{9D8B030D-6E8A-4147-A177-3AD203B41FA5}">
                      <a16:colId xmlns:a16="http://schemas.microsoft.com/office/drawing/2014/main" xmlns="" val="3778448535"/>
                    </a:ext>
                  </a:extLst>
                </a:gridCol>
                <a:gridCol w="1828800">
                  <a:extLst>
                    <a:ext uri="{9D8B030D-6E8A-4147-A177-3AD203B41FA5}">
                      <a16:colId xmlns:a16="http://schemas.microsoft.com/office/drawing/2014/main" xmlns="" val="115915336"/>
                    </a:ext>
                  </a:extLst>
                </a:gridCol>
                <a:gridCol w="1780891">
                  <a:extLst>
                    <a:ext uri="{9D8B030D-6E8A-4147-A177-3AD203B41FA5}">
                      <a16:colId xmlns:a16="http://schemas.microsoft.com/office/drawing/2014/main" xmlns="" val="3016556912"/>
                    </a:ext>
                  </a:extLst>
                </a:gridCol>
                <a:gridCol w="1052667">
                  <a:extLst>
                    <a:ext uri="{9D8B030D-6E8A-4147-A177-3AD203B41FA5}">
                      <a16:colId xmlns:a16="http://schemas.microsoft.com/office/drawing/2014/main" xmlns="" val="76922752"/>
                    </a:ext>
                  </a:extLst>
                </a:gridCol>
                <a:gridCol w="1225085">
                  <a:extLst>
                    <a:ext uri="{9D8B030D-6E8A-4147-A177-3AD203B41FA5}">
                      <a16:colId xmlns:a16="http://schemas.microsoft.com/office/drawing/2014/main" xmlns="" val="2885203429"/>
                    </a:ext>
                  </a:extLst>
                </a:gridCol>
                <a:gridCol w="1660669">
                  <a:extLst>
                    <a:ext uri="{9D8B030D-6E8A-4147-A177-3AD203B41FA5}">
                      <a16:colId xmlns:a16="http://schemas.microsoft.com/office/drawing/2014/main" xmlns="" val="438665609"/>
                    </a:ext>
                  </a:extLst>
                </a:gridCol>
              </a:tblGrid>
              <a:tr h="3538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ategory</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udi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Finding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gn="l" defTabSz="1263792" rtl="0" eaLnBrk="1" latinLnBrk="0" hangingPunct="1">
                        <a:lnSpc>
                          <a:spcPts val="1030"/>
                        </a:lnSpc>
                        <a:spcAft>
                          <a:spcPts val="0"/>
                        </a:spcAft>
                      </a:pPr>
                      <a:r>
                        <a:rPr lang="en-ZA" sz="1050" b="1" kern="1200"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Description</a:t>
                      </a: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ffected</a:t>
                      </a:r>
                      <a:r>
                        <a:rPr lang="en-US" sz="1050" b="1" spc="-5" baseline="0"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entitie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ction</a:t>
                      </a: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Plan</a:t>
                      </a: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Description</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ompletion date</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atu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Narrative</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extLst>
                  <a:ext uri="{0D108BD9-81ED-4DB2-BD59-A6C34878D82A}">
                    <a16:rowId xmlns:a16="http://schemas.microsoft.com/office/drawing/2014/main" xmlns="" val="1739702194"/>
                  </a:ext>
                </a:extLst>
              </a:tr>
              <a:tr h="9699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80975" algn="l" defTabSz="1263792" rtl="0" eaLnBrk="1" latinLnBrk="0" hangingPunct="1">
                        <a:lnSpc>
                          <a:spcPct val="107000"/>
                        </a:lnSpc>
                        <a:spcBef>
                          <a:spcPts val="0"/>
                        </a:spcBef>
                        <a:spcAft>
                          <a:spcPts val="0"/>
                        </a:spcAft>
                      </a:pPr>
                      <a:r>
                        <a:rPr lang="en-US" sz="105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Laws and Regulation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8097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n annual shareholder’s compact was not concluded in consultation with the executive authority - Shareholders compact not approved by Executive Authority</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8097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During the planning phase of the audit, no evidence was provided that confirm that the shareholders compacts of the CEF Group was submitted to the relevant treasury at least one month before the start of the financial year as required by s52 (b) of the PFMA, which affected the audit reports of the following entitie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80975" lvl="0" indent="-342900" algn="l" defTabSz="1263792" rtl="0" eaLnBrk="1" latinLnBrk="0" hangingPunct="1">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EF SOC</a:t>
                      </a:r>
                    </a:p>
                    <a:p>
                      <a:pPr marL="67945" marR="180975" lvl="0" indent="-342900" algn="l" defTabSz="1263792" rtl="0" eaLnBrk="1" latinLnBrk="0" hangingPunct="1">
                        <a:lnSpc>
                          <a:spcPts val="1035"/>
                        </a:lnSpc>
                        <a:spcBef>
                          <a:spcPts val="0"/>
                        </a:spcBef>
                        <a:spcAft>
                          <a:spcPts val="0"/>
                        </a:spcAft>
                        <a:buSzPts val="900"/>
                        <a:buFont typeface="Arial" panose="020B0604020202020204" pitchFamily="34" charset="0"/>
                        <a:buChar char="-"/>
                        <a:tabLst>
                          <a:tab pos="137160" algn="l"/>
                        </a:tabLst>
                      </a:pPr>
                      <a:r>
                        <a:rPr lang="en-US" sz="1050" kern="1200" spc="-5" dirty="0" err="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PetroSA</a:t>
                      </a:r>
                      <a:endPar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p>
                      <a:pPr marL="67945" marR="180975" lvl="0" indent="-342900" algn="l" defTabSz="1263792" rtl="0" eaLnBrk="1" latinLnBrk="0" hangingPunct="1">
                        <a:lnSpc>
                          <a:spcPts val="1035"/>
                        </a:lnSpc>
                        <a:spcBef>
                          <a:spcPts val="1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p>
                      <a:pPr marL="67945" marR="180975" lvl="0" indent="-342900" algn="l" defTabSz="1263792" rtl="0" eaLnBrk="1" latinLnBrk="0" hangingPunct="1">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PASA</a:t>
                      </a:r>
                    </a:p>
                    <a:p>
                      <a:pPr marL="67945" marR="180975" lvl="0" indent="-342900" algn="l" defTabSz="1263792" rtl="0" eaLnBrk="1" latinLnBrk="0" hangingPunct="1">
                        <a:lnSpc>
                          <a:spcPts val="1030"/>
                        </a:lnSpc>
                        <a:spcBef>
                          <a:spcPts val="0"/>
                        </a:spcBef>
                        <a:spcAft>
                          <a:spcPts val="0"/>
                        </a:spcAft>
                        <a:buSzPts val="900"/>
                        <a:buFont typeface="Arial" panose="020B0604020202020204" pitchFamily="34" charset="0"/>
                        <a:buChar char="-"/>
                        <a:tabLst>
                          <a:tab pos="137160" algn="l"/>
                        </a:tabLst>
                      </a:pPr>
                      <a:r>
                        <a:rPr lang="en-US" sz="1050" kern="1200" spc="-5" dirty="0" err="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GAS</a:t>
                      </a:r>
                      <a:endPar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p>
                      <a:pPr marL="67945" marR="180975" lvl="0" indent="-342900" algn="l" defTabSz="1263792" rtl="0" eaLnBrk="1" latinLnBrk="0" hangingPunct="1">
                        <a:lnSpc>
                          <a:spcPts val="1035"/>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SFF</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8097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CEF Group Chairperson is engaging the Department in ensuring that this is resolved.</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80975" algn="l" defTabSz="1263792" rtl="0" eaLnBrk="1" latinLnBrk="0" hangingPunct="1">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80975" algn="l" defTabSz="1263792" rtl="0" eaLnBrk="1" latinLnBrk="0" hangingPunct="1">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80975" algn="l" defTabSz="1263792" rtl="0" eaLnBrk="1" latinLnBrk="0" hangingPunct="1">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EF is waiting for the response from the DMRE</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3817065"/>
                  </a:ext>
                </a:extLst>
              </a:tr>
              <a:tr h="104750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228600">
                        <a:lnSpc>
                          <a:spcPct val="107000"/>
                        </a:lnSpc>
                        <a:spcBef>
                          <a:spcPts val="0"/>
                        </a:spcBef>
                        <a:spcAft>
                          <a:spcPts val="0"/>
                        </a:spcAft>
                      </a:pPr>
                      <a:r>
                        <a:rPr lang="en-US" sz="105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Laws and Regulation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0">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onsequence management</a:t>
                      </a:r>
                    </a:p>
                    <a:p>
                      <a:pPr marL="66675" marR="12065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No prior year investigation conducted</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During the audit of irregular expenditure and fruitless and wasteful expenditure, we were not able to obtain sufficient appropriate audit evidence that disciplinary steps were taken against officials who had incurred irregular expenditure as required by section 51(1)(e)(iii) of the PFMA.</a:t>
                      </a:r>
                    </a:p>
                    <a:p>
                      <a:pPr marL="0" marR="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6675" marR="11303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No investigation conducted on the allegations of violation of company policy</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EF SOC</a:t>
                      </a:r>
                    </a:p>
                    <a:p>
                      <a:pPr marL="342900" marR="0" lvl="0" indent="-342900">
                        <a:lnSpc>
                          <a:spcPts val="1035"/>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SFF</a:t>
                      </a:r>
                    </a:p>
                    <a:p>
                      <a:pPr marL="342900" marR="0" lvl="0" indent="-342900">
                        <a:lnSpc>
                          <a:spcPts val="1035"/>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9144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With only AEMFC to yet appoint Loss Control Committee, the matters of irregular and fruitless and Wasteful expenditure are all deliberated at all other </a:t>
                      </a:r>
                      <a:r>
                        <a:rPr lang="en-US" sz="1050" kern="1200" spc="-5" dirty="0" err="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entites</a:t>
                      </a: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These matters are referred to the respective relevant authorities (Board and National Treasury) for either write-off or condonation and the others are recovered, and the appropriate disciplinary process initiated.</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6858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Recommendations from the forensic investigations reports are implemented. </a:t>
                      </a:r>
                    </a:p>
                    <a:p>
                      <a:pPr marL="0" marR="0">
                        <a:lnSpc>
                          <a:spcPct val="107000"/>
                        </a:lnSpc>
                        <a:spcBef>
                          <a:spcPts val="6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7945" marR="20066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re are also some forensic investigations that are still underway</a:t>
                      </a:r>
                    </a:p>
                    <a:p>
                      <a:pPr marL="0" marR="0">
                        <a:lnSpc>
                          <a:spcPct val="107000"/>
                        </a:lnSpc>
                        <a:spcBef>
                          <a:spcPts val="5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7945" marR="13081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Letters authorizing the entity to recover from the employee are issued. </a:t>
                      </a:r>
                    </a:p>
                    <a:p>
                      <a:pPr marL="0" marR="0">
                        <a:lnSpc>
                          <a:spcPct val="107000"/>
                        </a:lnSpc>
                        <a:spcBef>
                          <a:spcPts val="6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7945" marR="207010">
                        <a:lnSpc>
                          <a:spcPct val="107000"/>
                        </a:lnSpc>
                        <a:spcBef>
                          <a:spcPts val="0"/>
                        </a:spcBef>
                        <a:spcAft>
                          <a:spcPts val="0"/>
                        </a:spcAft>
                      </a:pPr>
                      <a:endPar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22672418"/>
                  </a:ext>
                </a:extLst>
              </a:tr>
            </a:tbl>
          </a:graphicData>
        </a:graphic>
      </p:graphicFrame>
    </p:spTree>
    <p:extLst>
      <p:ext uri="{BB962C8B-B14F-4D97-AF65-F5344CB8AC3E}">
        <p14:creationId xmlns:p14="http://schemas.microsoft.com/office/powerpoint/2010/main" xmlns="" val="32805816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graphicFrame>
        <p:nvGraphicFramePr>
          <p:cNvPr id="6" name="Table 5"/>
          <p:cNvGraphicFramePr>
            <a:graphicFrameLocks noGrp="1"/>
          </p:cNvGraphicFramePr>
          <p:nvPr/>
        </p:nvGraphicFramePr>
        <p:xfrm>
          <a:off x="232912" y="375032"/>
          <a:ext cx="12154620" cy="6387316"/>
        </p:xfrm>
        <a:graphic>
          <a:graphicData uri="http://schemas.openxmlformats.org/drawingml/2006/table">
            <a:tbl>
              <a:tblPr firstRow="1" firstCol="1" lastRow="1" lastCol="1" bandRow="1" bandCol="1"/>
              <a:tblGrid>
                <a:gridCol w="1115345">
                  <a:extLst>
                    <a:ext uri="{9D8B030D-6E8A-4147-A177-3AD203B41FA5}">
                      <a16:colId xmlns:a16="http://schemas.microsoft.com/office/drawing/2014/main" xmlns="" val="2515123244"/>
                    </a:ext>
                  </a:extLst>
                </a:gridCol>
                <a:gridCol w="1777294">
                  <a:extLst>
                    <a:ext uri="{9D8B030D-6E8A-4147-A177-3AD203B41FA5}">
                      <a16:colId xmlns:a16="http://schemas.microsoft.com/office/drawing/2014/main" xmlns="" val="737328526"/>
                    </a:ext>
                  </a:extLst>
                </a:gridCol>
                <a:gridCol w="1808551">
                  <a:extLst>
                    <a:ext uri="{9D8B030D-6E8A-4147-A177-3AD203B41FA5}">
                      <a16:colId xmlns:a16="http://schemas.microsoft.com/office/drawing/2014/main" xmlns="" val="3778448535"/>
                    </a:ext>
                  </a:extLst>
                </a:gridCol>
                <a:gridCol w="1061256">
                  <a:extLst>
                    <a:ext uri="{9D8B030D-6E8A-4147-A177-3AD203B41FA5}">
                      <a16:colId xmlns:a16="http://schemas.microsoft.com/office/drawing/2014/main" xmlns="" val="115915336"/>
                    </a:ext>
                  </a:extLst>
                </a:gridCol>
                <a:gridCol w="2553419">
                  <a:extLst>
                    <a:ext uri="{9D8B030D-6E8A-4147-A177-3AD203B41FA5}">
                      <a16:colId xmlns:a16="http://schemas.microsoft.com/office/drawing/2014/main" xmlns="" val="3016556912"/>
                    </a:ext>
                  </a:extLst>
                </a:gridCol>
                <a:gridCol w="1138687">
                  <a:extLst>
                    <a:ext uri="{9D8B030D-6E8A-4147-A177-3AD203B41FA5}">
                      <a16:colId xmlns:a16="http://schemas.microsoft.com/office/drawing/2014/main" xmlns="" val="76922752"/>
                    </a:ext>
                  </a:extLst>
                </a:gridCol>
                <a:gridCol w="1062640">
                  <a:extLst>
                    <a:ext uri="{9D8B030D-6E8A-4147-A177-3AD203B41FA5}">
                      <a16:colId xmlns:a16="http://schemas.microsoft.com/office/drawing/2014/main" xmlns="" val="2885203429"/>
                    </a:ext>
                  </a:extLst>
                </a:gridCol>
                <a:gridCol w="1637428">
                  <a:extLst>
                    <a:ext uri="{9D8B030D-6E8A-4147-A177-3AD203B41FA5}">
                      <a16:colId xmlns:a16="http://schemas.microsoft.com/office/drawing/2014/main" xmlns="" val="438665609"/>
                    </a:ext>
                  </a:extLst>
                </a:gridCol>
              </a:tblGrid>
              <a:tr h="3538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ategory</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udi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Finding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gn="l" defTabSz="1263792" rtl="0" eaLnBrk="1" latinLnBrk="0" hangingPunct="1">
                        <a:lnSpc>
                          <a:spcPts val="1030"/>
                        </a:lnSpc>
                        <a:spcAft>
                          <a:spcPts val="0"/>
                        </a:spcAft>
                      </a:pPr>
                      <a:r>
                        <a:rPr lang="en-ZA" sz="1050" b="1" kern="1200"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Description</a:t>
                      </a: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ffected</a:t>
                      </a:r>
                      <a:r>
                        <a:rPr lang="en-US" sz="1050" b="1" spc="-5" baseline="0"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entitie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ction</a:t>
                      </a: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Plan</a:t>
                      </a: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Description</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ompletion date</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atu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Narrative</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extLst>
                  <a:ext uri="{0D108BD9-81ED-4DB2-BD59-A6C34878D82A}">
                    <a16:rowId xmlns:a16="http://schemas.microsoft.com/office/drawing/2014/main" xmlns="" val="1739702194"/>
                  </a:ext>
                </a:extLst>
              </a:tr>
              <a:tr h="9699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228600">
                        <a:lnSpc>
                          <a:spcPct val="107000"/>
                        </a:lnSpc>
                        <a:spcBef>
                          <a:spcPts val="0"/>
                        </a:spcBef>
                        <a:spcAft>
                          <a:spcPts val="0"/>
                        </a:spcAft>
                      </a:pPr>
                      <a:r>
                        <a:rPr lang="en-US" sz="100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Laws and Regulation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0">
                        <a:lnSpc>
                          <a:spcPts val="1030"/>
                        </a:lnSpc>
                        <a:spcBef>
                          <a:spcPts val="0"/>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Procurement and contract management- Goods, works or services were not procured  through a fair, equitable, transparent and competitive process. </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a:lnSpc>
                          <a:spcPct val="107000"/>
                        </a:lnSpc>
                        <a:spcBef>
                          <a:spcPts val="0"/>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During the audit of procurement management, we identified that the entity did not comply with Supply Chain Management Policy which stipulated that all procurement above R500 000 will be advertised for 21 Working day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EF SOC</a:t>
                      </a:r>
                    </a:p>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00" kern="1200" spc="-5" dirty="0" err="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GAS</a:t>
                      </a: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C</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91440" lvl="0" indent="-342900">
                        <a:lnSpc>
                          <a:spcPct val="107000"/>
                        </a:lnSpc>
                        <a:spcBef>
                          <a:spcPts val="0"/>
                        </a:spcBef>
                        <a:spcAft>
                          <a:spcPts val="0"/>
                        </a:spcAft>
                        <a:buSzPts val="900"/>
                        <a:buFont typeface="Arial" panose="020B0604020202020204" pitchFamily="34" charset="0"/>
                        <a:buChar char="-"/>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SCM policy has been recently updated ,it no longer includes the procurement thresholds and number of days required to advertise bids. </a:t>
                      </a:r>
                    </a:p>
                    <a:p>
                      <a:pPr marL="342900" marR="91440" lvl="0" indent="-342900">
                        <a:lnSpc>
                          <a:spcPct val="107000"/>
                        </a:lnSpc>
                        <a:spcBef>
                          <a:spcPts val="0"/>
                        </a:spcBef>
                        <a:spcAft>
                          <a:spcPts val="0"/>
                        </a:spcAft>
                        <a:buSzPts val="900"/>
                        <a:buFont typeface="Arial" panose="020B0604020202020204" pitchFamily="34" charset="0"/>
                        <a:buChar char="-"/>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contract</a:t>
                      </a:r>
                      <a:r>
                        <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s for the panel of transactional advisory services were cancelled and the process was restarted.</a:t>
                      </a:r>
                    </a:p>
                    <a:p>
                      <a:pPr marL="342900" marR="91440" lvl="0" indent="-342900">
                        <a:lnSpc>
                          <a:spcPct val="107000"/>
                        </a:lnSpc>
                        <a:spcBef>
                          <a:spcPts val="0"/>
                        </a:spcBef>
                        <a:spcAft>
                          <a:spcPts val="0"/>
                        </a:spcAft>
                        <a:buSzPts val="900"/>
                        <a:buFont typeface="Arial" panose="020B0604020202020204" pitchFamily="34" charset="0"/>
                        <a:buChar char="-"/>
                      </a:pPr>
                      <a:r>
                        <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ontrols are strengthened</a:t>
                      </a:r>
                    </a:p>
                    <a:p>
                      <a:pPr marL="0" marR="91440" lvl="0" indent="0">
                        <a:lnSpc>
                          <a:spcPct val="107000"/>
                        </a:lnSpc>
                        <a:spcBef>
                          <a:spcPts val="0"/>
                        </a:spcBef>
                        <a:spcAft>
                          <a:spcPts val="0"/>
                        </a:spcAft>
                        <a:buSzPts val="900"/>
                        <a:buFont typeface="Arial" panose="020B0604020202020204" pitchFamily="34" charset="0"/>
                        <a:buNone/>
                      </a:pP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68580">
                        <a:lnSpc>
                          <a:spcPct val="107000"/>
                        </a:lnSpc>
                        <a:spcBef>
                          <a:spcPts val="0"/>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Business has implemented the updated SCM policy and procedure</a:t>
                      </a:r>
                      <a:r>
                        <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to address findings</a:t>
                      </a:r>
                    </a:p>
                    <a:p>
                      <a:pPr marL="67945" marR="68580">
                        <a:lnSpc>
                          <a:spcPct val="107000"/>
                        </a:lnSpc>
                        <a:spcBef>
                          <a:spcPts val="0"/>
                        </a:spcBef>
                        <a:spcAft>
                          <a:spcPts val="0"/>
                        </a:spcAft>
                      </a:pPr>
                      <a:endPar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p>
                      <a:pPr marL="67945" marR="68580">
                        <a:lnSpc>
                          <a:spcPct val="107000"/>
                        </a:lnSpc>
                        <a:spcBef>
                          <a:spcPts val="0"/>
                        </a:spcBef>
                        <a:spcAft>
                          <a:spcPts val="0"/>
                        </a:spcAft>
                      </a:pPr>
                      <a:r>
                        <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supplier performance management process has been initiated </a:t>
                      </a:r>
                    </a:p>
                    <a:p>
                      <a:pPr marL="67945" marR="68580">
                        <a:lnSpc>
                          <a:spcPct val="107000"/>
                        </a:lnSpc>
                        <a:spcBef>
                          <a:spcPts val="0"/>
                        </a:spcBef>
                        <a:spcAft>
                          <a:spcPts val="0"/>
                        </a:spcAft>
                      </a:pPr>
                      <a:endPar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p>
                      <a:pPr marL="67945" marR="68580">
                        <a:lnSpc>
                          <a:spcPct val="107000"/>
                        </a:lnSpc>
                        <a:spcBef>
                          <a:spcPts val="0"/>
                        </a:spcBef>
                        <a:spcAft>
                          <a:spcPts val="0"/>
                        </a:spcAft>
                      </a:pP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3817065"/>
                  </a:ext>
                </a:extLst>
              </a:tr>
              <a:tr h="104750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228600">
                        <a:lnSpc>
                          <a:spcPct val="107000"/>
                        </a:lnSpc>
                        <a:spcBef>
                          <a:spcPts val="5"/>
                        </a:spcBef>
                        <a:spcAft>
                          <a:spcPts val="0"/>
                        </a:spcAft>
                      </a:pPr>
                      <a:r>
                        <a:rPr lang="en-US" sz="100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Laws and Regulation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221615">
                        <a:lnSpc>
                          <a:spcPct val="107000"/>
                        </a:lnSpc>
                        <a:spcBef>
                          <a:spcPts val="5"/>
                        </a:spcBef>
                        <a:spcAft>
                          <a:spcPts val="0"/>
                        </a:spcAft>
                      </a:pPr>
                      <a:r>
                        <a:rPr lang="en-US" sz="100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Non-compliance with Irregular expenditure - Failure to take reasonable steps to prevent irregular</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Reasonable steps were not taken to prevent irregular expenditure, as disclosed in the annual financial statements, in contravention of the PFMA.</a:t>
                      </a:r>
                    </a:p>
                    <a:p>
                      <a:pPr marL="66675" marR="176530">
                        <a:lnSpc>
                          <a:spcPct val="107000"/>
                        </a:lnSpc>
                        <a:spcBef>
                          <a:spcPts val="0"/>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instances of irregular expenditure were similar in the current year when compared with the prior year.</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nSpc>
                          <a:spcPts val="1035"/>
                        </a:lnSpc>
                        <a:spcBef>
                          <a:spcPts val="5"/>
                        </a:spcBef>
                        <a:spcAft>
                          <a:spcPts val="0"/>
                        </a:spcAft>
                        <a:buSzPts val="900"/>
                        <a:buFont typeface="Arial" panose="020B0604020202020204" pitchFamily="34" charset="0"/>
                        <a:buChar char="-"/>
                        <a:tabLst>
                          <a:tab pos="137160"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EF SOC</a:t>
                      </a:r>
                    </a:p>
                    <a:p>
                      <a:pPr marL="342900" marR="0" lvl="0" indent="-342900">
                        <a:lnSpc>
                          <a:spcPts val="1035"/>
                        </a:lnSpc>
                        <a:spcBef>
                          <a:spcPts val="5"/>
                        </a:spcBef>
                        <a:spcAft>
                          <a:spcPts val="0"/>
                        </a:spcAft>
                        <a:buSzPts val="900"/>
                        <a:buFont typeface="Arial" panose="020B0604020202020204" pitchFamily="34" charset="0"/>
                        <a:buChar char="-"/>
                        <a:tabLst>
                          <a:tab pos="137160" algn="l"/>
                        </a:tabLst>
                      </a:pPr>
                      <a:r>
                        <a:rPr lang="en-US" sz="1000" kern="1200" spc="-5" dirty="0" err="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GAS</a:t>
                      </a: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ts val="1035"/>
                        </a:lnSpc>
                        <a:spcBef>
                          <a:spcPts val="5"/>
                        </a:spcBef>
                        <a:spcAft>
                          <a:spcPts val="0"/>
                        </a:spcAft>
                        <a:buSzPts val="900"/>
                        <a:buFont typeface="Arial" panose="020B0604020202020204" pitchFamily="34" charset="0"/>
                        <a:buChar char="-"/>
                        <a:tabLst>
                          <a:tab pos="137160"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nSpc>
                          <a:spcPts val="1035"/>
                        </a:lnSpc>
                        <a:spcBef>
                          <a:spcPts val="5"/>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 committed Leadership to clean administration</a:t>
                      </a:r>
                    </a:p>
                    <a:p>
                      <a:pPr marL="342900" marR="377825" lvl="0" indent="-342900">
                        <a:lnSpc>
                          <a:spcPts val="1035"/>
                        </a:lnSpc>
                        <a:spcBef>
                          <a:spcPts val="0"/>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onsequence management</a:t>
                      </a:r>
                      <a:r>
                        <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was implemented for all concluded cases. </a:t>
                      </a:r>
                    </a:p>
                    <a:p>
                      <a:pPr marL="342900" marR="377825" lvl="0" indent="-342900">
                        <a:lnSpc>
                          <a:spcPts val="1035"/>
                        </a:lnSpc>
                        <a:spcBef>
                          <a:spcPts val="0"/>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loss control committee reviews all cases of irregular expenditure and recommends action to be taken for transgressors</a:t>
                      </a:r>
                    </a:p>
                    <a:p>
                      <a:pPr marL="342900" marR="377825" lvl="0" indent="-342900">
                        <a:lnSpc>
                          <a:spcPts val="1035"/>
                        </a:lnSpc>
                        <a:spcBef>
                          <a:spcPts val="0"/>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Updating of policies and internal processes</a:t>
                      </a:r>
                    </a:p>
                    <a:p>
                      <a:pPr marL="342900" marR="0" lvl="0" indent="-342900">
                        <a:lnSpc>
                          <a:spcPts val="1035"/>
                        </a:lnSpc>
                        <a:spcBef>
                          <a:spcPts val="0"/>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strengthening of internal control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63195">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Loss Control  Committee expedites the process of dealing with irregular and fruitless and wasteful expenditure instances. </a:t>
                      </a:r>
                    </a:p>
                    <a:p>
                      <a:pPr marL="67945" marR="163195">
                        <a:lnSpc>
                          <a:spcPct val="107000"/>
                        </a:lnSpc>
                        <a:spcBef>
                          <a:spcPts val="5"/>
                        </a:spcBef>
                        <a:spcAft>
                          <a:spcPts val="0"/>
                        </a:spcAft>
                      </a:pP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p>
                      <a:pPr marL="67945" marR="163195" lvl="0" indent="0" algn="l" defTabSz="1263792" rtl="0" eaLnBrk="1" fontAlgn="auto" latinLnBrk="0" hangingPunct="1">
                        <a:lnSpc>
                          <a:spcPct val="107000"/>
                        </a:lnSpc>
                        <a:spcBef>
                          <a:spcPts val="5"/>
                        </a:spcBef>
                        <a:spcAft>
                          <a:spcPts val="0"/>
                        </a:spcAft>
                        <a:buClrTx/>
                        <a:buSzTx/>
                        <a:buFontTx/>
                        <a:buNone/>
                        <a:tabLst/>
                        <a:defRPr/>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Request</a:t>
                      </a:r>
                      <a:r>
                        <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for condonation of irregular expenditure submitted to NT for all cases that are concluded</a:t>
                      </a: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p>
                      <a:pPr marL="67945" marR="163195">
                        <a:lnSpc>
                          <a:spcPct val="107000"/>
                        </a:lnSpc>
                        <a:spcBef>
                          <a:spcPts val="5"/>
                        </a:spcBef>
                        <a:spcAft>
                          <a:spcPts val="0"/>
                        </a:spcAft>
                      </a:pP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22672418"/>
                  </a:ext>
                </a:extLst>
              </a:tr>
              <a:tr h="104750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algn="l" defTabSz="1263792" rtl="0" eaLnBrk="1" latinLnBrk="0" hangingPunct="1">
                        <a:lnSpc>
                          <a:spcPct val="107000"/>
                        </a:lnSpc>
                        <a:spcBef>
                          <a:spcPts val="5"/>
                        </a:spcBef>
                        <a:spcAft>
                          <a:spcPts val="0"/>
                        </a:spcAft>
                      </a:pPr>
                      <a:r>
                        <a:rPr lang="en-US" sz="100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Financial Statement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algn="l" defTabSz="1263792" rtl="0" eaLnBrk="1" latinLnBrk="0" hangingPunct="1">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Limitation of scope on commitments information not submitted for audit purposes as </a:t>
                      </a:r>
                    </a:p>
                    <a:p>
                      <a:pPr marL="66675" marR="114935" algn="l" defTabSz="1263792" rtl="0" eaLnBrk="1" latinLnBrk="0" hangingPunct="1">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algn="l" defTabSz="1263792" rtl="0" eaLnBrk="1" latinLnBrk="0" hangingPunct="1">
                        <a:lnSpc>
                          <a:spcPct val="107000"/>
                        </a:lnSpc>
                        <a:spcBef>
                          <a:spcPts val="5"/>
                        </a:spcBef>
                        <a:spcAft>
                          <a:spcPts val="0"/>
                        </a:spcAft>
                      </a:pPr>
                      <a:r>
                        <a:rPr lang="en-US" sz="100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During the audit of AEMFC, Request for Information No.23 relating to commitments was issued on the 14th of June 2021 and was due on the 17th of June 2021. Some of the information requested for audit has not yet been provided and the RFI is 3 days overdue.</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lvl="0" indent="-342900" algn="l" defTabSz="1263792" rtl="0" eaLnBrk="1" latinLnBrk="0" hangingPunct="1">
                        <a:lnSpc>
                          <a:spcPct val="107000"/>
                        </a:lnSpc>
                        <a:spcBef>
                          <a:spcPts val="5"/>
                        </a:spcBef>
                        <a:spcAft>
                          <a:spcPts val="0"/>
                        </a:spcAft>
                        <a:buSzPts val="900"/>
                        <a:buFont typeface="Arial" panose="020B0604020202020204" pitchFamily="34" charset="0"/>
                        <a:buChar char="-"/>
                        <a:tabLst>
                          <a:tab pos="137160" algn="l"/>
                        </a:tabLst>
                      </a:pPr>
                      <a:r>
                        <a:rPr lang="en-US" sz="100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lvl="0" indent="-342900" algn="l" defTabSz="1263792" rtl="0" eaLnBrk="1" latinLnBrk="0" hangingPunct="1">
                        <a:lnSpc>
                          <a:spcPct val="107000"/>
                        </a:lnSpc>
                        <a:spcBef>
                          <a:spcPts val="5"/>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 strengthening of internal controls relating to source documentation</a:t>
                      </a:r>
                    </a:p>
                    <a:p>
                      <a:pPr marL="66675" marR="114935" lvl="0" indent="-342900" algn="l" defTabSz="1263792" rtl="0" eaLnBrk="1" latinLnBrk="0" hangingPunct="1">
                        <a:lnSpc>
                          <a:spcPct val="107000"/>
                        </a:lnSpc>
                        <a:spcBef>
                          <a:spcPts val="5"/>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Document management policy under development. </a:t>
                      </a:r>
                    </a:p>
                    <a:p>
                      <a:pPr marL="66675" marR="114935" lvl="0" indent="-342900" algn="l" defTabSz="1263792" rtl="0" eaLnBrk="1" latinLnBrk="0" hangingPunct="1">
                        <a:lnSpc>
                          <a:spcPct val="107000"/>
                        </a:lnSpc>
                        <a:spcBef>
                          <a:spcPts val="5"/>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Engaging with IT to implement loading all supporting documents on SAP for ease of access</a:t>
                      </a:r>
                    </a:p>
                    <a:p>
                      <a:pPr marL="66675" marR="114935" lvl="0" indent="-342900" algn="l" defTabSz="1263792" rtl="0" eaLnBrk="1" latinLnBrk="0" hangingPunct="1">
                        <a:lnSpc>
                          <a:spcPct val="107000"/>
                        </a:lnSpc>
                        <a:spcBef>
                          <a:spcPts val="5"/>
                        </a:spcBef>
                        <a:spcAft>
                          <a:spcPts val="0"/>
                        </a:spcAft>
                        <a:buSzPts val="900"/>
                        <a:buFont typeface="Arial" panose="020B0604020202020204" pitchFamily="34" charset="0"/>
                        <a:buChar char="-"/>
                        <a:tabLst>
                          <a:tab pos="139065" algn="l"/>
                        </a:tabLs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djust the financial policy to exclude</a:t>
                      </a:r>
                      <a:r>
                        <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current commitment – in line with all other subsidiaries in the group</a:t>
                      </a: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algn="l" defTabSz="1263792" rtl="0" eaLnBrk="1" latinLnBrk="0" hangingPunct="1">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algn="l" defTabSz="1263792" rtl="0" eaLnBrk="1" latinLnBrk="0" hangingPunct="1">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14935" algn="l" defTabSz="1263792" rtl="0" eaLnBrk="1" latinLnBrk="0" hangingPunct="1">
                        <a:lnSpc>
                          <a:spcPct val="107000"/>
                        </a:lnSpc>
                        <a:spcBef>
                          <a:spcPts val="5"/>
                        </a:spcBef>
                        <a:spcAft>
                          <a:spcPts val="0"/>
                        </a:spcAft>
                      </a:pPr>
                      <a:r>
                        <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mendment</a:t>
                      </a:r>
                      <a:r>
                        <a:rPr lang="en-US" sz="100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of the financial policy in a process of being amended</a:t>
                      </a:r>
                      <a:endParaRPr lang="en-US" sz="100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560257026"/>
                  </a:ext>
                </a:extLst>
              </a:tr>
            </a:tbl>
          </a:graphicData>
        </a:graphic>
      </p:graphicFrame>
    </p:spTree>
    <p:extLst>
      <p:ext uri="{BB962C8B-B14F-4D97-AF65-F5344CB8AC3E}">
        <p14:creationId xmlns:p14="http://schemas.microsoft.com/office/powerpoint/2010/main" xmlns="" val="42358862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graphicFrame>
        <p:nvGraphicFramePr>
          <p:cNvPr id="6" name="Table 5"/>
          <p:cNvGraphicFramePr>
            <a:graphicFrameLocks noGrp="1"/>
          </p:cNvGraphicFramePr>
          <p:nvPr/>
        </p:nvGraphicFramePr>
        <p:xfrm>
          <a:off x="0" y="357781"/>
          <a:ext cx="12404785" cy="6384268"/>
        </p:xfrm>
        <a:graphic>
          <a:graphicData uri="http://schemas.openxmlformats.org/drawingml/2006/table">
            <a:tbl>
              <a:tblPr firstRow="1" firstCol="1" lastRow="1" lastCol="1" bandRow="1" bandCol="1"/>
              <a:tblGrid>
                <a:gridCol w="1009291">
                  <a:extLst>
                    <a:ext uri="{9D8B030D-6E8A-4147-A177-3AD203B41FA5}">
                      <a16:colId xmlns:a16="http://schemas.microsoft.com/office/drawing/2014/main" xmlns="" val="2515123244"/>
                    </a:ext>
                  </a:extLst>
                </a:gridCol>
                <a:gridCol w="1761898">
                  <a:extLst>
                    <a:ext uri="{9D8B030D-6E8A-4147-A177-3AD203B41FA5}">
                      <a16:colId xmlns:a16="http://schemas.microsoft.com/office/drawing/2014/main" xmlns="" val="737328526"/>
                    </a:ext>
                  </a:extLst>
                </a:gridCol>
                <a:gridCol w="2115545">
                  <a:extLst>
                    <a:ext uri="{9D8B030D-6E8A-4147-A177-3AD203B41FA5}">
                      <a16:colId xmlns:a16="http://schemas.microsoft.com/office/drawing/2014/main" xmlns="" val="3778448535"/>
                    </a:ext>
                  </a:extLst>
                </a:gridCol>
                <a:gridCol w="1031547">
                  <a:extLst>
                    <a:ext uri="{9D8B030D-6E8A-4147-A177-3AD203B41FA5}">
                      <a16:colId xmlns:a16="http://schemas.microsoft.com/office/drawing/2014/main" xmlns="" val="115915336"/>
                    </a:ext>
                  </a:extLst>
                </a:gridCol>
                <a:gridCol w="2963511">
                  <a:extLst>
                    <a:ext uri="{9D8B030D-6E8A-4147-A177-3AD203B41FA5}">
                      <a16:colId xmlns:a16="http://schemas.microsoft.com/office/drawing/2014/main" xmlns="" val="3016556912"/>
                    </a:ext>
                  </a:extLst>
                </a:gridCol>
                <a:gridCol w="909159">
                  <a:extLst>
                    <a:ext uri="{9D8B030D-6E8A-4147-A177-3AD203B41FA5}">
                      <a16:colId xmlns:a16="http://schemas.microsoft.com/office/drawing/2014/main" xmlns="" val="76922752"/>
                    </a:ext>
                  </a:extLst>
                </a:gridCol>
                <a:gridCol w="942705">
                  <a:extLst>
                    <a:ext uri="{9D8B030D-6E8A-4147-A177-3AD203B41FA5}">
                      <a16:colId xmlns:a16="http://schemas.microsoft.com/office/drawing/2014/main" xmlns="" val="2885203429"/>
                    </a:ext>
                  </a:extLst>
                </a:gridCol>
                <a:gridCol w="1671129">
                  <a:extLst>
                    <a:ext uri="{9D8B030D-6E8A-4147-A177-3AD203B41FA5}">
                      <a16:colId xmlns:a16="http://schemas.microsoft.com/office/drawing/2014/main" xmlns="" val="438665609"/>
                    </a:ext>
                  </a:extLst>
                </a:gridCol>
              </a:tblGrid>
              <a:tr h="3538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ategory</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udi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Finding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gn="l" defTabSz="1263792" rtl="0" eaLnBrk="1" latinLnBrk="0" hangingPunct="1">
                        <a:lnSpc>
                          <a:spcPts val="1030"/>
                        </a:lnSpc>
                        <a:spcAft>
                          <a:spcPts val="0"/>
                        </a:spcAft>
                      </a:pPr>
                      <a:r>
                        <a:rPr lang="en-ZA" sz="1050" b="1" kern="1200"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Description</a:t>
                      </a: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ffected</a:t>
                      </a:r>
                      <a:r>
                        <a:rPr lang="en-US" sz="1050" b="1" spc="-5" baseline="0"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entitie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ction</a:t>
                      </a: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Plan</a:t>
                      </a: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Description</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ompletion date</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atu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Narrative</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extLst>
                  <a:ext uri="{0D108BD9-81ED-4DB2-BD59-A6C34878D82A}">
                    <a16:rowId xmlns:a16="http://schemas.microsoft.com/office/drawing/2014/main" xmlns="" val="1739702194"/>
                  </a:ext>
                </a:extLst>
              </a:tr>
              <a:tr h="9699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algn="l" defTabSz="1263792" rtl="0" eaLnBrk="1" latinLnBrk="0" hangingPunct="1">
                        <a:lnSpc>
                          <a:spcPct val="107000"/>
                        </a:lnSpc>
                        <a:spcBef>
                          <a:spcPts val="0"/>
                        </a:spcBef>
                        <a:spcAft>
                          <a:spcPts val="0"/>
                        </a:spcAft>
                      </a:pPr>
                      <a:r>
                        <a:rPr lang="en-US" sz="100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Financial Statement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Misstatements and non-compliance identified in irregular expenditure</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t was identified that the entity did not include all irregular expenditure incurred in the notes to the financial statements, as required by section 55(2)(b)(</a:t>
                      </a:r>
                      <a:r>
                        <a:rPr lang="en-US" sz="1050" kern="1200" spc="-5" dirty="0" err="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a:t>
                      </a: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of the Public Finance Management Act of South Africa, 1999 (Act No. 1 of 1999) (PFMA), as the entity did not have adequate systems in place to identify and report all irregular expenditure incurred. </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orrect</a:t>
                      </a:r>
                      <a:r>
                        <a:rPr lang="en-US" sz="105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misstatements on the AFS</a:t>
                      </a:r>
                    </a:p>
                    <a:p>
                      <a:pPr marL="66675" marR="76200"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Enhance</a:t>
                      </a:r>
                      <a:r>
                        <a:rPr lang="en-US" sz="105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r</a:t>
                      </a: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eview of financials in the next cycle </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pril</a:t>
                      </a:r>
                      <a:r>
                        <a:rPr lang="en-US" sz="105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2022</a:t>
                      </a:r>
                      <a:endPar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algn="l" defTabSz="1263792" rtl="0" eaLnBrk="1" latinLnBrk="0" hangingPunct="1">
                        <a:lnSpc>
                          <a:spcPct val="107000"/>
                        </a:lnSpc>
                        <a:spcBef>
                          <a:spcPts val="0"/>
                        </a:spcBef>
                        <a:spcAft>
                          <a:spcPts val="0"/>
                        </a:spcAft>
                      </a:pPr>
                      <a:endPar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76200"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Finance teams will perform adequate review to AG’s satisfactory in the next audit cycle. </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3817065"/>
                  </a:ext>
                </a:extLst>
              </a:tr>
              <a:tr h="104750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254000">
                        <a:lnSpc>
                          <a:spcPct val="107000"/>
                        </a:lnSpc>
                        <a:spcBef>
                          <a:spcPts val="0"/>
                        </a:spcBef>
                        <a:spcAft>
                          <a:spcPts val="0"/>
                        </a:spcAft>
                      </a:pPr>
                      <a:r>
                        <a:rPr lang="en-US" sz="100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Financial Statement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248920">
                        <a:lnSpc>
                          <a:spcPct val="107000"/>
                        </a:lnSpc>
                        <a:spcBef>
                          <a:spcPts val="0"/>
                        </a:spcBef>
                        <a:spcAft>
                          <a:spcPts val="0"/>
                        </a:spcAf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Material misstatements in the Annual financial statement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4226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During the audit of the CEF’s subsidiaries financial statements various  material misstatements were identified in the annual financial statements which were subsequently corrected, issues were related to the following:</a:t>
                      </a:r>
                    </a:p>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Errors noted in the financials of AEMFC, CEF, and</a:t>
                      </a:r>
                      <a:r>
                        <a:rPr lang="en-US" sz="1050" kern="1200" spc="-5" baseline="0"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kern="1200" spc="-5" dirty="0" err="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PetroSA</a:t>
                      </a: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342900" marR="184150" lvl="0" indent="-342900">
                        <a:lnSpc>
                          <a:spcPct val="10700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consistencies in notes, financial statements and disclosure notes. </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EF SOC</a:t>
                      </a:r>
                    </a:p>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p>
                      <a:pPr marL="342900" marR="0" lvl="0" indent="-342900">
                        <a:lnSpc>
                          <a:spcPts val="1035"/>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PetroSA</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345440" lvl="0" indent="-342900">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Detailed scope of the IFRS training offered to finance department</a:t>
                      </a:r>
                    </a:p>
                    <a:p>
                      <a:pPr marL="342900" marR="0" lvl="0" indent="-342900">
                        <a:lnSpc>
                          <a:spcPts val="103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omplete review check lists</a:t>
                      </a:r>
                    </a:p>
                    <a:p>
                      <a:pPr marL="342900" marR="467360" lvl="0" indent="-342900">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Updated more robust IFRS disclosure checklists</a:t>
                      </a:r>
                    </a:p>
                    <a:p>
                      <a:pPr marL="342900" marR="0" lvl="0" indent="-342900">
                        <a:lnSpc>
                          <a:spcPct val="107000"/>
                        </a:lnSpc>
                        <a:spcBef>
                          <a:spcPts val="1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Performing a hard close</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25273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n improved and rigorous review process of financial statements will be performed.</a:t>
                      </a:r>
                    </a:p>
                    <a:p>
                      <a:pPr marL="67945" marR="252730">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7945" marR="15176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use of IFRS Checklist to review the AFS has been adopted.</a:t>
                      </a:r>
                    </a:p>
                    <a:p>
                      <a:pPr marL="0" marR="0">
                        <a:lnSpc>
                          <a:spcPct val="107000"/>
                        </a:lnSpc>
                        <a:spcBef>
                          <a:spcPts val="5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7945" marR="42354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Hard Close will be performed to identify gap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22672418"/>
                  </a:ext>
                </a:extLst>
              </a:tr>
              <a:tr h="104750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77800">
                        <a:lnSpc>
                          <a:spcPct val="107000"/>
                        </a:lnSpc>
                        <a:spcBef>
                          <a:spcPts val="0"/>
                        </a:spcBef>
                        <a:spcAft>
                          <a:spcPts val="0"/>
                        </a:spcAft>
                      </a:pPr>
                      <a:r>
                        <a:rPr lang="en-US" sz="100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nnual Performance Report</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02235">
                        <a:lnSpc>
                          <a:spcPct val="107000"/>
                        </a:lnSpc>
                        <a:spcBef>
                          <a:spcPts val="0"/>
                        </a:spcBef>
                        <a:spcAft>
                          <a:spcPts val="0"/>
                        </a:spcAf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Material misstatements in the Performance information reported (AOPO)</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nSpc>
                          <a:spcPct val="107000"/>
                        </a:lnSpc>
                        <a:spcBef>
                          <a:spcPts val="60"/>
                        </a:spcBef>
                        <a:spcAft>
                          <a:spcPts val="0"/>
                        </a:spcAf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consistencies between the Corporate Plan and the Report on Performance against Objectives</a:t>
                      </a:r>
                    </a:p>
                    <a:p>
                      <a:pPr marL="66675" marR="0">
                        <a:lnSpc>
                          <a:spcPct val="107000"/>
                        </a:lnSpc>
                        <a:spcBef>
                          <a:spcPts val="0"/>
                        </a:spcBef>
                        <a:spcAft>
                          <a:spcPts val="0"/>
                        </a:spcAf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EF SOC</a:t>
                      </a:r>
                    </a:p>
                    <a:p>
                      <a:pPr marL="342900" marR="0" lvl="0" indent="-342900">
                        <a:lnSpc>
                          <a:spcPct val="107000"/>
                        </a:lnSpc>
                        <a:spcBef>
                          <a:spcPts val="10"/>
                        </a:spcBef>
                        <a:spcAft>
                          <a:spcPts val="0"/>
                        </a:spcAft>
                        <a:buSzPts val="900"/>
                        <a:buFont typeface="Arial" panose="020B0604020202020204" pitchFamily="34" charset="0"/>
                        <a:buChar char="-"/>
                        <a:tabLst>
                          <a:tab pos="137160" algn="l"/>
                        </a:tabLs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327025">
                        <a:lnSpc>
                          <a:spcPct val="107000"/>
                        </a:lnSpc>
                        <a:spcBef>
                          <a:spcPts val="0"/>
                        </a:spcBef>
                        <a:spcAft>
                          <a:spcPts val="0"/>
                        </a:spcAf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Management will ensure that there is consistency between the Corporate Plan and Annual results. This will be done during the cascading of performance objectives and contracting at the start of each financial year</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 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27749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Management will provide assurance in-year</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560257026"/>
                  </a:ext>
                </a:extLst>
              </a:tr>
            </a:tbl>
          </a:graphicData>
        </a:graphic>
      </p:graphicFrame>
    </p:spTree>
    <p:extLst>
      <p:ext uri="{BB962C8B-B14F-4D97-AF65-F5344CB8AC3E}">
        <p14:creationId xmlns:p14="http://schemas.microsoft.com/office/powerpoint/2010/main" xmlns="" val="42329368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67033A-4247-4ED4-8A21-2B1E2D674746}" type="slidenum">
              <a:rPr kumimoji="0" lang="en-ZA"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ZA"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graphicFrame>
        <p:nvGraphicFramePr>
          <p:cNvPr id="6" name="Table 5"/>
          <p:cNvGraphicFramePr>
            <a:graphicFrameLocks noGrp="1"/>
          </p:cNvGraphicFramePr>
          <p:nvPr/>
        </p:nvGraphicFramePr>
        <p:xfrm>
          <a:off x="120770" y="461295"/>
          <a:ext cx="12106064" cy="5903700"/>
        </p:xfrm>
        <a:graphic>
          <a:graphicData uri="http://schemas.openxmlformats.org/drawingml/2006/table">
            <a:tbl>
              <a:tblPr firstRow="1" firstCol="1" lastRow="1" lastCol="1" bandRow="1" bandCol="1"/>
              <a:tblGrid>
                <a:gridCol w="1242204">
                  <a:extLst>
                    <a:ext uri="{9D8B030D-6E8A-4147-A177-3AD203B41FA5}">
                      <a16:colId xmlns:a16="http://schemas.microsoft.com/office/drawing/2014/main" xmlns="" val="2515123244"/>
                    </a:ext>
                  </a:extLst>
                </a:gridCol>
                <a:gridCol w="1638880">
                  <a:extLst>
                    <a:ext uri="{9D8B030D-6E8A-4147-A177-3AD203B41FA5}">
                      <a16:colId xmlns:a16="http://schemas.microsoft.com/office/drawing/2014/main" xmlns="" val="737328526"/>
                    </a:ext>
                  </a:extLst>
                </a:gridCol>
                <a:gridCol w="1801326">
                  <a:extLst>
                    <a:ext uri="{9D8B030D-6E8A-4147-A177-3AD203B41FA5}">
                      <a16:colId xmlns:a16="http://schemas.microsoft.com/office/drawing/2014/main" xmlns="" val="3778448535"/>
                    </a:ext>
                  </a:extLst>
                </a:gridCol>
                <a:gridCol w="1408089">
                  <a:extLst>
                    <a:ext uri="{9D8B030D-6E8A-4147-A177-3AD203B41FA5}">
                      <a16:colId xmlns:a16="http://schemas.microsoft.com/office/drawing/2014/main" xmlns="" val="115915336"/>
                    </a:ext>
                  </a:extLst>
                </a:gridCol>
                <a:gridCol w="2147779">
                  <a:extLst>
                    <a:ext uri="{9D8B030D-6E8A-4147-A177-3AD203B41FA5}">
                      <a16:colId xmlns:a16="http://schemas.microsoft.com/office/drawing/2014/main" xmlns="" val="3016556912"/>
                    </a:ext>
                  </a:extLst>
                </a:gridCol>
                <a:gridCol w="1033787">
                  <a:extLst>
                    <a:ext uri="{9D8B030D-6E8A-4147-A177-3AD203B41FA5}">
                      <a16:colId xmlns:a16="http://schemas.microsoft.com/office/drawing/2014/main" xmlns="" val="76922752"/>
                    </a:ext>
                  </a:extLst>
                </a:gridCol>
                <a:gridCol w="1203113">
                  <a:extLst>
                    <a:ext uri="{9D8B030D-6E8A-4147-A177-3AD203B41FA5}">
                      <a16:colId xmlns:a16="http://schemas.microsoft.com/office/drawing/2014/main" xmlns="" val="2885203429"/>
                    </a:ext>
                  </a:extLst>
                </a:gridCol>
                <a:gridCol w="1630886">
                  <a:extLst>
                    <a:ext uri="{9D8B030D-6E8A-4147-A177-3AD203B41FA5}">
                      <a16:colId xmlns:a16="http://schemas.microsoft.com/office/drawing/2014/main" xmlns="" val="438665609"/>
                    </a:ext>
                  </a:extLst>
                </a:gridCol>
              </a:tblGrid>
              <a:tr h="3538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ategory</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udi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Finding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gn="l" defTabSz="1263792" rtl="0" eaLnBrk="1" latinLnBrk="0" hangingPunct="1">
                        <a:lnSpc>
                          <a:spcPts val="1030"/>
                        </a:lnSpc>
                        <a:spcAft>
                          <a:spcPts val="0"/>
                        </a:spcAft>
                      </a:pPr>
                      <a:r>
                        <a:rPr lang="en-ZA" sz="1050" b="1" kern="1200"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Description</a:t>
                      </a: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ffected</a:t>
                      </a:r>
                      <a:r>
                        <a:rPr lang="en-US" sz="1050" b="1" spc="-5" baseline="0"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entitie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ction</a:t>
                      </a: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Plan</a:t>
                      </a: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 </a:t>
                      </a: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Description</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spc="-5"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ompletion date</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atus</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a:lnSpc>
                          <a:spcPts val="1030"/>
                        </a:lnSpc>
                        <a:spcAft>
                          <a:spcPts val="0"/>
                        </a:spcAft>
                      </a:pPr>
                      <a:r>
                        <a:rPr lang="en-US"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Narrative</a:t>
                      </a:r>
                      <a:endParaRPr lang="en-ZA" sz="105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0" marR="0" marT="0" marB="0" anchor="ctr">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solidFill>
                      <a:srgbClr val="002C70"/>
                    </a:solidFill>
                  </a:tcPr>
                </a:tc>
                <a:extLst>
                  <a:ext uri="{0D108BD9-81ED-4DB2-BD59-A6C34878D82A}">
                    <a16:rowId xmlns:a16="http://schemas.microsoft.com/office/drawing/2014/main" xmlns="" val="1739702194"/>
                  </a:ext>
                </a:extLst>
              </a:tr>
              <a:tr h="96991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177800">
                        <a:lnSpc>
                          <a:spcPct val="107000"/>
                        </a:lnSpc>
                        <a:spcBef>
                          <a:spcPts val="0"/>
                        </a:spcBef>
                        <a:spcAft>
                          <a:spcPts val="0"/>
                        </a:spcAft>
                      </a:pPr>
                      <a:r>
                        <a:rPr lang="en-US" sz="105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nnual Performance Report</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10223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Material misstatements in the Performance information reported (AOPO)</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dicators not well defined as they do not meet the FMPPI criteria.</a:t>
                      </a:r>
                    </a:p>
                    <a:p>
                      <a:pPr marL="66675" marR="33464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Reliability of key performance</a:t>
                      </a:r>
                    </a:p>
                    <a:p>
                      <a:pPr marL="66675" marR="33464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formation</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CEF SOC</a:t>
                      </a:r>
                    </a:p>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SFF</a:t>
                      </a:r>
                    </a:p>
                    <a:p>
                      <a:pPr marL="342900" marR="0" lvl="0" indent="-342900">
                        <a:lnSpc>
                          <a:spcPts val="103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345440" lvl="0" indent="-342900">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Key Results and Objectives approach with regards to managing performance have been adopted.</a:t>
                      </a:r>
                    </a:p>
                    <a:p>
                      <a:pPr marL="342900" marR="467360" lvl="0" indent="-342900">
                        <a:lnSpc>
                          <a:spcPts val="103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Monthly business performance reviews are performed as opposed to quarterly reviews to achieve valid, complete and accurate performance report.</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 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0">
                        <a:lnSpc>
                          <a:spcPts val="103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7945" marR="27749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Management will provide assurance in-year</a:t>
                      </a:r>
                    </a:p>
                    <a:p>
                      <a:pPr marL="67945" marR="27749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7945" marR="27749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ternal audit will perform a review of performance information before submitting to AG.</a:t>
                      </a:r>
                    </a:p>
                    <a:p>
                      <a:pPr marL="67945" marR="27749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7945" marR="277495">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3817065"/>
                  </a:ext>
                </a:extLst>
              </a:tr>
              <a:tr h="104750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algn="l" defTabSz="1263792" rtl="0" eaLnBrk="1" latinLnBrk="0" hangingPunct="1">
                        <a:lnSpc>
                          <a:spcPct val="107000"/>
                        </a:lnSpc>
                        <a:spcBef>
                          <a:spcPts val="0"/>
                        </a:spcBef>
                        <a:spcAft>
                          <a:spcPts val="0"/>
                        </a:spcAft>
                      </a:pPr>
                      <a:r>
                        <a:rPr lang="en-US" sz="1050" b="1"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Laws and Regulation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algn="l" defTabSz="1263792" rtl="0" eaLnBrk="1" latinLnBrk="0" hangingPunct="1">
                        <a:lnSpc>
                          <a:spcPct val="107000"/>
                        </a:lnSpc>
                        <a:spcBef>
                          <a:spcPts val="0"/>
                        </a:spcBef>
                        <a:spcAft>
                          <a:spcPts val="0"/>
                        </a:spcAft>
                      </a:pPr>
                      <a:r>
                        <a:rPr lang="en-US" sz="1050" kern="1200" spc="-5">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FORM B-BBEE 1 (2017-18) was not submitted to the B- BBEE Commission</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re was no evidence to confirm that CEF SOC Ltd filed its audited annual financial statements and annual report in order to comply with section </a:t>
                      </a:r>
                      <a:r>
                        <a:rPr lang="en-US" sz="1050" kern="1200" spc="-5" dirty="0" err="1">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13G</a:t>
                      </a: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1), with the Commission, in the prescribed FORM B-BBEE 1 within thirty</a:t>
                      </a:r>
                    </a:p>
                    <a:p>
                      <a:pPr marL="66675" marR="33464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0) days of the approval of such audited annual financial statements and annual report.</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PASA</a:t>
                      </a:r>
                    </a:p>
                    <a:p>
                      <a:pPr marL="66675" marR="334645"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SFF</a:t>
                      </a:r>
                    </a:p>
                    <a:p>
                      <a:pPr marL="66675" marR="334645"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7160"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AEMFC</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Submit the required form</a:t>
                      </a:r>
                    </a:p>
                    <a:p>
                      <a:pPr marL="66675" marR="334645"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update the compliance check list to include the B-BBEE 1 form.</a:t>
                      </a:r>
                    </a:p>
                    <a:p>
                      <a:pPr marL="66675" marR="334645"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item will form part of the performance contract of the Procurement officer and has</a:t>
                      </a:r>
                    </a:p>
                    <a:p>
                      <a:pPr marL="66675" marR="334645" lvl="0" indent="-342900" algn="l" defTabSz="1263792" rtl="0" eaLnBrk="1" latinLnBrk="0" hangingPunct="1">
                        <a:lnSpc>
                          <a:spcPct val="107000"/>
                        </a:lnSpc>
                        <a:spcBef>
                          <a:spcPts val="0"/>
                        </a:spcBef>
                        <a:spcAft>
                          <a:spcPts val="0"/>
                        </a:spcAft>
                        <a:buSzPts val="900"/>
                        <a:buFont typeface="Arial" panose="020B0604020202020204" pitchFamily="34" charset="0"/>
                        <a:buChar char="-"/>
                        <a:tabLst>
                          <a:tab pos="139065" algn="l"/>
                        </a:tabLs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been diarized by the CFO.</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31-Mar-22</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In-progress</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66675" marR="33464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The completion of the BEE verification and submission of form 1 to the Commissioner has been delayed to Audited AFS only being available late. </a:t>
                      </a:r>
                    </a:p>
                    <a:p>
                      <a:pPr marL="66675" marR="33464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a:t>
                      </a:r>
                    </a:p>
                    <a:p>
                      <a:pPr marL="66675" marR="334645" algn="l" defTabSz="1263792" rtl="0" eaLnBrk="1" latinLnBrk="0" hangingPunct="1">
                        <a:lnSpc>
                          <a:spcPct val="107000"/>
                        </a:lnSpc>
                        <a:spcBef>
                          <a:spcPts val="0"/>
                        </a:spcBef>
                        <a:spcAft>
                          <a:spcPts val="0"/>
                        </a:spcAft>
                      </a:pPr>
                      <a:r>
                        <a:rPr lang="en-US" sz="1050" kern="1200" spc="-5"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Once the Verification process is done and the B-BBEE certificate is available immediate submission will be done</a:t>
                      </a:r>
                    </a:p>
                  </a:txBody>
                  <a:tcPr marL="0" marR="0" marT="0" marB="0">
                    <a:lnL w="12700" cap="flat" cmpd="sng" algn="ctr">
                      <a:solidFill>
                        <a:srgbClr val="EE4F0E"/>
                      </a:solidFill>
                      <a:prstDash val="dot"/>
                      <a:round/>
                      <a:headEnd type="none" w="med" len="med"/>
                      <a:tailEnd type="none" w="med" len="med"/>
                    </a:lnL>
                    <a:lnR w="12700" cap="flat" cmpd="sng" algn="ctr">
                      <a:solidFill>
                        <a:srgbClr val="EE4F0E"/>
                      </a:solidFill>
                      <a:prstDash val="dot"/>
                      <a:round/>
                      <a:headEnd type="none" w="med" len="med"/>
                      <a:tailEnd type="none" w="med" len="med"/>
                    </a:lnR>
                    <a:lnT w="12700" cap="flat" cmpd="sng" algn="ctr">
                      <a:solidFill>
                        <a:srgbClr val="EE4F0E"/>
                      </a:solidFill>
                      <a:prstDash val="dot"/>
                      <a:round/>
                      <a:headEnd type="none" w="med" len="med"/>
                      <a:tailEnd type="none" w="med" len="med"/>
                    </a:lnT>
                    <a:lnB w="12700" cap="flat" cmpd="sng" algn="ctr">
                      <a:solidFill>
                        <a:srgbClr val="EE4F0E"/>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22672418"/>
                  </a:ext>
                </a:extLst>
              </a:tr>
            </a:tbl>
          </a:graphicData>
        </a:graphic>
      </p:graphicFrame>
    </p:spTree>
    <p:extLst>
      <p:ext uri="{BB962C8B-B14F-4D97-AF65-F5344CB8AC3E}">
        <p14:creationId xmlns:p14="http://schemas.microsoft.com/office/powerpoint/2010/main" xmlns="" val="42771028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139" y="245225"/>
            <a:ext cx="11782384" cy="512459"/>
          </a:xfrm>
          <a:noFill/>
          <a:ln w="9525">
            <a:noFill/>
            <a:miter lim="800000"/>
            <a:headEnd/>
            <a:tailEnd/>
          </a:ln>
        </p:spPr>
        <p:txBody>
          <a:bodyPr vert="horz" wrap="square" lIns="0" tIns="45720" rIns="0" bIns="45720" numCol="1" anchor="ctr" anchorCtr="0" compatLnSpc="1">
            <a:prstTxWarp prst="textNoShape">
              <a:avLst/>
            </a:prstTxWarp>
          </a:bodyPr>
          <a:lstStyle/>
          <a:p>
            <a:r>
              <a:rPr lang="en-US" sz="2800" dirty="0">
                <a:solidFill>
                  <a:schemeClr val="accent1"/>
                </a:solidFill>
              </a:rPr>
              <a:t>CEF Group Vision &amp; Mission</a:t>
            </a:r>
            <a:endParaRPr lang="en-ZA" sz="2800" dirty="0">
              <a:solidFill>
                <a:schemeClr val="accent1"/>
              </a:solidFill>
            </a:endParaRPr>
          </a:p>
        </p:txBody>
      </p:sp>
      <p:sp>
        <p:nvSpPr>
          <p:cNvPr id="5" name="Slide Number Placeholder 4"/>
          <p:cNvSpPr>
            <a:spLocks noGrp="1"/>
          </p:cNvSpPr>
          <p:nvPr>
            <p:ph type="sldNum" sz="quarter" idx="4"/>
          </p:nvPr>
        </p:nvSpPr>
        <p:spPr/>
        <p:txBody>
          <a:bodyPr/>
          <a:lstStyle/>
          <a:p>
            <a:fld id="{F667033A-4247-4ED4-8A21-2B1E2D674746}" type="slidenum">
              <a:rPr lang="en-ZA" smtClean="0"/>
              <a:pPr/>
              <a:t>4</a:t>
            </a:fld>
            <a:endParaRPr lang="en-ZA" dirty="0"/>
          </a:p>
        </p:txBody>
      </p:sp>
      <p:sp>
        <p:nvSpPr>
          <p:cNvPr id="6" name="Partial Circle 4">
            <a:extLst>
              <a:ext uri="{FF2B5EF4-FFF2-40B4-BE49-F238E27FC236}">
                <a16:creationId xmlns:a16="http://schemas.microsoft.com/office/drawing/2014/main" xmlns="" id="{5C4CDA4C-467D-46A4-B90F-1C2F0A8DC91C}"/>
              </a:ext>
            </a:extLst>
          </p:cNvPr>
          <p:cNvSpPr/>
          <p:nvPr/>
        </p:nvSpPr>
        <p:spPr>
          <a:xfrm rot="10800000">
            <a:off x="519485" y="760105"/>
            <a:ext cx="10908000" cy="5529704"/>
          </a:xfrm>
          <a:prstGeom prst="pie">
            <a:avLst>
              <a:gd name="adj1" fmla="val 14115"/>
              <a:gd name="adj2" fmla="val 10789877"/>
            </a:avLst>
          </a:prstGeom>
          <a:solidFill>
            <a:schemeClr val="tx2"/>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endParaRPr kumimoji="0" lang="en-GB" sz="1400" b="1" i="1"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7" name="TextBox 6">
            <a:extLst>
              <a:ext uri="{FF2B5EF4-FFF2-40B4-BE49-F238E27FC236}">
                <a16:creationId xmlns:a16="http://schemas.microsoft.com/office/drawing/2014/main" xmlns="" id="{760C277B-DAE2-46EA-8207-303D50673279}"/>
              </a:ext>
            </a:extLst>
          </p:cNvPr>
          <p:cNvSpPr txBox="1"/>
          <p:nvPr/>
        </p:nvSpPr>
        <p:spPr>
          <a:xfrm>
            <a:off x="1379914" y="2009325"/>
            <a:ext cx="1227561" cy="664797"/>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i="1" dirty="0">
                <a:solidFill>
                  <a:srgbClr val="F2F2F2"/>
                </a:solidFill>
                <a:latin typeface="Arial" pitchFamily="34" charset="0"/>
                <a:cs typeface="Arial" pitchFamily="34" charset="0"/>
              </a:rPr>
              <a:t>…leading diversified energy company…</a:t>
            </a:r>
          </a:p>
        </p:txBody>
      </p:sp>
      <p:sp>
        <p:nvSpPr>
          <p:cNvPr id="8" name="TextBox 7">
            <a:extLst>
              <a:ext uri="{FF2B5EF4-FFF2-40B4-BE49-F238E27FC236}">
                <a16:creationId xmlns:a16="http://schemas.microsoft.com/office/drawing/2014/main" xmlns="" id="{51E081B3-9726-4853-A21D-7B02B3DE66AD}"/>
              </a:ext>
            </a:extLst>
          </p:cNvPr>
          <p:cNvSpPr txBox="1"/>
          <p:nvPr/>
        </p:nvSpPr>
        <p:spPr>
          <a:xfrm>
            <a:off x="3576253" y="2917607"/>
            <a:ext cx="2547375" cy="332399"/>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grow  our footprint in energy sector…</a:t>
            </a:r>
          </a:p>
        </p:txBody>
      </p:sp>
      <p:sp>
        <p:nvSpPr>
          <p:cNvPr id="9" name="TextBox 8">
            <a:extLst>
              <a:ext uri="{FF2B5EF4-FFF2-40B4-BE49-F238E27FC236}">
                <a16:creationId xmlns:a16="http://schemas.microsoft.com/office/drawing/2014/main" xmlns="" id="{F55F9281-07FC-472E-9AA9-FEB27077AB54}"/>
              </a:ext>
            </a:extLst>
          </p:cNvPr>
          <p:cNvSpPr txBox="1"/>
          <p:nvPr/>
        </p:nvSpPr>
        <p:spPr>
          <a:xfrm>
            <a:off x="9275024" y="2126406"/>
            <a:ext cx="1271831" cy="498598"/>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contribute to national energy security</a:t>
            </a:r>
          </a:p>
        </p:txBody>
      </p:sp>
      <p:sp>
        <p:nvSpPr>
          <p:cNvPr id="10" name="TextBox 9">
            <a:extLst>
              <a:ext uri="{FF2B5EF4-FFF2-40B4-BE49-F238E27FC236}">
                <a16:creationId xmlns:a16="http://schemas.microsoft.com/office/drawing/2014/main" xmlns="" id="{36B06D00-3F67-4BD8-83AC-A49C290CE3CD}"/>
              </a:ext>
            </a:extLst>
          </p:cNvPr>
          <p:cNvSpPr txBox="1"/>
          <p:nvPr/>
        </p:nvSpPr>
        <p:spPr>
          <a:xfrm>
            <a:off x="5868073" y="971795"/>
            <a:ext cx="2011375" cy="498598"/>
          </a:xfrm>
          <a:prstGeom prst="rect">
            <a:avLst/>
          </a:prstGeom>
          <a:noFill/>
          <a:ln w="6350" cap="flat">
            <a:noFill/>
            <a:miter lim="800000"/>
          </a:ln>
        </p:spPr>
        <p:txBody>
          <a:bodyPr wrap="square" lIns="0" tIns="0" rIns="0" bIns="0" rtlCol="0" anchor="t" anchorCtr="0">
            <a:spAutoFit/>
          </a:bodyPr>
          <a:lstStyle/>
          <a:p>
            <a:pPr algn="ct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provides sustainable energy solutions for Southern Africa…</a:t>
            </a:r>
          </a:p>
        </p:txBody>
      </p:sp>
      <p:sp>
        <p:nvSpPr>
          <p:cNvPr id="11" name="TextBox 10">
            <a:extLst>
              <a:ext uri="{FF2B5EF4-FFF2-40B4-BE49-F238E27FC236}">
                <a16:creationId xmlns:a16="http://schemas.microsoft.com/office/drawing/2014/main" xmlns="" id="{32A60EFA-BF24-412B-AA8A-73C57451EB4A}"/>
              </a:ext>
            </a:extLst>
          </p:cNvPr>
          <p:cNvSpPr txBox="1"/>
          <p:nvPr/>
        </p:nvSpPr>
        <p:spPr>
          <a:xfrm>
            <a:off x="3100528" y="1995849"/>
            <a:ext cx="1454508" cy="498598"/>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to be the catalyst for economic growth</a:t>
            </a:r>
            <a:r>
              <a:rPr lang="en-GB" sz="1050" b="1" dirty="0">
                <a:solidFill>
                  <a:srgbClr val="F2F2F2"/>
                </a:solidFill>
                <a:latin typeface="Arial" pitchFamily="34" charset="0"/>
                <a:cs typeface="Arial" pitchFamily="34" charset="0"/>
              </a:rPr>
              <a:t>…</a:t>
            </a:r>
          </a:p>
        </p:txBody>
      </p:sp>
      <p:sp>
        <p:nvSpPr>
          <p:cNvPr id="13" name="TextBox 12">
            <a:extLst>
              <a:ext uri="{FF2B5EF4-FFF2-40B4-BE49-F238E27FC236}">
                <a16:creationId xmlns:a16="http://schemas.microsoft.com/office/drawing/2014/main" xmlns="" id="{C055CF05-4043-4DC3-B60C-79E4C450F553}"/>
              </a:ext>
            </a:extLst>
          </p:cNvPr>
          <p:cNvSpPr txBox="1"/>
          <p:nvPr/>
        </p:nvSpPr>
        <p:spPr>
          <a:xfrm>
            <a:off x="4279495" y="1348992"/>
            <a:ext cx="1454508" cy="332399"/>
          </a:xfrm>
          <a:prstGeom prst="rect">
            <a:avLst/>
          </a:prstGeom>
          <a:noFill/>
          <a:ln w="6350" cap="flat">
            <a:noFill/>
            <a:miter lim="800000"/>
          </a:ln>
        </p:spPr>
        <p:txBody>
          <a:bodyPr wrap="square" lIns="0" tIns="0" rIns="0" bIns="0" rtlCol="0" anchor="t" anchorCtr="0">
            <a:spAutoFit/>
          </a:bodyPr>
          <a:lstStyle/>
          <a:p>
            <a:pPr algn="ct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poverty alleviation…</a:t>
            </a:r>
          </a:p>
        </p:txBody>
      </p:sp>
      <p:sp>
        <p:nvSpPr>
          <p:cNvPr id="14" name="TextBox 13">
            <a:extLst>
              <a:ext uri="{FF2B5EF4-FFF2-40B4-BE49-F238E27FC236}">
                <a16:creationId xmlns:a16="http://schemas.microsoft.com/office/drawing/2014/main" xmlns="" id="{07B46C3C-F696-4202-A504-F11FE9856DA8}"/>
              </a:ext>
            </a:extLst>
          </p:cNvPr>
          <p:cNvSpPr txBox="1"/>
          <p:nvPr/>
        </p:nvSpPr>
        <p:spPr>
          <a:xfrm>
            <a:off x="7234895" y="1917046"/>
            <a:ext cx="1454508" cy="332399"/>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ensure security of supply…</a:t>
            </a:r>
          </a:p>
        </p:txBody>
      </p:sp>
      <p:sp>
        <p:nvSpPr>
          <p:cNvPr id="15" name="TextBox 14">
            <a:extLst>
              <a:ext uri="{FF2B5EF4-FFF2-40B4-BE49-F238E27FC236}">
                <a16:creationId xmlns:a16="http://schemas.microsoft.com/office/drawing/2014/main" xmlns="" id="{1ED1B90E-0DDF-4430-873A-9F57F56778A3}"/>
              </a:ext>
            </a:extLst>
          </p:cNvPr>
          <p:cNvSpPr txBox="1"/>
          <p:nvPr/>
        </p:nvSpPr>
        <p:spPr>
          <a:xfrm>
            <a:off x="6916190" y="2894935"/>
            <a:ext cx="1995210" cy="498598"/>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ensure access to acceptable affordable energy in Southern Africa </a:t>
            </a:r>
          </a:p>
        </p:txBody>
      </p:sp>
      <p:sp>
        <p:nvSpPr>
          <p:cNvPr id="17" name="Rectangle 16">
            <a:extLst>
              <a:ext uri="{FF2B5EF4-FFF2-40B4-BE49-F238E27FC236}">
                <a16:creationId xmlns:a16="http://schemas.microsoft.com/office/drawing/2014/main" xmlns="" id="{7C1BF339-9EFD-4ABC-A0FA-56D0048EB8FA}"/>
              </a:ext>
            </a:extLst>
          </p:cNvPr>
          <p:cNvSpPr/>
          <p:nvPr/>
        </p:nvSpPr>
        <p:spPr>
          <a:xfrm>
            <a:off x="495818" y="3553690"/>
            <a:ext cx="2317217" cy="2854149"/>
          </a:xfrm>
          <a:prstGeom prst="rect">
            <a:avLst/>
          </a:prstGeom>
          <a:solidFill>
            <a:schemeClr val="bg1">
              <a:lumMod val="75000"/>
            </a:scheme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18" name="Rectangle 17">
            <a:extLst>
              <a:ext uri="{FF2B5EF4-FFF2-40B4-BE49-F238E27FC236}">
                <a16:creationId xmlns:a16="http://schemas.microsoft.com/office/drawing/2014/main" xmlns="" id="{B255ADFB-3A27-4551-9A76-64B2BE3B0F47}"/>
              </a:ext>
            </a:extLst>
          </p:cNvPr>
          <p:cNvSpPr/>
          <p:nvPr/>
        </p:nvSpPr>
        <p:spPr>
          <a:xfrm>
            <a:off x="2849760" y="3553690"/>
            <a:ext cx="2317217" cy="2854149"/>
          </a:xfrm>
          <a:prstGeom prst="rect">
            <a:avLst/>
          </a:prstGeom>
          <a:solidFill>
            <a:schemeClr val="bg1">
              <a:lumMod val="85000"/>
            </a:schemeClr>
          </a:solidFill>
          <a:ln w="6350" cap="flat" cmpd="sng" algn="ctr">
            <a:no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19" name="Rectangle 18">
            <a:extLst>
              <a:ext uri="{FF2B5EF4-FFF2-40B4-BE49-F238E27FC236}">
                <a16:creationId xmlns:a16="http://schemas.microsoft.com/office/drawing/2014/main" xmlns="" id="{E874AA32-E912-4A34-8AFA-D01FA863F2E7}"/>
              </a:ext>
            </a:extLst>
          </p:cNvPr>
          <p:cNvSpPr/>
          <p:nvPr/>
        </p:nvSpPr>
        <p:spPr>
          <a:xfrm>
            <a:off x="5217628" y="3553690"/>
            <a:ext cx="6168296" cy="2854149"/>
          </a:xfrm>
          <a:prstGeom prst="rect">
            <a:avLst/>
          </a:prstGeom>
          <a:solidFill>
            <a:srgbClr val="F2F2F2"/>
          </a:solidFill>
          <a:ln w="28575" cap="flat" cmpd="sng" algn="ctr">
            <a:solidFill>
              <a:srgbClr val="C00000"/>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algn="ctr"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pic>
        <p:nvPicPr>
          <p:cNvPr id="20" name="Picture 4" descr="News Archives - Page 10 of 21 - Mining Mirror Online">
            <a:extLst>
              <a:ext uri="{FF2B5EF4-FFF2-40B4-BE49-F238E27FC236}">
                <a16:creationId xmlns:a16="http://schemas.microsoft.com/office/drawing/2014/main" xmlns="" id="{59A62E14-24C5-49C9-B4F3-6C8BB5FBA190}"/>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91441" y="3611353"/>
            <a:ext cx="509699" cy="424749"/>
          </a:xfrm>
          <a:prstGeom prst="rect">
            <a:avLst/>
          </a:prstGeom>
          <a:solidFill>
            <a:srgbClr val="FFFFFF"/>
          </a:solidFill>
        </p:spPr>
      </p:pic>
      <p:pic>
        <p:nvPicPr>
          <p:cNvPr id="21" name="Picture 6" descr="Petroleum Agency SA: Vacancy Environmentalist | Find My Career">
            <a:extLst>
              <a:ext uri="{FF2B5EF4-FFF2-40B4-BE49-F238E27FC236}">
                <a16:creationId xmlns:a16="http://schemas.microsoft.com/office/drawing/2014/main" xmlns="" id="{32118E42-2E44-4F3F-983D-F0732D75B69F}"/>
              </a:ext>
            </a:extLst>
          </p:cNvPr>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13504" r="15079"/>
          <a:stretch/>
        </p:blipFill>
        <p:spPr bwMode="auto">
          <a:xfrm>
            <a:off x="2913527" y="3611353"/>
            <a:ext cx="481686" cy="423506"/>
          </a:xfrm>
          <a:prstGeom prst="rect">
            <a:avLst/>
          </a:prstGeom>
          <a:solidFill>
            <a:srgbClr val="FFFFFF"/>
          </a:solidFill>
        </p:spPr>
      </p:pic>
      <p:pic>
        <p:nvPicPr>
          <p:cNvPr id="22" name="Picture 8" descr="PetroSA - Wikipedia">
            <a:extLst>
              <a:ext uri="{FF2B5EF4-FFF2-40B4-BE49-F238E27FC236}">
                <a16:creationId xmlns:a16="http://schemas.microsoft.com/office/drawing/2014/main" xmlns="" id="{08E85684-A405-49CE-A0B5-D4E2AE8109D1}"/>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0612014" y="3611353"/>
            <a:ext cx="505434" cy="523112"/>
          </a:xfrm>
          <a:prstGeom prst="rect">
            <a:avLst/>
          </a:prstGeom>
          <a:solidFill>
            <a:srgbClr val="FFFFFF"/>
          </a:solidFill>
        </p:spPr>
      </p:pic>
      <p:pic>
        <p:nvPicPr>
          <p:cNvPr id="24" name="Picture 12" descr="IGAS LOGO | Africa Oil &amp; Power">
            <a:extLst>
              <a:ext uri="{FF2B5EF4-FFF2-40B4-BE49-F238E27FC236}">
                <a16:creationId xmlns:a16="http://schemas.microsoft.com/office/drawing/2014/main" xmlns="" id="{2FBB8C89-B9AA-491E-BC99-89786E09A126}"/>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8228444" y="3611353"/>
            <a:ext cx="689764" cy="459006"/>
          </a:xfrm>
          <a:prstGeom prst="rect">
            <a:avLst/>
          </a:prstGeom>
          <a:solidFill>
            <a:srgbClr val="FFFFFF"/>
          </a:solidFill>
        </p:spPr>
      </p:pic>
      <p:sp>
        <p:nvSpPr>
          <p:cNvPr id="25" name="TextBox 24">
            <a:extLst>
              <a:ext uri="{FF2B5EF4-FFF2-40B4-BE49-F238E27FC236}">
                <a16:creationId xmlns:a16="http://schemas.microsoft.com/office/drawing/2014/main" xmlns="" id="{C107EDCD-0DBE-4C86-B79E-E6653A12787A}"/>
              </a:ext>
            </a:extLst>
          </p:cNvPr>
          <p:cNvSpPr txBox="1"/>
          <p:nvPr/>
        </p:nvSpPr>
        <p:spPr>
          <a:xfrm>
            <a:off x="3014033" y="4166009"/>
            <a:ext cx="1988669" cy="664797"/>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latin typeface="Arial" pitchFamily="34" charset="0"/>
                <a:cs typeface="Arial" pitchFamily="34" charset="0"/>
              </a:rPr>
              <a:t>… promote exploration for onshore &amp; offshore oil &amp; gas resources on behalf of government</a:t>
            </a:r>
          </a:p>
        </p:txBody>
      </p:sp>
      <p:sp>
        <p:nvSpPr>
          <p:cNvPr id="26" name="TextBox 25">
            <a:extLst>
              <a:ext uri="{FF2B5EF4-FFF2-40B4-BE49-F238E27FC236}">
                <a16:creationId xmlns:a16="http://schemas.microsoft.com/office/drawing/2014/main" xmlns="" id="{3A2DF1C8-2C74-4D0C-8EC5-876B8A0CDD4F}"/>
              </a:ext>
            </a:extLst>
          </p:cNvPr>
          <p:cNvSpPr txBox="1"/>
          <p:nvPr/>
        </p:nvSpPr>
        <p:spPr>
          <a:xfrm>
            <a:off x="660415" y="4166009"/>
            <a:ext cx="1988669" cy="498598"/>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latin typeface="Arial" pitchFamily="34" charset="0"/>
                <a:cs typeface="Arial" pitchFamily="34" charset="0"/>
              </a:rPr>
              <a:t>… secure energy producing and beneficiable mineral resources</a:t>
            </a:r>
          </a:p>
        </p:txBody>
      </p:sp>
      <p:pic>
        <p:nvPicPr>
          <p:cNvPr id="27" name="Graphic 31">
            <a:extLst>
              <a:ext uri="{FF2B5EF4-FFF2-40B4-BE49-F238E27FC236}">
                <a16:creationId xmlns:a16="http://schemas.microsoft.com/office/drawing/2014/main" xmlns="" id="{C67B3E37-BF66-4CE3-8B22-BDB61D1ABFB8}"/>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 xmlns:asvg="http://schemas.microsoft.com/office/drawing/2016/SVG/main" r:embed="rId7"/>
              </a:ext>
            </a:extLst>
          </a:blip>
          <a:stretch>
            <a:fillRect/>
          </a:stretch>
        </p:blipFill>
        <p:spPr>
          <a:xfrm>
            <a:off x="3050360" y="2792545"/>
            <a:ext cx="428409" cy="428409"/>
          </a:xfrm>
          <a:prstGeom prst="rect">
            <a:avLst/>
          </a:prstGeom>
        </p:spPr>
      </p:pic>
      <p:pic>
        <p:nvPicPr>
          <p:cNvPr id="28" name="Graphic 35">
            <a:extLst>
              <a:ext uri="{FF2B5EF4-FFF2-40B4-BE49-F238E27FC236}">
                <a16:creationId xmlns:a16="http://schemas.microsoft.com/office/drawing/2014/main" xmlns="" id="{058EEC73-EBDF-4CB9-8359-DD10CFEA3324}"/>
              </a:ext>
            </a:extLst>
          </p:cNvPr>
          <p:cNvPicPr>
            <a:picLocks noChangeAspect="1"/>
          </p:cNvPicPr>
          <p:nvPr/>
        </p:nvPicPr>
        <p:blipFill>
          <a:blip r:embed="rId8" cstate="print">
            <a:extLst>
              <a:ext uri="{96DAC541-7B7A-43D3-8B79-37D633B846F1}">
                <asvg:svgBlip xmlns="" xmlns:asvg="http://schemas.microsoft.com/office/drawing/2016/SVG/main" r:embed="rId9"/>
              </a:ext>
            </a:extLst>
          </a:blip>
          <a:stretch>
            <a:fillRect/>
          </a:stretch>
        </p:blipFill>
        <p:spPr>
          <a:xfrm>
            <a:off x="6571225" y="1494005"/>
            <a:ext cx="442690" cy="428409"/>
          </a:xfrm>
          <a:prstGeom prst="rect">
            <a:avLst/>
          </a:prstGeom>
        </p:spPr>
      </p:pic>
      <p:pic>
        <p:nvPicPr>
          <p:cNvPr id="29" name="Graphic 39">
            <a:extLst>
              <a:ext uri="{FF2B5EF4-FFF2-40B4-BE49-F238E27FC236}">
                <a16:creationId xmlns:a16="http://schemas.microsoft.com/office/drawing/2014/main" xmlns="" id="{AE7F3A0B-BAF6-4A2F-B2B7-6FDF496F0A3F}"/>
              </a:ext>
            </a:extLst>
          </p:cNvPr>
          <p:cNvPicPr>
            <a:picLocks noChangeAspect="1"/>
          </p:cNvPicPr>
          <p:nvPr/>
        </p:nvPicPr>
        <p:blipFill>
          <a:blip r:embed="rId10" cstate="print">
            <a:extLst>
              <a:ext uri="{96DAC541-7B7A-43D3-8B79-37D633B846F1}">
                <asvg:svgBlip xmlns="" xmlns:asvg="http://schemas.microsoft.com/office/drawing/2016/SVG/main" r:embed="rId11"/>
              </a:ext>
            </a:extLst>
          </a:blip>
          <a:stretch>
            <a:fillRect/>
          </a:stretch>
        </p:blipFill>
        <p:spPr>
          <a:xfrm>
            <a:off x="8260994" y="1419654"/>
            <a:ext cx="428409" cy="428409"/>
          </a:xfrm>
          <a:prstGeom prst="rect">
            <a:avLst/>
          </a:prstGeom>
        </p:spPr>
      </p:pic>
      <p:pic>
        <p:nvPicPr>
          <p:cNvPr id="30" name="Graphic 46">
            <a:extLst>
              <a:ext uri="{FF2B5EF4-FFF2-40B4-BE49-F238E27FC236}">
                <a16:creationId xmlns:a16="http://schemas.microsoft.com/office/drawing/2014/main" xmlns="" id="{D4535D60-E76F-42BE-B9CE-1EDE55A2FEBC}"/>
              </a:ext>
            </a:extLst>
          </p:cNvPr>
          <p:cNvPicPr>
            <a:picLocks noChangeAspect="1"/>
          </p:cNvPicPr>
          <p:nvPr/>
        </p:nvPicPr>
        <p:blipFill>
          <a:blip r:embed="rId12" cstate="print">
            <a:extLst>
              <a:ext uri="{96DAC541-7B7A-43D3-8B79-37D633B846F1}">
                <asvg:svgBlip xmlns="" xmlns:asvg="http://schemas.microsoft.com/office/drawing/2016/SVG/main" r:embed="rId13"/>
              </a:ext>
            </a:extLst>
          </a:blip>
          <a:stretch>
            <a:fillRect/>
          </a:stretch>
        </p:blipFill>
        <p:spPr>
          <a:xfrm>
            <a:off x="3035785" y="1448506"/>
            <a:ext cx="428409" cy="428409"/>
          </a:xfrm>
          <a:prstGeom prst="rect">
            <a:avLst/>
          </a:prstGeom>
        </p:spPr>
      </p:pic>
      <p:pic>
        <p:nvPicPr>
          <p:cNvPr id="31" name="Graphic 47">
            <a:extLst>
              <a:ext uri="{FF2B5EF4-FFF2-40B4-BE49-F238E27FC236}">
                <a16:creationId xmlns:a16="http://schemas.microsoft.com/office/drawing/2014/main" xmlns="" id="{B67B7428-0C44-4EB0-94EB-4E514E81159B}"/>
              </a:ext>
            </a:extLst>
          </p:cNvPr>
          <p:cNvPicPr>
            <a:picLocks noChangeAspect="1"/>
          </p:cNvPicPr>
          <p:nvPr/>
        </p:nvPicPr>
        <p:blipFill>
          <a:blip r:embed="rId14" cstate="print">
            <a:extLst>
              <a:ext uri="{28A0092B-C50C-407E-A947-70E740481C1C}">
                <a14:useLocalDpi xmlns:a14="http://schemas.microsoft.com/office/drawing/2010/main" xmlns="" val="0"/>
              </a:ext>
              <a:ext uri="{96DAC541-7B7A-43D3-8B79-37D633B846F1}">
                <asvg:svgBlip xmlns="" xmlns:asvg="http://schemas.microsoft.com/office/drawing/2016/SVG/main" r:embed="rId15"/>
              </a:ext>
            </a:extLst>
          </a:blip>
          <a:srcRect/>
          <a:stretch/>
        </p:blipFill>
        <p:spPr>
          <a:xfrm>
            <a:off x="4535985" y="866815"/>
            <a:ext cx="428409" cy="428409"/>
          </a:xfrm>
          <a:prstGeom prst="rect">
            <a:avLst/>
          </a:prstGeom>
        </p:spPr>
      </p:pic>
      <p:pic>
        <p:nvPicPr>
          <p:cNvPr id="32" name="Graphic 48">
            <a:extLst>
              <a:ext uri="{FF2B5EF4-FFF2-40B4-BE49-F238E27FC236}">
                <a16:creationId xmlns:a16="http://schemas.microsoft.com/office/drawing/2014/main" xmlns="" id="{070444F9-AFF6-483D-B7F4-A11469E20E00}"/>
              </a:ext>
            </a:extLst>
          </p:cNvPr>
          <p:cNvPicPr>
            <a:picLocks noChangeAspect="1"/>
          </p:cNvPicPr>
          <p:nvPr/>
        </p:nvPicPr>
        <p:blipFill>
          <a:blip r:embed="rId16" cstate="print">
            <a:extLst>
              <a:ext uri="{28A0092B-C50C-407E-A947-70E740481C1C}">
                <a14:useLocalDpi xmlns:a14="http://schemas.microsoft.com/office/drawing/2010/main" xmlns="" val="0"/>
              </a:ext>
              <a:ext uri="{96DAC541-7B7A-43D3-8B79-37D633B846F1}">
                <asvg:svgBlip xmlns="" xmlns:asvg="http://schemas.microsoft.com/office/drawing/2016/SVG/main" r:embed="rId17"/>
              </a:ext>
            </a:extLst>
          </a:blip>
          <a:stretch>
            <a:fillRect/>
          </a:stretch>
        </p:blipFill>
        <p:spPr>
          <a:xfrm>
            <a:off x="8742670" y="2131193"/>
            <a:ext cx="428409" cy="428409"/>
          </a:xfrm>
          <a:prstGeom prst="rect">
            <a:avLst/>
          </a:prstGeom>
        </p:spPr>
      </p:pic>
      <p:pic>
        <p:nvPicPr>
          <p:cNvPr id="33" name="Graphic 49">
            <a:extLst>
              <a:ext uri="{FF2B5EF4-FFF2-40B4-BE49-F238E27FC236}">
                <a16:creationId xmlns:a16="http://schemas.microsoft.com/office/drawing/2014/main" xmlns="" id="{5A73DCC4-4683-4017-90D7-DE46095B7E20}"/>
              </a:ext>
            </a:extLst>
          </p:cNvPr>
          <p:cNvPicPr>
            <a:picLocks noChangeAspect="1"/>
          </p:cNvPicPr>
          <p:nvPr/>
        </p:nvPicPr>
        <p:blipFill>
          <a:blip r:embed="rId18" cstate="print">
            <a:extLst>
              <a:ext uri="{28A0092B-C50C-407E-A947-70E740481C1C}">
                <a14:useLocalDpi xmlns:a14="http://schemas.microsoft.com/office/drawing/2010/main" xmlns="" val="0"/>
              </a:ext>
              <a:ext uri="{96DAC541-7B7A-43D3-8B79-37D633B846F1}">
                <asvg:svgBlip xmlns="" xmlns:asvg="http://schemas.microsoft.com/office/drawing/2016/SVG/main" r:embed="rId19"/>
              </a:ext>
            </a:extLst>
          </a:blip>
          <a:stretch>
            <a:fillRect/>
          </a:stretch>
        </p:blipFill>
        <p:spPr>
          <a:xfrm>
            <a:off x="9061616" y="2996338"/>
            <a:ext cx="428409" cy="428409"/>
          </a:xfrm>
          <a:prstGeom prst="rect">
            <a:avLst/>
          </a:prstGeom>
        </p:spPr>
      </p:pic>
      <p:pic>
        <p:nvPicPr>
          <p:cNvPr id="34" name="Graphic 50">
            <a:extLst>
              <a:ext uri="{FF2B5EF4-FFF2-40B4-BE49-F238E27FC236}">
                <a16:creationId xmlns:a16="http://schemas.microsoft.com/office/drawing/2014/main" xmlns="" id="{743F130E-126E-4646-AA42-C814A06B1DB2}"/>
              </a:ext>
            </a:extLst>
          </p:cNvPr>
          <p:cNvPicPr>
            <a:picLocks noChangeAspect="1"/>
          </p:cNvPicPr>
          <p:nvPr/>
        </p:nvPicPr>
        <p:blipFill>
          <a:blip r:embed="rId20" cstate="print">
            <a:extLst>
              <a:ext uri="{96DAC541-7B7A-43D3-8B79-37D633B846F1}">
                <asvg:svgBlip xmlns="" xmlns:asvg="http://schemas.microsoft.com/office/drawing/2016/SVG/main" r:embed="rId21"/>
              </a:ext>
            </a:extLst>
          </a:blip>
          <a:stretch>
            <a:fillRect/>
          </a:stretch>
        </p:blipFill>
        <p:spPr>
          <a:xfrm>
            <a:off x="541968" y="5645269"/>
            <a:ext cx="629752" cy="634988"/>
          </a:xfrm>
          <a:prstGeom prst="rect">
            <a:avLst/>
          </a:prstGeom>
        </p:spPr>
      </p:pic>
      <p:pic>
        <p:nvPicPr>
          <p:cNvPr id="35" name="Graphic 51">
            <a:extLst>
              <a:ext uri="{FF2B5EF4-FFF2-40B4-BE49-F238E27FC236}">
                <a16:creationId xmlns:a16="http://schemas.microsoft.com/office/drawing/2014/main" xmlns="" id="{400F60C5-400E-4C2E-8869-14D2C194C975}"/>
              </a:ext>
            </a:extLst>
          </p:cNvPr>
          <p:cNvPicPr>
            <a:picLocks noChangeAspect="1"/>
          </p:cNvPicPr>
          <p:nvPr/>
        </p:nvPicPr>
        <p:blipFill>
          <a:blip r:embed="rId22" cstate="print">
            <a:extLst>
              <a:ext uri="{96DAC541-7B7A-43D3-8B79-37D633B846F1}">
                <asvg:svgBlip xmlns="" xmlns:asvg="http://schemas.microsoft.com/office/drawing/2016/SVG/main" r:embed="rId23"/>
              </a:ext>
            </a:extLst>
          </a:blip>
          <a:stretch>
            <a:fillRect/>
          </a:stretch>
        </p:blipFill>
        <p:spPr>
          <a:xfrm>
            <a:off x="3006705" y="5683501"/>
            <a:ext cx="629752" cy="629752"/>
          </a:xfrm>
          <a:prstGeom prst="rect">
            <a:avLst/>
          </a:prstGeom>
        </p:spPr>
      </p:pic>
      <p:pic>
        <p:nvPicPr>
          <p:cNvPr id="36" name="Graphic 55">
            <a:extLst>
              <a:ext uri="{FF2B5EF4-FFF2-40B4-BE49-F238E27FC236}">
                <a16:creationId xmlns:a16="http://schemas.microsoft.com/office/drawing/2014/main" xmlns="" id="{6A4D511B-3D85-4974-9643-1D2B0EEEB25F}"/>
              </a:ext>
            </a:extLst>
          </p:cNvPr>
          <p:cNvPicPr>
            <a:picLocks noChangeAspect="1"/>
          </p:cNvPicPr>
          <p:nvPr/>
        </p:nvPicPr>
        <p:blipFill>
          <a:blip r:embed="rId24" cstate="print">
            <a:extLst>
              <a:ext uri="{28A0092B-C50C-407E-A947-70E740481C1C}">
                <a14:useLocalDpi xmlns:a14="http://schemas.microsoft.com/office/drawing/2010/main" xmlns="" val="0"/>
              </a:ext>
              <a:ext uri="{96DAC541-7B7A-43D3-8B79-37D633B846F1}">
                <asvg:svgBlip xmlns="" xmlns:asvg="http://schemas.microsoft.com/office/drawing/2016/SVG/main" r:embed="rId25"/>
              </a:ext>
            </a:extLst>
          </a:blip>
          <a:stretch>
            <a:fillRect/>
          </a:stretch>
        </p:blipFill>
        <p:spPr>
          <a:xfrm>
            <a:off x="7434172" y="5573952"/>
            <a:ext cx="826428" cy="826428"/>
          </a:xfrm>
          <a:prstGeom prst="rect">
            <a:avLst/>
          </a:prstGeom>
        </p:spPr>
      </p:pic>
      <p:sp>
        <p:nvSpPr>
          <p:cNvPr id="37" name="TextBox 36">
            <a:extLst>
              <a:ext uri="{FF2B5EF4-FFF2-40B4-BE49-F238E27FC236}">
                <a16:creationId xmlns:a16="http://schemas.microsoft.com/office/drawing/2014/main" xmlns="" id="{C565F1B7-F4F2-49F0-BB87-158D60947D45}"/>
              </a:ext>
            </a:extLst>
          </p:cNvPr>
          <p:cNvSpPr txBox="1"/>
          <p:nvPr/>
        </p:nvSpPr>
        <p:spPr>
          <a:xfrm>
            <a:off x="7445088" y="4174264"/>
            <a:ext cx="2278975" cy="332399"/>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latin typeface="Arial" pitchFamily="34" charset="0"/>
                <a:cs typeface="Arial" pitchFamily="34" charset="0"/>
              </a:rPr>
              <a:t>…</a:t>
            </a:r>
            <a:r>
              <a:rPr lang="en-US" sz="1200" b="1" dirty="0">
                <a:latin typeface="Arial" pitchFamily="34" charset="0"/>
                <a:cs typeface="Arial" pitchFamily="34" charset="0"/>
              </a:rPr>
              <a:t>gas transmission pipelines and related projects.</a:t>
            </a:r>
            <a:r>
              <a:rPr lang="en-GB" sz="1200" b="1" dirty="0">
                <a:latin typeface="Arial" pitchFamily="34" charset="0"/>
                <a:cs typeface="Arial" pitchFamily="34" charset="0"/>
              </a:rPr>
              <a:t>…</a:t>
            </a:r>
          </a:p>
        </p:txBody>
      </p:sp>
      <p:sp>
        <p:nvSpPr>
          <p:cNvPr id="38" name="TextBox 37">
            <a:extLst>
              <a:ext uri="{FF2B5EF4-FFF2-40B4-BE49-F238E27FC236}">
                <a16:creationId xmlns:a16="http://schemas.microsoft.com/office/drawing/2014/main" xmlns="" id="{8AFB8972-4112-4191-8B89-5048BB1E0CFA}"/>
              </a:ext>
            </a:extLst>
          </p:cNvPr>
          <p:cNvSpPr txBox="1"/>
          <p:nvPr/>
        </p:nvSpPr>
        <p:spPr>
          <a:xfrm>
            <a:off x="6123629" y="4958335"/>
            <a:ext cx="1755819" cy="290849"/>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050" b="1" dirty="0">
                <a:latin typeface="Arial" pitchFamily="34" charset="0"/>
                <a:cs typeface="Arial" pitchFamily="34" charset="0"/>
              </a:rPr>
              <a:t>… supporting the region's energy needs…</a:t>
            </a:r>
          </a:p>
        </p:txBody>
      </p:sp>
      <p:sp>
        <p:nvSpPr>
          <p:cNvPr id="39" name="TextBox 38">
            <a:extLst>
              <a:ext uri="{FF2B5EF4-FFF2-40B4-BE49-F238E27FC236}">
                <a16:creationId xmlns:a16="http://schemas.microsoft.com/office/drawing/2014/main" xmlns="" id="{A586B265-930B-4107-A3BF-57E2C1E759C2}"/>
              </a:ext>
            </a:extLst>
          </p:cNvPr>
          <p:cNvSpPr txBox="1"/>
          <p:nvPr/>
        </p:nvSpPr>
        <p:spPr>
          <a:xfrm>
            <a:off x="9362373" y="5630262"/>
            <a:ext cx="1755819" cy="498598"/>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latin typeface="Arial" pitchFamily="34" charset="0"/>
                <a:cs typeface="Arial" pitchFamily="34" charset="0"/>
              </a:rPr>
              <a:t>… </a:t>
            </a:r>
            <a:r>
              <a:rPr lang="en-US" sz="1200" b="1" dirty="0">
                <a:latin typeface="Arial" pitchFamily="34" charset="0"/>
                <a:cs typeface="Arial" pitchFamily="34" charset="0"/>
              </a:rPr>
              <a:t>marketing and trading of oil and petrochemicals</a:t>
            </a:r>
            <a:endParaRPr lang="en-GB" sz="1200" b="1" dirty="0">
              <a:latin typeface="Arial" pitchFamily="34" charset="0"/>
              <a:cs typeface="Arial" pitchFamily="34" charset="0"/>
            </a:endParaRPr>
          </a:p>
        </p:txBody>
      </p:sp>
      <p:sp>
        <p:nvSpPr>
          <p:cNvPr id="40" name="TextBox 39">
            <a:extLst>
              <a:ext uri="{FF2B5EF4-FFF2-40B4-BE49-F238E27FC236}">
                <a16:creationId xmlns:a16="http://schemas.microsoft.com/office/drawing/2014/main" xmlns="" id="{4FA5DDAB-B2BE-411D-90B9-B412E13E8782}"/>
              </a:ext>
            </a:extLst>
          </p:cNvPr>
          <p:cNvSpPr txBox="1"/>
          <p:nvPr/>
        </p:nvSpPr>
        <p:spPr>
          <a:xfrm>
            <a:off x="660415" y="5079233"/>
            <a:ext cx="1988669" cy="332399"/>
          </a:xfrm>
          <a:prstGeom prst="rect">
            <a:avLst/>
          </a:prstGeom>
          <a:noFill/>
          <a:ln w="6350" cap="flat">
            <a:noFill/>
            <a:miter lim="800000"/>
          </a:ln>
        </p:spPr>
        <p:txBody>
          <a:bodyPr wrap="square" lIns="0" tIns="0" rIns="0" bIns="0" rtlCol="0" anchor="t" anchorCtr="0">
            <a:spAutoFit/>
          </a:bodyPr>
          <a:lstStyle/>
          <a:p>
            <a:pPr algn="r" fontAlgn="auto">
              <a:lnSpc>
                <a:spcPct val="90000"/>
              </a:lnSpc>
              <a:spcBef>
                <a:spcPts val="600"/>
              </a:spcBef>
              <a:spcAft>
                <a:spcPts val="0"/>
              </a:spcAft>
              <a:buClr>
                <a:srgbClr val="F2F2F2"/>
              </a:buClr>
            </a:pPr>
            <a:r>
              <a:rPr lang="en-GB" sz="1200" b="1" dirty="0">
                <a:latin typeface="Arial" pitchFamily="34" charset="0"/>
                <a:cs typeface="Arial" pitchFamily="34" charset="0"/>
              </a:rPr>
              <a:t>… drive transformation in the SA mining industry </a:t>
            </a:r>
          </a:p>
        </p:txBody>
      </p:sp>
      <p:sp>
        <p:nvSpPr>
          <p:cNvPr id="42" name="Rectangle 41">
            <a:extLst>
              <a:ext uri="{FF2B5EF4-FFF2-40B4-BE49-F238E27FC236}">
                <a16:creationId xmlns:a16="http://schemas.microsoft.com/office/drawing/2014/main" xmlns="" id="{FC5632FB-4647-4AF7-ABDE-AEA95FB85B48}"/>
              </a:ext>
            </a:extLst>
          </p:cNvPr>
          <p:cNvSpPr/>
          <p:nvPr/>
        </p:nvSpPr>
        <p:spPr>
          <a:xfrm>
            <a:off x="591440" y="6508584"/>
            <a:ext cx="10794483" cy="297411"/>
          </a:xfrm>
          <a:prstGeom prst="rect">
            <a:avLst/>
          </a:prstGeom>
          <a:noFill/>
          <a:ln w="6350" cap="flat" cmpd="sng" algn="ctr">
            <a:noFill/>
            <a:prstDash val="solid"/>
            <a:miter lim="800000"/>
          </a:ln>
          <a:effectLst/>
          <a:extLst>
            <a:ext uri="{909E8E84-426E-40DD-AFC4-6F175D3DCCD1}">
              <a14:hiddenFill xmlns:a14="http://schemas.microsoft.com/office/drawing/2010/main" xmlns="">
                <a:solidFill>
                  <a:schemeClr val="bg1">
                    <a:lumMod val="95000"/>
                  </a:schemeClr>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tx2"/>
                </a:solidFill>
                <a:effectLst/>
                <a:uLnTx/>
                <a:uFillTx/>
                <a:latin typeface="Arial" panose="020B0604020202020204"/>
                <a:ea typeface="+mn-ea"/>
                <a:cs typeface="Arial" pitchFamily="34" charset="0"/>
              </a:rPr>
              <a:t>The </a:t>
            </a:r>
            <a:r>
              <a:rPr kumimoji="0" lang="en-GB" sz="1200" b="1" i="0" u="none" strike="noStrike" kern="0" cap="none" spc="0" normalizeH="0" noProof="0" dirty="0">
                <a:ln>
                  <a:noFill/>
                </a:ln>
                <a:solidFill>
                  <a:schemeClr val="tx2"/>
                </a:solidFill>
                <a:effectLst/>
                <a:uLnTx/>
                <a:uFillTx/>
                <a:latin typeface="Arial" panose="020B0604020202020204"/>
                <a:ea typeface="+mn-ea"/>
                <a:cs typeface="Arial" pitchFamily="34" charset="0"/>
              </a:rPr>
              <a:t> CEF Group is the execution arm of the DMRE in support of broad government national energy imperatives in support of the </a:t>
            </a:r>
            <a:r>
              <a:rPr kumimoji="0" lang="en-GB" sz="1200" b="1" i="0" u="none" strike="noStrike" kern="0" cap="none" spc="0" normalizeH="0" noProof="0" dirty="0">
                <a:ln>
                  <a:noFill/>
                </a:ln>
                <a:solidFill>
                  <a:srgbClr val="CC3300"/>
                </a:solidFill>
                <a:effectLst/>
                <a:uLnTx/>
                <a:uFillTx/>
                <a:latin typeface="Arial" panose="020B0604020202020204"/>
                <a:ea typeface="+mn-ea"/>
                <a:cs typeface="Arial" pitchFamily="34" charset="0"/>
              </a:rPr>
              <a:t>NDP. </a:t>
            </a:r>
            <a:r>
              <a:rPr kumimoji="0" lang="en-GB" sz="1200" b="1" i="0" u="none" strike="noStrike" kern="0" cap="none" spc="0" normalizeH="0" noProof="0" dirty="0">
                <a:ln>
                  <a:noFill/>
                </a:ln>
                <a:solidFill>
                  <a:schemeClr val="tx2"/>
                </a:solidFill>
                <a:effectLst/>
                <a:uLnTx/>
                <a:uFillTx/>
                <a:latin typeface="Arial" panose="020B0604020202020204"/>
                <a:ea typeface="+mn-ea"/>
                <a:cs typeface="Arial" pitchFamily="34" charset="0"/>
              </a:rPr>
              <a:t>We operate across the entire value chain which </a:t>
            </a:r>
            <a:r>
              <a:rPr kumimoji="0" lang="en-GB" sz="1200" b="1" i="0" u="none" strike="noStrike" kern="0" cap="none" spc="0" normalizeH="0" noProof="0" dirty="0">
                <a:ln>
                  <a:noFill/>
                </a:ln>
                <a:solidFill>
                  <a:srgbClr val="C00000"/>
                </a:solidFill>
                <a:effectLst/>
                <a:uLnTx/>
                <a:uFillTx/>
                <a:latin typeface="Arial" panose="020B0604020202020204"/>
                <a:ea typeface="+mn-ea"/>
                <a:cs typeface="Arial" pitchFamily="34" charset="0"/>
              </a:rPr>
              <a:t>capital intensive, long lead time, risky</a:t>
            </a:r>
            <a:r>
              <a:rPr kumimoji="0" lang="en-GB" sz="1200" b="1" i="0" u="none" strike="noStrike" kern="0" cap="none" spc="0" normalizeH="0" noProof="0" dirty="0">
                <a:ln>
                  <a:noFill/>
                </a:ln>
                <a:solidFill>
                  <a:schemeClr val="tx2"/>
                </a:solidFill>
                <a:effectLst/>
                <a:uLnTx/>
                <a:uFillTx/>
                <a:latin typeface="Arial" panose="020B0604020202020204"/>
                <a:ea typeface="+mn-ea"/>
                <a:cs typeface="Arial" pitchFamily="34" charset="0"/>
              </a:rPr>
              <a:t> and is dominated by multinationals with sizable financial resources.</a:t>
            </a:r>
            <a:endParaRPr kumimoji="0" lang="en-GB" sz="1200" b="1" i="0" u="none" strike="noStrike" kern="0" cap="none" spc="0" normalizeH="0" baseline="0" noProof="0" dirty="0">
              <a:ln>
                <a:noFill/>
              </a:ln>
              <a:solidFill>
                <a:schemeClr val="tx2"/>
              </a:solidFill>
              <a:effectLst/>
              <a:uLnTx/>
              <a:uFillTx/>
              <a:latin typeface="Arial" panose="020B0604020202020204"/>
              <a:ea typeface="+mn-ea"/>
              <a:cs typeface="Arial" pitchFamily="34" charset="0"/>
            </a:endParaRPr>
          </a:p>
        </p:txBody>
      </p:sp>
      <p:pic>
        <p:nvPicPr>
          <p:cNvPr id="4" name="Picture 3"/>
          <p:cNvPicPr>
            <a:picLocks noChangeAspect="1"/>
          </p:cNvPicPr>
          <p:nvPr/>
        </p:nvPicPr>
        <p:blipFill>
          <a:blip r:embed="rId26" cstate="print"/>
          <a:stretch>
            <a:fillRect/>
          </a:stretch>
        </p:blipFill>
        <p:spPr>
          <a:xfrm>
            <a:off x="5411039" y="3611353"/>
            <a:ext cx="1097375" cy="445047"/>
          </a:xfrm>
          <a:prstGeom prst="rect">
            <a:avLst/>
          </a:prstGeom>
        </p:spPr>
      </p:pic>
      <p:sp>
        <p:nvSpPr>
          <p:cNvPr id="43" name="TextBox 42">
            <a:extLst>
              <a:ext uri="{FF2B5EF4-FFF2-40B4-BE49-F238E27FC236}">
                <a16:creationId xmlns:a16="http://schemas.microsoft.com/office/drawing/2014/main" xmlns="" id="{FF511783-ECA8-459D-9B45-4A3CE9E7E589}"/>
              </a:ext>
            </a:extLst>
          </p:cNvPr>
          <p:cNvSpPr txBox="1"/>
          <p:nvPr/>
        </p:nvSpPr>
        <p:spPr>
          <a:xfrm>
            <a:off x="3166433" y="5377746"/>
            <a:ext cx="1988669" cy="332399"/>
          </a:xfrm>
          <a:prstGeom prst="rect">
            <a:avLst/>
          </a:prstGeom>
          <a:noFill/>
          <a:ln w="6350" cap="flat">
            <a:noFill/>
            <a:miter lim="800000"/>
          </a:ln>
        </p:spPr>
        <p:txBody>
          <a:bodyPr wrap="square" lIns="0" tIns="0" rIns="0" bIns="0" rtlCol="0" anchor="t" anchorCtr="0">
            <a:spAutoFit/>
          </a:bodyPr>
          <a:lstStyle/>
          <a:p>
            <a:pPr algn="ctr" fontAlgn="auto">
              <a:lnSpc>
                <a:spcPct val="90000"/>
              </a:lnSpc>
              <a:spcBef>
                <a:spcPts val="600"/>
              </a:spcBef>
              <a:spcAft>
                <a:spcPts val="0"/>
              </a:spcAft>
              <a:buClr>
                <a:srgbClr val="F2F2F2"/>
              </a:buClr>
            </a:pPr>
            <a:r>
              <a:rPr lang="en-GB" sz="1200" b="1" dirty="0">
                <a:latin typeface="Arial" pitchFamily="34" charset="0"/>
                <a:cs typeface="Arial" pitchFamily="34" charset="0"/>
              </a:rPr>
              <a:t>… regulate exploration &amp; production activities</a:t>
            </a:r>
          </a:p>
        </p:txBody>
      </p:sp>
      <p:sp>
        <p:nvSpPr>
          <p:cNvPr id="44" name="TextBox 43">
            <a:extLst>
              <a:ext uri="{FF2B5EF4-FFF2-40B4-BE49-F238E27FC236}">
                <a16:creationId xmlns:a16="http://schemas.microsoft.com/office/drawing/2014/main" xmlns="" id="{FF511783-ECA8-459D-9B45-4A3CE9E7E589}"/>
              </a:ext>
            </a:extLst>
          </p:cNvPr>
          <p:cNvSpPr txBox="1"/>
          <p:nvPr/>
        </p:nvSpPr>
        <p:spPr>
          <a:xfrm>
            <a:off x="9582229" y="4349175"/>
            <a:ext cx="1756417" cy="498598"/>
          </a:xfrm>
          <a:prstGeom prst="rect">
            <a:avLst/>
          </a:prstGeom>
          <a:noFill/>
          <a:ln w="6350" cap="flat">
            <a:noFill/>
            <a:miter lim="800000"/>
          </a:ln>
        </p:spPr>
        <p:txBody>
          <a:bodyPr wrap="square" lIns="0" tIns="0" rIns="0" bIns="0" rtlCol="0" anchor="t" anchorCtr="0">
            <a:spAutoFit/>
          </a:bodyPr>
          <a:lstStyle/>
          <a:p>
            <a:pPr algn="ct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a:t>
            </a:r>
            <a:r>
              <a:rPr lang="en-US" sz="1200" b="1" dirty="0">
                <a:latin typeface="Arial" pitchFamily="34" charset="0"/>
                <a:cs typeface="Arial" pitchFamily="34" charset="0"/>
              </a:rPr>
              <a:t>exploration and production of oil and natural gas</a:t>
            </a:r>
            <a:endParaRPr lang="en-GB" sz="1200" b="1" dirty="0">
              <a:latin typeface="Arial" pitchFamily="34" charset="0"/>
              <a:cs typeface="Arial" pitchFamily="34" charset="0"/>
            </a:endParaRPr>
          </a:p>
        </p:txBody>
      </p:sp>
      <p:sp>
        <p:nvSpPr>
          <p:cNvPr id="46" name="TextBox 45">
            <a:extLst>
              <a:ext uri="{FF2B5EF4-FFF2-40B4-BE49-F238E27FC236}">
                <a16:creationId xmlns:a16="http://schemas.microsoft.com/office/drawing/2014/main" xmlns="" id="{FF511783-ECA8-459D-9B45-4A3CE9E7E589}"/>
              </a:ext>
            </a:extLst>
          </p:cNvPr>
          <p:cNvSpPr txBox="1"/>
          <p:nvPr/>
        </p:nvSpPr>
        <p:spPr>
          <a:xfrm>
            <a:off x="5234997" y="5590663"/>
            <a:ext cx="1988669" cy="332399"/>
          </a:xfrm>
          <a:prstGeom prst="rect">
            <a:avLst/>
          </a:prstGeom>
          <a:noFill/>
          <a:ln w="6350" cap="flat">
            <a:noFill/>
            <a:miter lim="800000"/>
          </a:ln>
        </p:spPr>
        <p:txBody>
          <a:bodyPr wrap="square" lIns="0" tIns="0" rIns="0" bIns="0" rtlCol="0" anchor="t" anchorCtr="0">
            <a:spAutoFit/>
          </a:bodyPr>
          <a:lstStyle/>
          <a:p>
            <a:pPr algn="ct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a:t>
            </a:r>
            <a:r>
              <a:rPr lang="en-GB" sz="1200" b="1" dirty="0">
                <a:latin typeface="Arial" pitchFamily="34" charset="0"/>
                <a:cs typeface="Arial" pitchFamily="34" charset="0"/>
              </a:rPr>
              <a:t>….mitigate against market failures</a:t>
            </a:r>
          </a:p>
        </p:txBody>
      </p:sp>
      <p:sp>
        <p:nvSpPr>
          <p:cNvPr id="47" name="TextBox 46">
            <a:extLst>
              <a:ext uri="{FF2B5EF4-FFF2-40B4-BE49-F238E27FC236}">
                <a16:creationId xmlns:a16="http://schemas.microsoft.com/office/drawing/2014/main" xmlns="" id="{FF511783-ECA8-459D-9B45-4A3CE9E7E589}"/>
              </a:ext>
            </a:extLst>
          </p:cNvPr>
          <p:cNvSpPr txBox="1"/>
          <p:nvPr/>
        </p:nvSpPr>
        <p:spPr>
          <a:xfrm>
            <a:off x="5284280" y="4407093"/>
            <a:ext cx="1756417" cy="332399"/>
          </a:xfrm>
          <a:prstGeom prst="rect">
            <a:avLst/>
          </a:prstGeom>
          <a:noFill/>
          <a:ln w="6350" cap="flat">
            <a:noFill/>
            <a:miter lim="800000"/>
          </a:ln>
        </p:spPr>
        <p:txBody>
          <a:bodyPr wrap="square" lIns="0" tIns="0" rIns="0" bIns="0" rtlCol="0" anchor="t" anchorCtr="0">
            <a:spAutoFit/>
          </a:bodyPr>
          <a:lstStyle/>
          <a:p>
            <a:pPr algn="ctr" fontAlgn="auto">
              <a:lnSpc>
                <a:spcPct val="90000"/>
              </a:lnSpc>
              <a:spcBef>
                <a:spcPts val="600"/>
              </a:spcBef>
              <a:spcAft>
                <a:spcPts val="0"/>
              </a:spcAft>
              <a:buClr>
                <a:srgbClr val="F2F2F2"/>
              </a:buClr>
            </a:pPr>
            <a:r>
              <a:rPr lang="en-GB" sz="1200" b="1" dirty="0">
                <a:solidFill>
                  <a:srgbClr val="F2F2F2"/>
                </a:solidFill>
                <a:latin typeface="Arial" pitchFamily="34" charset="0"/>
                <a:cs typeface="Arial" pitchFamily="34" charset="0"/>
              </a:rPr>
              <a:t>… </a:t>
            </a:r>
            <a:r>
              <a:rPr lang="en-GB" sz="1200" b="1" dirty="0">
                <a:latin typeface="Arial" pitchFamily="34" charset="0"/>
                <a:cs typeface="Arial" pitchFamily="34" charset="0"/>
              </a:rPr>
              <a:t>…Storage of strategic stock</a:t>
            </a:r>
          </a:p>
        </p:txBody>
      </p:sp>
      <p:sp>
        <p:nvSpPr>
          <p:cNvPr id="49" name="TextBox 48">
            <a:extLst>
              <a:ext uri="{FF2B5EF4-FFF2-40B4-BE49-F238E27FC236}">
                <a16:creationId xmlns:a16="http://schemas.microsoft.com/office/drawing/2014/main" xmlns="" id="{A586B265-930B-4107-A3BF-57E2C1E759C2}"/>
              </a:ext>
            </a:extLst>
          </p:cNvPr>
          <p:cNvSpPr txBox="1"/>
          <p:nvPr/>
        </p:nvSpPr>
        <p:spPr>
          <a:xfrm>
            <a:off x="8228444" y="4960672"/>
            <a:ext cx="1755819" cy="664797"/>
          </a:xfrm>
          <a:prstGeom prst="rect">
            <a:avLst/>
          </a:prstGeom>
          <a:noFill/>
          <a:ln w="6350" cap="flat">
            <a:noFill/>
            <a:miter lim="800000"/>
          </a:ln>
        </p:spPr>
        <p:txBody>
          <a:bodyPr wrap="square" lIns="0" tIns="0" rIns="0" bIns="0" rtlCol="0" anchor="t" anchorCtr="0">
            <a:spAutoFit/>
          </a:bodyPr>
          <a:lstStyle/>
          <a:p>
            <a:pPr fontAlgn="auto">
              <a:lnSpc>
                <a:spcPct val="90000"/>
              </a:lnSpc>
              <a:spcBef>
                <a:spcPts val="600"/>
              </a:spcBef>
              <a:spcAft>
                <a:spcPts val="0"/>
              </a:spcAft>
              <a:buClr>
                <a:srgbClr val="F2F2F2"/>
              </a:buClr>
            </a:pPr>
            <a:r>
              <a:rPr lang="en-GB" sz="1200" b="1" dirty="0">
                <a:latin typeface="Arial" pitchFamily="34" charset="0"/>
                <a:cs typeface="Arial" pitchFamily="34" charset="0"/>
              </a:rPr>
              <a:t>… leading the energy security and just transition for South Africa</a:t>
            </a:r>
          </a:p>
        </p:txBody>
      </p:sp>
      <p:sp>
        <p:nvSpPr>
          <p:cNvPr id="16" name="TextBox 15"/>
          <p:cNvSpPr txBox="1"/>
          <p:nvPr/>
        </p:nvSpPr>
        <p:spPr>
          <a:xfrm rot="16200000">
            <a:off x="-696227" y="4579804"/>
            <a:ext cx="1807284" cy="400110"/>
          </a:xfrm>
          <a:prstGeom prst="rect">
            <a:avLst/>
          </a:prstGeom>
          <a:noFill/>
        </p:spPr>
        <p:txBody>
          <a:bodyPr wrap="square" rtlCol="0">
            <a:spAutoFit/>
          </a:bodyPr>
          <a:lstStyle/>
          <a:p>
            <a:r>
              <a:rPr lang="en-US" b="1" dirty="0">
                <a:solidFill>
                  <a:schemeClr val="tx2"/>
                </a:solidFill>
              </a:rPr>
              <a:t>Execution</a:t>
            </a:r>
            <a:endParaRPr lang="en-ZA" b="1" dirty="0">
              <a:solidFill>
                <a:schemeClr val="tx2"/>
              </a:solidFill>
            </a:endParaRPr>
          </a:p>
        </p:txBody>
      </p:sp>
      <p:sp>
        <p:nvSpPr>
          <p:cNvPr id="50" name="TextBox 49"/>
          <p:cNvSpPr txBox="1"/>
          <p:nvPr/>
        </p:nvSpPr>
        <p:spPr>
          <a:xfrm>
            <a:off x="757106" y="2845776"/>
            <a:ext cx="1850369" cy="646331"/>
          </a:xfrm>
          <a:prstGeom prst="rect">
            <a:avLst/>
          </a:prstGeom>
          <a:noFill/>
        </p:spPr>
        <p:txBody>
          <a:bodyPr wrap="square" rtlCol="0">
            <a:spAutoFit/>
          </a:bodyPr>
          <a:lstStyle/>
          <a:p>
            <a:r>
              <a:rPr lang="en-US" sz="1200" b="1" i="1" dirty="0">
                <a:solidFill>
                  <a:schemeClr val="bg1"/>
                </a:solidFill>
              </a:rPr>
              <a:t>Duel Mandate-Developmental &amp; Commercial objectives</a:t>
            </a:r>
            <a:endParaRPr lang="en-ZA" sz="1200" b="1" i="1" dirty="0">
              <a:solidFill>
                <a:schemeClr val="bg1"/>
              </a:solidFill>
            </a:endParaRPr>
          </a:p>
        </p:txBody>
      </p:sp>
      <p:sp>
        <p:nvSpPr>
          <p:cNvPr id="23" name="Oval 22"/>
          <p:cNvSpPr/>
          <p:nvPr/>
        </p:nvSpPr>
        <p:spPr bwMode="auto">
          <a:xfrm>
            <a:off x="5370048" y="1620931"/>
            <a:ext cx="1173896" cy="1173896"/>
          </a:xfrm>
          <a:prstGeom prst="ellipse">
            <a:avLst/>
          </a:prstGeom>
          <a:solidFill>
            <a:schemeClr val="bg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ZA" sz="2000" b="0" i="0" u="none" strike="noStrike" cap="none" normalizeH="0" baseline="0" dirty="0">
              <a:ln>
                <a:noFill/>
              </a:ln>
              <a:solidFill>
                <a:schemeClr val="tx1"/>
              </a:solidFill>
              <a:effectLst/>
              <a:latin typeface="Arial" charset="0"/>
            </a:endParaRPr>
          </a:p>
        </p:txBody>
      </p:sp>
      <p:pic>
        <p:nvPicPr>
          <p:cNvPr id="48" name="Picture 36">
            <a:extLst>
              <a:ext uri="{FF2B5EF4-FFF2-40B4-BE49-F238E27FC236}">
                <a16:creationId xmlns:a16="http://schemas.microsoft.com/office/drawing/2014/main" xmlns="" id="{CC5DC3D1-9746-4E9C-A7B2-26A9D473650D}"/>
              </a:ext>
            </a:extLst>
          </p:cNvPr>
          <p:cNvPicPr>
            <a:picLocks noChangeAspect="1" noChangeArrowheads="1"/>
          </p:cNvPicPr>
          <p:nvPr/>
        </p:nvPicPr>
        <p:blipFill>
          <a:blip r:embed="rId27" cstate="print">
            <a:clrChange>
              <a:clrFrom>
                <a:srgbClr val="FFFFFF"/>
              </a:clrFrom>
              <a:clrTo>
                <a:srgbClr val="FFFFFF">
                  <a:alpha val="0"/>
                </a:srgbClr>
              </a:clrTo>
            </a:clrChange>
          </a:blip>
          <a:srcRect/>
          <a:stretch>
            <a:fillRect/>
          </a:stretch>
        </p:blipFill>
        <p:spPr bwMode="auto">
          <a:xfrm>
            <a:off x="5450778" y="1788747"/>
            <a:ext cx="1073737" cy="739209"/>
          </a:xfrm>
          <a:prstGeom prst="rect">
            <a:avLst/>
          </a:prstGeom>
          <a:noFill/>
          <a:ln w="9525">
            <a:noFill/>
            <a:miter lim="800000"/>
            <a:headEnd/>
            <a:tailEnd/>
          </a:ln>
        </p:spPr>
      </p:pic>
      <p:sp>
        <p:nvSpPr>
          <p:cNvPr id="3" name="TextBox 2"/>
          <p:cNvSpPr txBox="1"/>
          <p:nvPr/>
        </p:nvSpPr>
        <p:spPr>
          <a:xfrm>
            <a:off x="11499442" y="3878036"/>
            <a:ext cx="1032738" cy="646331"/>
          </a:xfrm>
          <a:prstGeom prst="rect">
            <a:avLst/>
          </a:prstGeom>
          <a:noFill/>
          <a:ln>
            <a:solidFill>
              <a:schemeClr val="bg1">
                <a:lumMod val="65000"/>
              </a:schemeClr>
            </a:solidFill>
          </a:ln>
        </p:spPr>
        <p:txBody>
          <a:bodyPr wrap="square" rtlCol="0">
            <a:spAutoFit/>
          </a:bodyPr>
          <a:lstStyle/>
          <a:p>
            <a:r>
              <a:rPr lang="en-US" sz="1200" b="1" i="1" dirty="0">
                <a:solidFill>
                  <a:srgbClr val="FF0000"/>
                </a:solidFill>
              </a:rPr>
              <a:t>** 3 Merging Entities</a:t>
            </a:r>
            <a:endParaRPr lang="en-ZA" sz="1200" b="1" i="1" dirty="0">
              <a:solidFill>
                <a:srgbClr val="FF0000"/>
              </a:solidFill>
            </a:endParaRPr>
          </a:p>
        </p:txBody>
      </p:sp>
    </p:spTree>
    <p:extLst>
      <p:ext uri="{BB962C8B-B14F-4D97-AF65-F5344CB8AC3E}">
        <p14:creationId xmlns:p14="http://schemas.microsoft.com/office/powerpoint/2010/main" xmlns="" val="3566052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430" y="245378"/>
            <a:ext cx="11782384" cy="600075"/>
          </a:xfrm>
          <a:noFill/>
          <a:ln w="9525">
            <a:noFill/>
            <a:miter lim="800000"/>
            <a:headEnd/>
            <a:tailEnd/>
          </a:ln>
        </p:spPr>
        <p:txBody>
          <a:bodyPr vert="horz" wrap="square" lIns="0" tIns="45720" rIns="0" bIns="45720" numCol="1" anchor="ctr" anchorCtr="0" compatLnSpc="1">
            <a:prstTxWarp prst="textNoShape">
              <a:avLst/>
            </a:prstTxWarp>
          </a:bodyPr>
          <a:lstStyle/>
          <a:p>
            <a:r>
              <a:rPr lang="en-US" sz="2800" dirty="0">
                <a:solidFill>
                  <a:schemeClr val="accent1"/>
                </a:solidFill>
              </a:rPr>
              <a:t>Operating Environment</a:t>
            </a:r>
            <a:endParaRPr lang="en-ZA" sz="2800" dirty="0">
              <a:solidFill>
                <a:schemeClr val="accent1"/>
              </a:solidFill>
            </a:endParaRPr>
          </a:p>
        </p:txBody>
      </p:sp>
      <p:sp>
        <p:nvSpPr>
          <p:cNvPr id="5" name="Slide Number Placeholder 4"/>
          <p:cNvSpPr>
            <a:spLocks noGrp="1"/>
          </p:cNvSpPr>
          <p:nvPr>
            <p:ph type="sldNum" sz="quarter" idx="4"/>
          </p:nvPr>
        </p:nvSpPr>
        <p:spPr/>
        <p:txBody>
          <a:bodyPr/>
          <a:lstStyle/>
          <a:p>
            <a:fld id="{F667033A-4247-4ED4-8A21-2B1E2D674746}" type="slidenum">
              <a:rPr lang="en-ZA" smtClean="0"/>
              <a:pPr/>
              <a:t>5</a:t>
            </a:fld>
            <a:endParaRPr lang="en-ZA" dirty="0"/>
          </a:p>
        </p:txBody>
      </p:sp>
      <p:sp>
        <p:nvSpPr>
          <p:cNvPr id="6" name="Title 1">
            <a:extLst>
              <a:ext uri="{FF2B5EF4-FFF2-40B4-BE49-F238E27FC236}">
                <a16:creationId xmlns:a16="http://schemas.microsoft.com/office/drawing/2014/main" xmlns="" id="{B3F47B65-5B22-4EC9-AA31-6A0575E3B7B4}"/>
              </a:ext>
            </a:extLst>
          </p:cNvPr>
          <p:cNvSpPr txBox="1">
            <a:spLocks/>
          </p:cNvSpPr>
          <p:nvPr/>
        </p:nvSpPr>
        <p:spPr>
          <a:xfrm>
            <a:off x="193430" y="1170106"/>
            <a:ext cx="2652902" cy="5355312"/>
          </a:xfrm>
          <a:prstGeom prst="rect">
            <a:avLst/>
          </a:prstGeom>
          <a:noFill/>
          <a:ln w="6350">
            <a:noFill/>
            <a:miter lim="800000"/>
          </a:ln>
        </p:spPr>
        <p:txBody>
          <a:bodyPr vert="horz" wrap="square" lIns="0" tIns="0" rIns="0" bIns="0" rtlCol="0" anchor="t" anchorCtr="0">
            <a:spAutoFit/>
          </a:bodyPr>
          <a:lstStyle>
            <a:lvl1pPr marL="0" indent="0" algn="l" defTabSz="1263792" rtl="0" eaLnBrk="1" latinLnBrk="0" hangingPunct="1">
              <a:lnSpc>
                <a:spcPct val="90000"/>
              </a:lnSpc>
              <a:spcBef>
                <a:spcPct val="0"/>
              </a:spcBef>
              <a:buNone/>
              <a:defRPr sz="2400" b="1" kern="1200" baseline="0">
                <a:solidFill>
                  <a:schemeClr val="accent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pPr defTabSz="914400" fontAlgn="auto">
              <a:lnSpc>
                <a:spcPct val="100000"/>
              </a:lnSpc>
              <a:spcBef>
                <a:spcPts val="0"/>
              </a:spcBef>
              <a:spcAft>
                <a:spcPts val="0"/>
              </a:spcAft>
            </a:pPr>
            <a:r>
              <a:rPr lang="en-US" b="0" kern="0" dirty="0">
                <a:solidFill>
                  <a:schemeClr val="bg1">
                    <a:lumMod val="50000"/>
                  </a:schemeClr>
                </a:solidFill>
                <a:ea typeface="+mn-ea"/>
              </a:rPr>
              <a:t>Among the </a:t>
            </a:r>
            <a:r>
              <a:rPr lang="en-US" i="1" kern="0" dirty="0">
                <a:solidFill>
                  <a:srgbClr val="C00000"/>
                </a:solidFill>
                <a:ea typeface="+mn-ea"/>
              </a:rPr>
              <a:t>global forces </a:t>
            </a:r>
            <a:r>
              <a:rPr lang="en-US" b="0" kern="0" dirty="0">
                <a:solidFill>
                  <a:schemeClr val="bg1">
                    <a:lumMod val="50000"/>
                  </a:schemeClr>
                </a:solidFill>
                <a:ea typeface="+mn-ea"/>
              </a:rPr>
              <a:t>shaping the future operating environment, six are generating particularly significant strategic uncertainty. </a:t>
            </a:r>
          </a:p>
          <a:p>
            <a:pPr defTabSz="914400" fontAlgn="auto">
              <a:lnSpc>
                <a:spcPct val="100000"/>
              </a:lnSpc>
              <a:spcBef>
                <a:spcPts val="0"/>
              </a:spcBef>
              <a:spcAft>
                <a:spcPts val="0"/>
              </a:spcAft>
            </a:pPr>
            <a:r>
              <a:rPr lang="en-US" b="0" kern="0" dirty="0">
                <a:solidFill>
                  <a:schemeClr val="bg1">
                    <a:lumMod val="50000"/>
                  </a:schemeClr>
                </a:solidFill>
                <a:ea typeface="+mn-ea"/>
              </a:rPr>
              <a:t>Other key factors considered were:</a:t>
            </a:r>
          </a:p>
          <a:p>
            <a:pPr marL="180975" indent="-180975" defTabSz="914400" fontAlgn="auto">
              <a:lnSpc>
                <a:spcPct val="100000"/>
              </a:lnSpc>
              <a:spcBef>
                <a:spcPts val="0"/>
              </a:spcBef>
              <a:spcAft>
                <a:spcPts val="0"/>
              </a:spcAft>
              <a:buClr>
                <a:srgbClr val="F18B1B"/>
              </a:buClr>
              <a:buFont typeface="Arial" panose="020B0604020202020204" pitchFamily="34" charset="0"/>
              <a:buChar char="•"/>
            </a:pPr>
            <a:r>
              <a:rPr lang="en-US" sz="1800" i="1" kern="0" dirty="0">
                <a:ea typeface="+mn-ea"/>
              </a:rPr>
              <a:t>Net Zero imperatives</a:t>
            </a:r>
          </a:p>
          <a:p>
            <a:pPr marL="180975" indent="-180975" defTabSz="914400" fontAlgn="auto">
              <a:lnSpc>
                <a:spcPct val="100000"/>
              </a:lnSpc>
              <a:spcBef>
                <a:spcPts val="0"/>
              </a:spcBef>
              <a:spcAft>
                <a:spcPts val="0"/>
              </a:spcAft>
              <a:buClr>
                <a:srgbClr val="F18B1B"/>
              </a:buClr>
              <a:buFont typeface="Arial" panose="020B0604020202020204" pitchFamily="34" charset="0"/>
              <a:buChar char="•"/>
            </a:pPr>
            <a:r>
              <a:rPr lang="en-US" sz="1800" i="1" kern="0" dirty="0">
                <a:ea typeface="+mn-ea"/>
              </a:rPr>
              <a:t>Hydrogen economy developments</a:t>
            </a:r>
          </a:p>
          <a:p>
            <a:pPr marL="180975" indent="-180975" defTabSz="914400" fontAlgn="auto">
              <a:lnSpc>
                <a:spcPct val="100000"/>
              </a:lnSpc>
              <a:spcBef>
                <a:spcPts val="0"/>
              </a:spcBef>
              <a:spcAft>
                <a:spcPts val="0"/>
              </a:spcAft>
              <a:buClr>
                <a:srgbClr val="F18B1B"/>
              </a:buClr>
              <a:buFont typeface="Arial" panose="020B0604020202020204" pitchFamily="34" charset="0"/>
              <a:buChar char="•"/>
            </a:pPr>
            <a:r>
              <a:rPr lang="en-US" sz="1800" i="1" kern="0" dirty="0">
                <a:ea typeface="+mn-ea"/>
              </a:rPr>
              <a:t>Just transition</a:t>
            </a:r>
          </a:p>
          <a:p>
            <a:pPr marL="180975" indent="-180975" defTabSz="914400" fontAlgn="auto">
              <a:lnSpc>
                <a:spcPct val="100000"/>
              </a:lnSpc>
              <a:spcBef>
                <a:spcPts val="0"/>
              </a:spcBef>
              <a:spcAft>
                <a:spcPts val="0"/>
              </a:spcAft>
              <a:buClr>
                <a:srgbClr val="F18B1B"/>
              </a:buClr>
              <a:buFont typeface="Arial" panose="020B0604020202020204" pitchFamily="34" charset="0"/>
              <a:buChar char="•"/>
            </a:pPr>
            <a:r>
              <a:rPr lang="en-US" sz="1800" i="1" kern="0" dirty="0">
                <a:ea typeface="+mn-ea"/>
              </a:rPr>
              <a:t>IRP Targets</a:t>
            </a:r>
          </a:p>
          <a:p>
            <a:pPr marL="342900" indent="-342900" defTabSz="914400" fontAlgn="auto">
              <a:lnSpc>
                <a:spcPct val="100000"/>
              </a:lnSpc>
              <a:spcBef>
                <a:spcPts val="0"/>
              </a:spcBef>
              <a:spcAft>
                <a:spcPts val="0"/>
              </a:spcAft>
              <a:buFont typeface="Arial" panose="020B0604020202020204" pitchFamily="34" charset="0"/>
              <a:buChar char="•"/>
            </a:pPr>
            <a:endParaRPr lang="en-GB" sz="1800" b="0" kern="0" dirty="0">
              <a:solidFill>
                <a:schemeClr val="bg1">
                  <a:lumMod val="50000"/>
                </a:schemeClr>
              </a:solidFill>
              <a:ea typeface="+mn-ea"/>
            </a:endParaRPr>
          </a:p>
        </p:txBody>
      </p:sp>
      <p:grpSp>
        <p:nvGrpSpPr>
          <p:cNvPr id="7" name="Group 6">
            <a:extLst>
              <a:ext uri="{FF2B5EF4-FFF2-40B4-BE49-F238E27FC236}">
                <a16:creationId xmlns:a16="http://schemas.microsoft.com/office/drawing/2014/main" xmlns="" id="{D6F75706-680E-4155-82C8-6FF4EC31F8C3}"/>
              </a:ext>
            </a:extLst>
          </p:cNvPr>
          <p:cNvGrpSpPr/>
          <p:nvPr/>
        </p:nvGrpSpPr>
        <p:grpSpPr>
          <a:xfrm>
            <a:off x="3087052" y="927105"/>
            <a:ext cx="9403030" cy="5804382"/>
            <a:chOff x="3048000" y="0"/>
            <a:chExt cx="9144000" cy="6858000"/>
          </a:xfrm>
        </p:grpSpPr>
        <p:sp>
          <p:nvSpPr>
            <p:cNvPr id="8" name="Grid6">
              <a:extLst>
                <a:ext uri="{FF2B5EF4-FFF2-40B4-BE49-F238E27FC236}">
                  <a16:creationId xmlns:a16="http://schemas.microsoft.com/office/drawing/2014/main" xmlns="" id="{3A91A849-4D67-4323-8774-A972557EDE37}"/>
                </a:ext>
              </a:extLst>
            </p:cNvPr>
            <p:cNvSpPr/>
            <p:nvPr/>
          </p:nvSpPr>
          <p:spPr bwMode="gray">
            <a:xfrm>
              <a:off x="9144000" y="3429000"/>
              <a:ext cx="3048000" cy="3429000"/>
            </a:xfrm>
            <a:prstGeom prst="rect">
              <a:avLst/>
            </a:prstGeom>
            <a:solidFill>
              <a:schemeClr val="bg1">
                <a:lumMod val="95000"/>
              </a:schemeClr>
            </a:solidFill>
            <a:ln w="9525" cap="flat" cmpd="sng" algn="ctr">
              <a:solidFill>
                <a:schemeClr val="tx2"/>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9" name="Grid5">
              <a:extLst>
                <a:ext uri="{FF2B5EF4-FFF2-40B4-BE49-F238E27FC236}">
                  <a16:creationId xmlns:a16="http://schemas.microsoft.com/office/drawing/2014/main" xmlns="" id="{627B471D-8B30-44F6-988B-BD383FC7FDCA}"/>
                </a:ext>
              </a:extLst>
            </p:cNvPr>
            <p:cNvSpPr/>
            <p:nvPr/>
          </p:nvSpPr>
          <p:spPr bwMode="gray">
            <a:xfrm>
              <a:off x="6096000" y="3429000"/>
              <a:ext cx="3048000" cy="3429000"/>
            </a:xfrm>
            <a:prstGeom prst="rect">
              <a:avLst/>
            </a:prstGeom>
            <a:solidFill>
              <a:schemeClr val="accent5">
                <a:lumMod val="20000"/>
                <a:lumOff val="80000"/>
              </a:schemeClr>
            </a:solidFill>
            <a:ln w="9525" cap="flat" cmpd="sng" algn="ctr">
              <a:solidFill>
                <a:schemeClr val="tx2"/>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10" name="Grid4">
              <a:extLst>
                <a:ext uri="{FF2B5EF4-FFF2-40B4-BE49-F238E27FC236}">
                  <a16:creationId xmlns:a16="http://schemas.microsoft.com/office/drawing/2014/main" xmlns="" id="{344DDEC4-6639-419C-BF2F-8AA8860F4CA4}"/>
                </a:ext>
              </a:extLst>
            </p:cNvPr>
            <p:cNvSpPr/>
            <p:nvPr/>
          </p:nvSpPr>
          <p:spPr bwMode="gray">
            <a:xfrm>
              <a:off x="3048000" y="3429000"/>
              <a:ext cx="3048000" cy="3429000"/>
            </a:xfrm>
            <a:prstGeom prst="rect">
              <a:avLst/>
            </a:prstGeom>
            <a:solidFill>
              <a:srgbClr val="F5F5F5"/>
            </a:solidFill>
            <a:ln w="9525" cap="flat" cmpd="sng" algn="ctr">
              <a:solidFill>
                <a:schemeClr val="tx2"/>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11" name="Grid3">
              <a:extLst>
                <a:ext uri="{FF2B5EF4-FFF2-40B4-BE49-F238E27FC236}">
                  <a16:creationId xmlns:a16="http://schemas.microsoft.com/office/drawing/2014/main" xmlns="" id="{78C564CD-B25D-4425-9B56-0BC14609B2A9}"/>
                </a:ext>
              </a:extLst>
            </p:cNvPr>
            <p:cNvSpPr/>
            <p:nvPr/>
          </p:nvSpPr>
          <p:spPr bwMode="gray">
            <a:xfrm>
              <a:off x="9144000" y="0"/>
              <a:ext cx="3048000" cy="3429000"/>
            </a:xfrm>
            <a:prstGeom prst="rect">
              <a:avLst/>
            </a:prstGeom>
            <a:solidFill>
              <a:schemeClr val="accent5">
                <a:lumMod val="20000"/>
                <a:lumOff val="80000"/>
              </a:schemeClr>
            </a:solidFill>
            <a:ln w="9525" cap="flat" cmpd="sng" algn="ctr">
              <a:solidFill>
                <a:schemeClr val="tx2"/>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12" name="Grid2">
              <a:extLst>
                <a:ext uri="{FF2B5EF4-FFF2-40B4-BE49-F238E27FC236}">
                  <a16:creationId xmlns:a16="http://schemas.microsoft.com/office/drawing/2014/main" xmlns="" id="{94F39C49-5338-4C15-90C5-AE6949ED473F}"/>
                </a:ext>
              </a:extLst>
            </p:cNvPr>
            <p:cNvSpPr/>
            <p:nvPr/>
          </p:nvSpPr>
          <p:spPr bwMode="gray">
            <a:xfrm>
              <a:off x="6096000" y="0"/>
              <a:ext cx="3048000" cy="3429000"/>
            </a:xfrm>
            <a:prstGeom prst="rect">
              <a:avLst/>
            </a:prstGeom>
            <a:solidFill>
              <a:schemeClr val="bg1">
                <a:lumMod val="95000"/>
              </a:schemeClr>
            </a:solidFill>
            <a:ln w="9525" cap="flat" cmpd="sng" algn="ctr">
              <a:solidFill>
                <a:schemeClr val="tx2"/>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13" name="Grid1">
              <a:extLst>
                <a:ext uri="{FF2B5EF4-FFF2-40B4-BE49-F238E27FC236}">
                  <a16:creationId xmlns:a16="http://schemas.microsoft.com/office/drawing/2014/main" xmlns="" id="{284A077E-1540-4FE0-8A49-E3A1538791C1}"/>
                </a:ext>
              </a:extLst>
            </p:cNvPr>
            <p:cNvSpPr/>
            <p:nvPr/>
          </p:nvSpPr>
          <p:spPr bwMode="gray">
            <a:xfrm>
              <a:off x="3048000" y="0"/>
              <a:ext cx="3048000" cy="3429000"/>
            </a:xfrm>
            <a:prstGeom prst="rect">
              <a:avLst/>
            </a:prstGeom>
            <a:solidFill>
              <a:schemeClr val="accent5">
                <a:lumMod val="20000"/>
                <a:lumOff val="80000"/>
              </a:schemeClr>
            </a:solidFill>
            <a:ln w="9525" cap="flat" cmpd="sng" algn="ctr">
              <a:solidFill>
                <a:schemeClr val="tx2"/>
              </a:solidFill>
              <a:prstDash val="solid"/>
              <a:miter lim="800000"/>
            </a:ln>
            <a:effectLst/>
          </p:spPr>
          <p:txBody>
            <a:bodyPr rot="0" spcFirstLastPara="0" vertOverflow="overflow" horzOverflow="overflow" vert="horz" wrap="square" lIns="73152" tIns="73152" rIns="73152" bIns="73152"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pitchFamily="34" charset="0"/>
              </a:endParaRPr>
            </a:p>
          </p:txBody>
        </p:sp>
      </p:grpSp>
      <p:sp>
        <p:nvSpPr>
          <p:cNvPr id="14" name="Process0">
            <a:extLst>
              <a:ext uri="{FF2B5EF4-FFF2-40B4-BE49-F238E27FC236}">
                <a16:creationId xmlns:a16="http://schemas.microsoft.com/office/drawing/2014/main" xmlns="" id="{922A5679-4F45-4022-9BBE-40F66733030D}"/>
              </a:ext>
            </a:extLst>
          </p:cNvPr>
          <p:cNvSpPr txBox="1"/>
          <p:nvPr/>
        </p:nvSpPr>
        <p:spPr>
          <a:xfrm>
            <a:off x="3210231" y="914889"/>
            <a:ext cx="343043"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4800" b="1" dirty="0">
                <a:solidFill>
                  <a:srgbClr val="F18B1B"/>
                </a:solidFill>
                <a:latin typeface="Arial" panose="020B0604020202020204" pitchFamily="34" charset="0"/>
                <a:cs typeface="Arial" pitchFamily="34" charset="0"/>
              </a:rPr>
              <a:t>1</a:t>
            </a:r>
          </a:p>
        </p:txBody>
      </p:sp>
      <p:sp>
        <p:nvSpPr>
          <p:cNvPr id="15" name="Process0">
            <a:extLst>
              <a:ext uri="{FF2B5EF4-FFF2-40B4-BE49-F238E27FC236}">
                <a16:creationId xmlns:a16="http://schemas.microsoft.com/office/drawing/2014/main" xmlns="" id="{C7385114-4520-4599-85C3-9AC84E1E3A62}"/>
              </a:ext>
            </a:extLst>
          </p:cNvPr>
          <p:cNvSpPr txBox="1"/>
          <p:nvPr/>
        </p:nvSpPr>
        <p:spPr>
          <a:xfrm>
            <a:off x="3210231" y="3878528"/>
            <a:ext cx="343043"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4800" b="1" dirty="0">
                <a:solidFill>
                  <a:srgbClr val="F18B1B"/>
                </a:solidFill>
                <a:latin typeface="Arial" panose="020B0604020202020204" pitchFamily="34" charset="0"/>
                <a:cs typeface="Arial" pitchFamily="34" charset="0"/>
              </a:rPr>
              <a:t>4</a:t>
            </a:r>
          </a:p>
        </p:txBody>
      </p:sp>
      <p:sp>
        <p:nvSpPr>
          <p:cNvPr id="16" name="Process0">
            <a:extLst>
              <a:ext uri="{FF2B5EF4-FFF2-40B4-BE49-F238E27FC236}">
                <a16:creationId xmlns:a16="http://schemas.microsoft.com/office/drawing/2014/main" xmlns="" id="{40F66D9D-A57E-4FF4-A136-77068DEF1889}"/>
              </a:ext>
            </a:extLst>
          </p:cNvPr>
          <p:cNvSpPr txBox="1"/>
          <p:nvPr/>
        </p:nvSpPr>
        <p:spPr>
          <a:xfrm>
            <a:off x="6499997" y="914889"/>
            <a:ext cx="343043"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4800" b="1" dirty="0">
                <a:solidFill>
                  <a:srgbClr val="F18B1B"/>
                </a:solidFill>
                <a:latin typeface="Arial" panose="020B0604020202020204" pitchFamily="34" charset="0"/>
                <a:cs typeface="Arial" pitchFamily="34" charset="0"/>
              </a:rPr>
              <a:t>2</a:t>
            </a:r>
          </a:p>
        </p:txBody>
      </p:sp>
      <p:sp>
        <p:nvSpPr>
          <p:cNvPr id="17" name="Process0">
            <a:extLst>
              <a:ext uri="{FF2B5EF4-FFF2-40B4-BE49-F238E27FC236}">
                <a16:creationId xmlns:a16="http://schemas.microsoft.com/office/drawing/2014/main" xmlns="" id="{6AB20384-6664-411C-82E2-2A49B6764A6C}"/>
              </a:ext>
            </a:extLst>
          </p:cNvPr>
          <p:cNvSpPr txBox="1"/>
          <p:nvPr/>
        </p:nvSpPr>
        <p:spPr>
          <a:xfrm>
            <a:off x="6499997" y="3878528"/>
            <a:ext cx="343043"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4800" b="1" dirty="0">
                <a:solidFill>
                  <a:srgbClr val="F18B1B"/>
                </a:solidFill>
                <a:latin typeface="Arial" panose="020B0604020202020204" pitchFamily="34" charset="0"/>
                <a:cs typeface="Arial" pitchFamily="34" charset="0"/>
              </a:rPr>
              <a:t>5</a:t>
            </a:r>
          </a:p>
        </p:txBody>
      </p:sp>
      <p:sp>
        <p:nvSpPr>
          <p:cNvPr id="18" name="Process0">
            <a:extLst>
              <a:ext uri="{FF2B5EF4-FFF2-40B4-BE49-F238E27FC236}">
                <a16:creationId xmlns:a16="http://schemas.microsoft.com/office/drawing/2014/main" xmlns="" id="{B29F627E-35B2-4479-A15A-089141A3B419}"/>
              </a:ext>
            </a:extLst>
          </p:cNvPr>
          <p:cNvSpPr txBox="1"/>
          <p:nvPr/>
        </p:nvSpPr>
        <p:spPr>
          <a:xfrm>
            <a:off x="9551036" y="914889"/>
            <a:ext cx="343043"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4800" b="1" dirty="0">
                <a:solidFill>
                  <a:srgbClr val="F18B1B"/>
                </a:solidFill>
                <a:latin typeface="Arial" panose="020B0604020202020204" pitchFamily="34" charset="0"/>
                <a:cs typeface="Arial" pitchFamily="34" charset="0"/>
              </a:rPr>
              <a:t>3</a:t>
            </a:r>
          </a:p>
        </p:txBody>
      </p:sp>
      <p:sp>
        <p:nvSpPr>
          <p:cNvPr id="19" name="Process0">
            <a:extLst>
              <a:ext uri="{FF2B5EF4-FFF2-40B4-BE49-F238E27FC236}">
                <a16:creationId xmlns:a16="http://schemas.microsoft.com/office/drawing/2014/main" xmlns="" id="{35489DEA-6D98-4DD6-9A0B-09D0C5DDD0AB}"/>
              </a:ext>
            </a:extLst>
          </p:cNvPr>
          <p:cNvSpPr txBox="1"/>
          <p:nvPr/>
        </p:nvSpPr>
        <p:spPr>
          <a:xfrm>
            <a:off x="9551036" y="3878528"/>
            <a:ext cx="343043"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4800" b="1" dirty="0">
                <a:solidFill>
                  <a:srgbClr val="F18B1B"/>
                </a:solidFill>
                <a:latin typeface="Arial" panose="020B0604020202020204" pitchFamily="34" charset="0"/>
                <a:cs typeface="Arial" pitchFamily="34" charset="0"/>
              </a:rPr>
              <a:t>6</a:t>
            </a:r>
          </a:p>
        </p:txBody>
      </p:sp>
      <p:grpSp>
        <p:nvGrpSpPr>
          <p:cNvPr id="20" name="Group 19">
            <a:extLst>
              <a:ext uri="{FF2B5EF4-FFF2-40B4-BE49-F238E27FC236}">
                <a16:creationId xmlns:a16="http://schemas.microsoft.com/office/drawing/2014/main" xmlns="" id="{3F03F75F-74E8-48CC-AE92-3330FDE88D3B}"/>
              </a:ext>
            </a:extLst>
          </p:cNvPr>
          <p:cNvGrpSpPr/>
          <p:nvPr/>
        </p:nvGrpSpPr>
        <p:grpSpPr>
          <a:xfrm>
            <a:off x="3307152" y="1801216"/>
            <a:ext cx="9125292" cy="3805709"/>
            <a:chOff x="4146471" y="457693"/>
            <a:chExt cx="9125292" cy="3805709"/>
          </a:xfrm>
        </p:grpSpPr>
        <p:sp>
          <p:nvSpPr>
            <p:cNvPr id="21" name="Process0">
              <a:extLst>
                <a:ext uri="{FF2B5EF4-FFF2-40B4-BE49-F238E27FC236}">
                  <a16:creationId xmlns:a16="http://schemas.microsoft.com/office/drawing/2014/main" xmlns="" id="{075D80A1-77CA-478A-8AF9-0013D33F1B1D}"/>
                </a:ext>
              </a:extLst>
            </p:cNvPr>
            <p:cNvSpPr txBox="1"/>
            <p:nvPr/>
          </p:nvSpPr>
          <p:spPr>
            <a:xfrm>
              <a:off x="4146471" y="457693"/>
              <a:ext cx="1946046"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2400" b="1" dirty="0">
                  <a:solidFill>
                    <a:schemeClr val="accent1"/>
                  </a:solidFill>
                  <a:latin typeface="Arial" panose="020B0604020202020204" pitchFamily="34" charset="0"/>
                  <a:cs typeface="Arial" pitchFamily="34" charset="0"/>
                </a:rPr>
                <a:t>Geo-political </a:t>
              </a:r>
              <a:br>
                <a:rPr lang="en-GB" sz="2400" b="1" dirty="0">
                  <a:solidFill>
                    <a:schemeClr val="accent1"/>
                  </a:solidFill>
                  <a:latin typeface="Arial" panose="020B0604020202020204" pitchFamily="34" charset="0"/>
                  <a:cs typeface="Arial" pitchFamily="34" charset="0"/>
                </a:rPr>
              </a:br>
              <a:r>
                <a:rPr lang="en-GB" sz="2400" b="1" dirty="0">
                  <a:solidFill>
                    <a:schemeClr val="accent1"/>
                  </a:solidFill>
                  <a:latin typeface="Arial" panose="020B0604020202020204" pitchFamily="34" charset="0"/>
                  <a:cs typeface="Arial" pitchFamily="34" charset="0"/>
                </a:rPr>
                <a:t>transition</a:t>
              </a:r>
            </a:p>
          </p:txBody>
        </p:sp>
        <p:sp>
          <p:nvSpPr>
            <p:cNvPr id="22" name="Process0">
              <a:extLst>
                <a:ext uri="{FF2B5EF4-FFF2-40B4-BE49-F238E27FC236}">
                  <a16:creationId xmlns:a16="http://schemas.microsoft.com/office/drawing/2014/main" xmlns="" id="{415E975F-BE08-45B7-AC05-FE6DBAC37268}"/>
                </a:ext>
              </a:extLst>
            </p:cNvPr>
            <p:cNvSpPr txBox="1"/>
            <p:nvPr/>
          </p:nvSpPr>
          <p:spPr>
            <a:xfrm>
              <a:off x="4146471" y="3266206"/>
              <a:ext cx="2128403"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2400" b="1" dirty="0">
                  <a:solidFill>
                    <a:schemeClr val="accent1"/>
                  </a:solidFill>
                  <a:latin typeface="Arial" panose="020B0604020202020204" pitchFamily="34" charset="0"/>
                  <a:cs typeface="Arial" pitchFamily="34" charset="0"/>
                </a:rPr>
                <a:t>Technological </a:t>
              </a:r>
              <a:br>
                <a:rPr lang="en-GB" sz="2400" b="1" dirty="0">
                  <a:solidFill>
                    <a:schemeClr val="accent1"/>
                  </a:solidFill>
                  <a:latin typeface="Arial" panose="020B0604020202020204" pitchFamily="34" charset="0"/>
                  <a:cs typeface="Arial" pitchFamily="34" charset="0"/>
                </a:rPr>
              </a:br>
              <a:r>
                <a:rPr lang="en-GB" sz="2400" b="1" dirty="0">
                  <a:solidFill>
                    <a:schemeClr val="accent1"/>
                  </a:solidFill>
                  <a:latin typeface="Arial" panose="020B0604020202020204" pitchFamily="34" charset="0"/>
                  <a:cs typeface="Arial" pitchFamily="34" charset="0"/>
                </a:rPr>
                <a:t>revolution</a:t>
              </a:r>
            </a:p>
          </p:txBody>
        </p:sp>
        <p:sp>
          <p:nvSpPr>
            <p:cNvPr id="23" name="Process0">
              <a:extLst>
                <a:ext uri="{FF2B5EF4-FFF2-40B4-BE49-F238E27FC236}">
                  <a16:creationId xmlns:a16="http://schemas.microsoft.com/office/drawing/2014/main" xmlns="" id="{7779C12C-F616-4BB2-B59C-D6C0C4F73874}"/>
                </a:ext>
              </a:extLst>
            </p:cNvPr>
            <p:cNvSpPr txBox="1"/>
            <p:nvPr/>
          </p:nvSpPr>
          <p:spPr>
            <a:xfrm>
              <a:off x="7280815" y="457693"/>
              <a:ext cx="2684962" cy="664797"/>
            </a:xfrm>
            <a:prstGeom prst="rect">
              <a:avLst/>
            </a:prstGeom>
            <a:noFill/>
            <a:ln w="6350" cap="flat">
              <a:noFill/>
              <a:miter lim="800000"/>
            </a:ln>
          </p:spPr>
          <p:txBody>
            <a:bodyPr vert="horz" wrap="square" lIns="0" tIns="0" rIns="0" bIns="0" rtlCol="0" anchor="t" anchorCtr="0">
              <a:spAutoFit/>
            </a:bodyPr>
            <a:lstStyle/>
            <a:p>
              <a:pPr fontAlgn="auto">
                <a:lnSpc>
                  <a:spcPct val="90000"/>
                </a:lnSpc>
                <a:spcBef>
                  <a:spcPts val="600"/>
                </a:spcBef>
                <a:spcAft>
                  <a:spcPts val="0"/>
                </a:spcAft>
                <a:buClr>
                  <a:srgbClr val="F2F2F2"/>
                </a:buClr>
              </a:pPr>
              <a:r>
                <a:rPr lang="en-GB" sz="2400" b="1" dirty="0">
                  <a:solidFill>
                    <a:schemeClr val="accent1"/>
                  </a:solidFill>
                  <a:latin typeface="Arial" panose="020B0604020202020204" pitchFamily="34" charset="0"/>
                  <a:cs typeface="Arial" pitchFamily="34" charset="0"/>
                </a:rPr>
                <a:t>“Geo-economic” </a:t>
              </a:r>
              <a:br>
                <a:rPr lang="en-GB" sz="2400" b="1" dirty="0">
                  <a:solidFill>
                    <a:schemeClr val="accent1"/>
                  </a:solidFill>
                  <a:latin typeface="Arial" panose="020B0604020202020204" pitchFamily="34" charset="0"/>
                  <a:cs typeface="Arial" pitchFamily="34" charset="0"/>
                </a:rPr>
              </a:br>
              <a:r>
                <a:rPr lang="en-GB" sz="2400" b="1" dirty="0">
                  <a:solidFill>
                    <a:schemeClr val="accent1"/>
                  </a:solidFill>
                  <a:latin typeface="Arial" panose="020B0604020202020204" pitchFamily="34" charset="0"/>
                  <a:cs typeface="Arial" pitchFamily="34" charset="0"/>
                </a:rPr>
                <a:t>disruption</a:t>
              </a:r>
            </a:p>
          </p:txBody>
        </p:sp>
        <p:sp>
          <p:nvSpPr>
            <p:cNvPr id="24" name="Process0">
              <a:extLst>
                <a:ext uri="{FF2B5EF4-FFF2-40B4-BE49-F238E27FC236}">
                  <a16:creationId xmlns:a16="http://schemas.microsoft.com/office/drawing/2014/main" xmlns="" id="{FACD1180-7888-45D9-887A-53A526630920}"/>
                </a:ext>
              </a:extLst>
            </p:cNvPr>
            <p:cNvSpPr txBox="1"/>
            <p:nvPr/>
          </p:nvSpPr>
          <p:spPr>
            <a:xfrm>
              <a:off x="7116168" y="3266206"/>
              <a:ext cx="3053798" cy="997196"/>
            </a:xfrm>
            <a:prstGeom prst="rect">
              <a:avLst/>
            </a:prstGeom>
            <a:noFill/>
            <a:ln w="6350" cap="flat">
              <a:noFill/>
              <a:miter lim="800000"/>
            </a:ln>
          </p:spPr>
          <p:txBody>
            <a:bodyPr vert="horz" wrap="square" lIns="0" tIns="0" rIns="0" bIns="0" rtlCol="0" anchor="t" anchorCtr="0">
              <a:spAutoFit/>
            </a:bodyPr>
            <a:lstStyle/>
            <a:p>
              <a:pPr fontAlgn="auto">
                <a:lnSpc>
                  <a:spcPct val="90000"/>
                </a:lnSpc>
                <a:spcBef>
                  <a:spcPts val="600"/>
                </a:spcBef>
                <a:spcAft>
                  <a:spcPts val="0"/>
                </a:spcAft>
                <a:buClr>
                  <a:srgbClr val="F2F2F2"/>
                </a:buClr>
              </a:pPr>
              <a:r>
                <a:rPr lang="en-GB" sz="2400" b="1" dirty="0">
                  <a:solidFill>
                    <a:schemeClr val="accent1"/>
                  </a:solidFill>
                  <a:latin typeface="Arial" panose="020B0604020202020204" pitchFamily="34" charset="0"/>
                  <a:cs typeface="Arial" pitchFamily="34" charset="0"/>
                </a:rPr>
                <a:t>Environmental &amp; </a:t>
              </a:r>
              <a:br>
                <a:rPr lang="en-GB" sz="2400" b="1" dirty="0">
                  <a:solidFill>
                    <a:schemeClr val="accent1"/>
                  </a:solidFill>
                  <a:latin typeface="Arial" panose="020B0604020202020204" pitchFamily="34" charset="0"/>
                  <a:cs typeface="Arial" pitchFamily="34" charset="0"/>
                </a:rPr>
              </a:br>
              <a:r>
                <a:rPr lang="en-GB" sz="2400" b="1" dirty="0">
                  <a:solidFill>
                    <a:schemeClr val="accent1"/>
                  </a:solidFill>
                  <a:latin typeface="Arial" panose="020B0604020202020204" pitchFamily="34" charset="0"/>
                  <a:cs typeface="Arial" pitchFamily="34" charset="0"/>
                </a:rPr>
                <a:t>resource system </a:t>
              </a:r>
              <a:br>
                <a:rPr lang="en-GB" sz="2400" b="1" dirty="0">
                  <a:solidFill>
                    <a:schemeClr val="accent1"/>
                  </a:solidFill>
                  <a:latin typeface="Arial" panose="020B0604020202020204" pitchFamily="34" charset="0"/>
                  <a:cs typeface="Arial" pitchFamily="34" charset="0"/>
                </a:rPr>
              </a:br>
              <a:r>
                <a:rPr lang="en-GB" sz="2400" b="1" dirty="0">
                  <a:solidFill>
                    <a:schemeClr val="accent1"/>
                  </a:solidFill>
                  <a:latin typeface="Arial" panose="020B0604020202020204" pitchFamily="34" charset="0"/>
                  <a:cs typeface="Arial" pitchFamily="34" charset="0"/>
                </a:rPr>
                <a:t>disruption</a:t>
              </a:r>
            </a:p>
          </p:txBody>
        </p:sp>
        <p:sp>
          <p:nvSpPr>
            <p:cNvPr id="25" name="Process0">
              <a:extLst>
                <a:ext uri="{FF2B5EF4-FFF2-40B4-BE49-F238E27FC236}">
                  <a16:creationId xmlns:a16="http://schemas.microsoft.com/office/drawing/2014/main" xmlns="" id="{1F71FC82-2A4F-47D0-84C7-7B6871F8D01C}"/>
                </a:ext>
              </a:extLst>
            </p:cNvPr>
            <p:cNvSpPr txBox="1"/>
            <p:nvPr/>
          </p:nvSpPr>
          <p:spPr>
            <a:xfrm>
              <a:off x="10315826" y="457693"/>
              <a:ext cx="2955937" cy="664797"/>
            </a:xfrm>
            <a:prstGeom prst="rect">
              <a:avLst/>
            </a:prstGeom>
            <a:noFill/>
            <a:ln w="6350" cap="flat">
              <a:noFill/>
              <a:miter lim="800000"/>
            </a:ln>
          </p:spPr>
          <p:txBody>
            <a:bodyPr vert="horz" wrap="none" lIns="0" tIns="0" rIns="0" bIns="0" rtlCol="0" anchor="t" anchorCtr="0">
              <a:spAutoFit/>
            </a:bodyPr>
            <a:lstStyle/>
            <a:p>
              <a:pPr fontAlgn="auto">
                <a:lnSpc>
                  <a:spcPct val="90000"/>
                </a:lnSpc>
                <a:spcBef>
                  <a:spcPts val="600"/>
                </a:spcBef>
                <a:spcAft>
                  <a:spcPts val="0"/>
                </a:spcAft>
                <a:buClr>
                  <a:srgbClr val="F2F2F2"/>
                </a:buClr>
              </a:pPr>
              <a:r>
                <a:rPr lang="en-GB" sz="2400" b="1" dirty="0">
                  <a:solidFill>
                    <a:schemeClr val="accent1"/>
                  </a:solidFill>
                  <a:latin typeface="Arial" panose="020B0604020202020204" pitchFamily="34" charset="0"/>
                  <a:cs typeface="Arial" pitchFamily="34" charset="0"/>
                </a:rPr>
                <a:t>Socio-demographic </a:t>
              </a:r>
              <a:br>
                <a:rPr lang="en-GB" sz="2400" b="1" dirty="0">
                  <a:solidFill>
                    <a:schemeClr val="accent1"/>
                  </a:solidFill>
                  <a:latin typeface="Arial" panose="020B0604020202020204" pitchFamily="34" charset="0"/>
                  <a:cs typeface="Arial" pitchFamily="34" charset="0"/>
                </a:rPr>
              </a:br>
              <a:r>
                <a:rPr lang="en-GB" sz="2400" b="1" dirty="0">
                  <a:solidFill>
                    <a:schemeClr val="accent1"/>
                  </a:solidFill>
                  <a:latin typeface="Arial" panose="020B0604020202020204" pitchFamily="34" charset="0"/>
                  <a:cs typeface="Arial" pitchFamily="34" charset="0"/>
                </a:rPr>
                <a:t>shift</a:t>
              </a:r>
            </a:p>
          </p:txBody>
        </p:sp>
        <p:sp>
          <p:nvSpPr>
            <p:cNvPr id="26" name="Process0">
              <a:extLst>
                <a:ext uri="{FF2B5EF4-FFF2-40B4-BE49-F238E27FC236}">
                  <a16:creationId xmlns:a16="http://schemas.microsoft.com/office/drawing/2014/main" xmlns="" id="{B3DDBF8E-FEB7-49CE-86C6-E5DD56860D00}"/>
                </a:ext>
              </a:extLst>
            </p:cNvPr>
            <p:cNvSpPr txBox="1"/>
            <p:nvPr/>
          </p:nvSpPr>
          <p:spPr>
            <a:xfrm>
              <a:off x="10250512" y="3266206"/>
              <a:ext cx="2998343" cy="332399"/>
            </a:xfrm>
            <a:prstGeom prst="rect">
              <a:avLst/>
            </a:prstGeom>
            <a:noFill/>
            <a:ln w="6350" cap="flat">
              <a:noFill/>
              <a:miter lim="800000"/>
            </a:ln>
          </p:spPr>
          <p:txBody>
            <a:bodyPr vert="horz" wrap="square" lIns="0" tIns="0" rIns="0" bIns="0" rtlCol="0" anchor="t" anchorCtr="0">
              <a:spAutoFit/>
            </a:bodyPr>
            <a:lstStyle/>
            <a:p>
              <a:pPr fontAlgn="auto">
                <a:lnSpc>
                  <a:spcPct val="90000"/>
                </a:lnSpc>
                <a:spcBef>
                  <a:spcPts val="600"/>
                </a:spcBef>
                <a:spcAft>
                  <a:spcPts val="0"/>
                </a:spcAft>
                <a:buClr>
                  <a:srgbClr val="F2F2F2"/>
                </a:buClr>
              </a:pPr>
              <a:r>
                <a:rPr lang="en-GB" sz="2400" b="1" dirty="0">
                  <a:solidFill>
                    <a:schemeClr val="accent1"/>
                  </a:solidFill>
                  <a:latin typeface="Arial" panose="020B0604020202020204" pitchFamily="34" charset="0"/>
                  <a:cs typeface="Arial" pitchFamily="34" charset="0"/>
                </a:rPr>
                <a:t>COVID-19 pandemic</a:t>
              </a:r>
            </a:p>
          </p:txBody>
        </p:sp>
      </p:grpSp>
      <p:sp>
        <p:nvSpPr>
          <p:cNvPr id="27" name="Rectangle 26">
            <a:extLst>
              <a:ext uri="{FF2B5EF4-FFF2-40B4-BE49-F238E27FC236}">
                <a16:creationId xmlns:a16="http://schemas.microsoft.com/office/drawing/2014/main" xmlns="" id="{C6FC7FDC-4B16-49BF-9E66-01FEE492D7FF}"/>
              </a:ext>
            </a:extLst>
          </p:cNvPr>
          <p:cNvSpPr/>
          <p:nvPr/>
        </p:nvSpPr>
        <p:spPr>
          <a:xfrm>
            <a:off x="3102284" y="2472985"/>
            <a:ext cx="3158331" cy="1200329"/>
          </a:xfrm>
          <a:prstGeom prst="rect">
            <a:avLst/>
          </a:prstGeom>
        </p:spPr>
        <p:txBody>
          <a:bodyPr wrap="square" anchor="b">
            <a:spAutoFit/>
          </a:bodyPr>
          <a:lstStyle/>
          <a:p>
            <a:pPr fontAlgn="auto">
              <a:lnSpc>
                <a:spcPct val="90000"/>
              </a:lnSpc>
              <a:spcBef>
                <a:spcPts val="0"/>
              </a:spcBef>
              <a:spcAft>
                <a:spcPts val="0"/>
              </a:spcAft>
              <a:buClr>
                <a:srgbClr val="000000"/>
              </a:buClr>
              <a:defRPr/>
            </a:pPr>
            <a:r>
              <a:rPr lang="en-US" sz="1600" dirty="0">
                <a:solidFill>
                  <a:srgbClr val="000000"/>
                </a:solidFill>
                <a:latin typeface="Open Sans" panose="020B0606030504020204"/>
                <a:cs typeface="Arial" pitchFamily="34" charset="0"/>
              </a:rPr>
              <a:t>The fragile transition </a:t>
            </a:r>
            <a:br>
              <a:rPr lang="en-US" sz="1600" dirty="0">
                <a:solidFill>
                  <a:srgbClr val="000000"/>
                </a:solidFill>
                <a:latin typeface="Open Sans" panose="020B0606030504020204"/>
                <a:cs typeface="Arial" pitchFamily="34" charset="0"/>
              </a:rPr>
            </a:br>
            <a:r>
              <a:rPr lang="en-US" sz="1600" dirty="0">
                <a:solidFill>
                  <a:srgbClr val="000000"/>
                </a:solidFill>
                <a:latin typeface="Open Sans" panose="020B0606030504020204"/>
                <a:cs typeface="Arial" pitchFamily="34" charset="0"/>
              </a:rPr>
              <a:t>to an intensely competitive, </a:t>
            </a:r>
            <a:br>
              <a:rPr lang="en-US" sz="1600" dirty="0">
                <a:solidFill>
                  <a:srgbClr val="000000"/>
                </a:solidFill>
                <a:latin typeface="Open Sans" panose="020B0606030504020204"/>
                <a:cs typeface="Arial" pitchFamily="34" charset="0"/>
              </a:rPr>
            </a:br>
            <a:r>
              <a:rPr lang="en-US" sz="1600" dirty="0">
                <a:solidFill>
                  <a:srgbClr val="000000"/>
                </a:solidFill>
                <a:latin typeface="Open Sans" panose="020B0606030504020204"/>
                <a:cs typeface="Arial" pitchFamily="34" charset="0"/>
              </a:rPr>
              <a:t>multipolar international order  and balance of forces &amp; influence by China, Russia and the US.</a:t>
            </a:r>
          </a:p>
        </p:txBody>
      </p:sp>
      <p:sp>
        <p:nvSpPr>
          <p:cNvPr id="28" name="Rectangle 27">
            <a:extLst>
              <a:ext uri="{FF2B5EF4-FFF2-40B4-BE49-F238E27FC236}">
                <a16:creationId xmlns:a16="http://schemas.microsoft.com/office/drawing/2014/main" xmlns="" id="{29CC88FB-768D-44D9-8CCE-6409C144D25B}"/>
              </a:ext>
            </a:extLst>
          </p:cNvPr>
          <p:cNvSpPr/>
          <p:nvPr/>
        </p:nvSpPr>
        <p:spPr>
          <a:xfrm>
            <a:off x="3102284" y="5752757"/>
            <a:ext cx="3158331" cy="978729"/>
          </a:xfrm>
          <a:prstGeom prst="rect">
            <a:avLst/>
          </a:prstGeom>
        </p:spPr>
        <p:txBody>
          <a:bodyPr wrap="square" anchor="b">
            <a:spAutoFit/>
          </a:bodyPr>
          <a:lstStyle/>
          <a:p>
            <a:pPr fontAlgn="auto">
              <a:lnSpc>
                <a:spcPct val="90000"/>
              </a:lnSpc>
              <a:spcBef>
                <a:spcPts val="0"/>
              </a:spcBef>
              <a:spcAft>
                <a:spcPts val="0"/>
              </a:spcAft>
              <a:buClr>
                <a:srgbClr val="000000"/>
              </a:buClr>
              <a:defRPr/>
            </a:pPr>
            <a:r>
              <a:rPr lang="en-GB" sz="1600" dirty="0">
                <a:solidFill>
                  <a:srgbClr val="000000"/>
                </a:solidFill>
                <a:latin typeface="Open Sans" panose="020B0606030504020204"/>
                <a:cs typeface="Arial" pitchFamily="34" charset="0"/>
              </a:rPr>
              <a:t>The transformative </a:t>
            </a:r>
            <a:br>
              <a:rPr lang="en-GB" sz="1600" dirty="0">
                <a:solidFill>
                  <a:srgbClr val="000000"/>
                </a:solidFill>
                <a:latin typeface="Open Sans" panose="020B0606030504020204"/>
                <a:cs typeface="Arial" pitchFamily="34" charset="0"/>
              </a:rPr>
            </a:br>
            <a:r>
              <a:rPr lang="en-GB" sz="1600" dirty="0">
                <a:solidFill>
                  <a:srgbClr val="000000"/>
                </a:solidFill>
                <a:latin typeface="Open Sans" panose="020B0606030504020204"/>
                <a:cs typeface="Arial" pitchFamily="34" charset="0"/>
              </a:rPr>
              <a:t>impact of the accelerating </a:t>
            </a:r>
            <a:br>
              <a:rPr lang="en-GB" sz="1600" dirty="0">
                <a:solidFill>
                  <a:srgbClr val="000000"/>
                </a:solidFill>
                <a:latin typeface="Open Sans" panose="020B0606030504020204"/>
                <a:cs typeface="Arial" pitchFamily="34" charset="0"/>
              </a:rPr>
            </a:br>
            <a:r>
              <a:rPr lang="en-GB" sz="1600" dirty="0">
                <a:solidFill>
                  <a:srgbClr val="000000"/>
                </a:solidFill>
                <a:latin typeface="Open Sans" panose="020B0606030504020204"/>
                <a:cs typeface="Arial" pitchFamily="34" charset="0"/>
              </a:rPr>
              <a:t>advance &amp; diffusion of technology</a:t>
            </a:r>
          </a:p>
        </p:txBody>
      </p:sp>
      <p:sp>
        <p:nvSpPr>
          <p:cNvPr id="29" name="Rectangle 28">
            <a:extLst>
              <a:ext uri="{FF2B5EF4-FFF2-40B4-BE49-F238E27FC236}">
                <a16:creationId xmlns:a16="http://schemas.microsoft.com/office/drawing/2014/main" xmlns="" id="{95186831-64B0-4D1F-8D3C-C511C71B1DE3}"/>
              </a:ext>
            </a:extLst>
          </p:cNvPr>
          <p:cNvSpPr/>
          <p:nvPr/>
        </p:nvSpPr>
        <p:spPr>
          <a:xfrm>
            <a:off x="6244700" y="2916832"/>
            <a:ext cx="3158331" cy="757130"/>
          </a:xfrm>
          <a:prstGeom prst="rect">
            <a:avLst/>
          </a:prstGeom>
        </p:spPr>
        <p:txBody>
          <a:bodyPr wrap="square" anchor="b">
            <a:spAutoFit/>
          </a:bodyPr>
          <a:lstStyle/>
          <a:p>
            <a:pPr fontAlgn="auto">
              <a:lnSpc>
                <a:spcPct val="90000"/>
              </a:lnSpc>
              <a:spcBef>
                <a:spcPts val="0"/>
              </a:spcBef>
              <a:spcAft>
                <a:spcPts val="0"/>
              </a:spcAft>
              <a:buClr>
                <a:srgbClr val="000000"/>
              </a:buClr>
              <a:defRPr/>
            </a:pPr>
            <a:r>
              <a:rPr lang="en-GB" sz="1600" dirty="0">
                <a:solidFill>
                  <a:srgbClr val="000000"/>
                </a:solidFill>
                <a:latin typeface="Open Sans" panose="020B0606030504020204"/>
                <a:cs typeface="Arial" pitchFamily="34" charset="0"/>
              </a:rPr>
              <a:t>The increasingly pervasive </a:t>
            </a:r>
            <a:br>
              <a:rPr lang="en-GB" sz="1600" dirty="0">
                <a:solidFill>
                  <a:srgbClr val="000000"/>
                </a:solidFill>
                <a:latin typeface="Open Sans" panose="020B0606030504020204"/>
                <a:cs typeface="Arial" pitchFamily="34" charset="0"/>
              </a:rPr>
            </a:br>
            <a:r>
              <a:rPr lang="en-GB" sz="1600" dirty="0">
                <a:solidFill>
                  <a:srgbClr val="000000"/>
                </a:solidFill>
                <a:latin typeface="Open Sans" panose="020B0606030504020204"/>
                <a:cs typeface="Arial" pitchFamily="34" charset="0"/>
              </a:rPr>
              <a:t>use of economic instruments </a:t>
            </a:r>
            <a:br>
              <a:rPr lang="en-GB" sz="1600" dirty="0">
                <a:solidFill>
                  <a:srgbClr val="000000"/>
                </a:solidFill>
                <a:latin typeface="Open Sans" panose="020B0606030504020204"/>
                <a:cs typeface="Arial" pitchFamily="34" charset="0"/>
              </a:rPr>
            </a:br>
            <a:r>
              <a:rPr lang="en-GB" sz="1600" dirty="0">
                <a:solidFill>
                  <a:srgbClr val="000000"/>
                </a:solidFill>
                <a:latin typeface="Open Sans" panose="020B0606030504020204"/>
                <a:cs typeface="Arial" pitchFamily="34" charset="0"/>
              </a:rPr>
              <a:t>for geostrategic purposes</a:t>
            </a:r>
          </a:p>
        </p:txBody>
      </p:sp>
      <p:sp>
        <p:nvSpPr>
          <p:cNvPr id="30" name="Rectangle 29">
            <a:extLst>
              <a:ext uri="{FF2B5EF4-FFF2-40B4-BE49-F238E27FC236}">
                <a16:creationId xmlns:a16="http://schemas.microsoft.com/office/drawing/2014/main" xmlns="" id="{60C170F5-DA03-4AC2-9AB0-70483F2FF2E6}"/>
              </a:ext>
            </a:extLst>
          </p:cNvPr>
          <p:cNvSpPr/>
          <p:nvPr/>
        </p:nvSpPr>
        <p:spPr>
          <a:xfrm>
            <a:off x="6244700" y="5752757"/>
            <a:ext cx="3158331" cy="978729"/>
          </a:xfrm>
          <a:prstGeom prst="rect">
            <a:avLst/>
          </a:prstGeom>
        </p:spPr>
        <p:txBody>
          <a:bodyPr wrap="square" anchor="b">
            <a:spAutoFit/>
          </a:bodyPr>
          <a:lstStyle/>
          <a:p>
            <a:pPr fontAlgn="auto">
              <a:lnSpc>
                <a:spcPct val="90000"/>
              </a:lnSpc>
              <a:spcBef>
                <a:spcPts val="0"/>
              </a:spcBef>
              <a:spcAft>
                <a:spcPts val="0"/>
              </a:spcAft>
              <a:buClr>
                <a:srgbClr val="000000"/>
              </a:buClr>
              <a:defRPr/>
            </a:pPr>
            <a:r>
              <a:rPr lang="en-GB" sz="1600" dirty="0">
                <a:solidFill>
                  <a:srgbClr val="000000"/>
                </a:solidFill>
                <a:latin typeface="Open Sans" panose="020B0606030504020204"/>
                <a:cs typeface="Arial" pitchFamily="34" charset="0"/>
              </a:rPr>
              <a:t>The disruptive cross-domain impact of </a:t>
            </a:r>
            <a:r>
              <a:rPr lang="en-GB" sz="1600" dirty="0">
                <a:solidFill>
                  <a:srgbClr val="C00000"/>
                </a:solidFill>
                <a:latin typeface="Open Sans" panose="020B0606030504020204"/>
                <a:cs typeface="Arial" pitchFamily="34" charset="0"/>
              </a:rPr>
              <a:t>climate change, </a:t>
            </a:r>
            <a:r>
              <a:rPr lang="en-GB" sz="1600" dirty="0">
                <a:solidFill>
                  <a:srgbClr val="000000"/>
                </a:solidFill>
                <a:latin typeface="Open Sans" panose="020B0606030504020204"/>
                <a:cs typeface="Arial" pitchFamily="34" charset="0"/>
              </a:rPr>
              <a:t>including intensifying strains on the global resource nexus</a:t>
            </a:r>
          </a:p>
        </p:txBody>
      </p:sp>
      <p:sp>
        <p:nvSpPr>
          <p:cNvPr id="31" name="Rectangle 30"/>
          <p:cNvSpPr/>
          <p:nvPr/>
        </p:nvSpPr>
        <p:spPr>
          <a:xfrm>
            <a:off x="9379043" y="5487565"/>
            <a:ext cx="3061850" cy="1200329"/>
          </a:xfrm>
          <a:prstGeom prst="rect">
            <a:avLst/>
          </a:prstGeom>
        </p:spPr>
        <p:txBody>
          <a:bodyPr wrap="square">
            <a:spAutoFit/>
          </a:bodyPr>
          <a:lstStyle/>
          <a:p>
            <a:pPr algn="just" fontAlgn="auto">
              <a:lnSpc>
                <a:spcPct val="90000"/>
              </a:lnSpc>
              <a:spcBef>
                <a:spcPts val="0"/>
              </a:spcBef>
              <a:spcAft>
                <a:spcPts val="0"/>
              </a:spcAft>
              <a:buClr>
                <a:srgbClr val="000000"/>
              </a:buClr>
              <a:defRPr/>
            </a:pPr>
            <a:r>
              <a:rPr lang="en-US" sz="1600" dirty="0">
                <a:solidFill>
                  <a:srgbClr val="000000"/>
                </a:solidFill>
                <a:latin typeface="Open Sans" panose="020B0606030504020204"/>
                <a:cs typeface="Arial" pitchFamily="34" charset="0"/>
              </a:rPr>
              <a:t>The impacts of COVID 19 on global economies and energy demand which influences investments as well as global vaccination programs to stem the Covid tide.</a:t>
            </a:r>
          </a:p>
        </p:txBody>
      </p:sp>
      <p:sp>
        <p:nvSpPr>
          <p:cNvPr id="32" name="Rectangle 31"/>
          <p:cNvSpPr/>
          <p:nvPr/>
        </p:nvSpPr>
        <p:spPr>
          <a:xfrm>
            <a:off x="9426336" y="2564744"/>
            <a:ext cx="3078889" cy="1200329"/>
          </a:xfrm>
          <a:prstGeom prst="rect">
            <a:avLst/>
          </a:prstGeom>
        </p:spPr>
        <p:txBody>
          <a:bodyPr wrap="square">
            <a:spAutoFit/>
          </a:bodyPr>
          <a:lstStyle/>
          <a:p>
            <a:pPr fontAlgn="auto">
              <a:lnSpc>
                <a:spcPct val="90000"/>
              </a:lnSpc>
              <a:spcBef>
                <a:spcPts val="0"/>
              </a:spcBef>
              <a:spcAft>
                <a:spcPts val="0"/>
              </a:spcAft>
              <a:buClr>
                <a:srgbClr val="000000"/>
              </a:buClr>
              <a:defRPr/>
            </a:pPr>
            <a:r>
              <a:rPr lang="en-US" sz="1600" dirty="0">
                <a:solidFill>
                  <a:srgbClr val="000000"/>
                </a:solidFill>
                <a:latin typeface="Open Sans" panose="020B0606030504020204"/>
                <a:cs typeface="Arial" pitchFamily="34" charset="0"/>
              </a:rPr>
              <a:t>The changing structure of the human population &amp; labor force and the evolution of social norms as well social migration in search of better opportunities</a:t>
            </a:r>
            <a:endParaRPr lang="en-ZA" sz="1600" dirty="0">
              <a:solidFill>
                <a:srgbClr val="000000"/>
              </a:solidFill>
              <a:latin typeface="Open Sans" panose="020B0606030504020204"/>
              <a:cs typeface="Arial" pitchFamily="34" charset="0"/>
            </a:endParaRPr>
          </a:p>
        </p:txBody>
      </p:sp>
    </p:spTree>
    <p:extLst>
      <p:ext uri="{BB962C8B-B14F-4D97-AF65-F5344CB8AC3E}">
        <p14:creationId xmlns:p14="http://schemas.microsoft.com/office/powerpoint/2010/main" xmlns="" val="1553996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Half Frame 12">
            <a:extLst>
              <a:ext uri="{FF2B5EF4-FFF2-40B4-BE49-F238E27FC236}">
                <a16:creationId xmlns:a16="http://schemas.microsoft.com/office/drawing/2014/main" xmlns="" id="{ECA56C17-27B9-4894-9359-5983B4F5F5BE}"/>
              </a:ext>
            </a:extLst>
          </p:cNvPr>
          <p:cNvSpPr>
            <a:spLocks noChangeAspect="1"/>
          </p:cNvSpPr>
          <p:nvPr/>
        </p:nvSpPr>
        <p:spPr>
          <a:xfrm rot="8057302">
            <a:off x="4954680" y="3467220"/>
            <a:ext cx="656415" cy="654750"/>
          </a:xfrm>
          <a:prstGeom prst="halfFrame">
            <a:avLst/>
          </a:prstGeom>
          <a:solidFill>
            <a:srgbClr val="FF9900"/>
          </a:solidFill>
          <a:ln w="25400" cap="flat" cmpd="sng" algn="ctr">
            <a:noFill/>
            <a:prstDash val="solid"/>
          </a:ln>
          <a:effectLst/>
          <a:scene3d>
            <a:camera prst="orthographicFront">
              <a:rot lat="240000" lon="240000" rev="0"/>
            </a:camera>
            <a:lightRig rig="threePt" dir="t"/>
          </a:scene3d>
        </p:spPr>
        <p:txBody>
          <a:bodyPr lIns="72009" tIns="72009" rIns="72009" bIns="72009" rtlCol="0" anchor="t"/>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 name="Title 1"/>
          <p:cNvSpPr>
            <a:spLocks noGrp="1"/>
          </p:cNvSpPr>
          <p:nvPr>
            <p:ph type="title"/>
          </p:nvPr>
        </p:nvSpPr>
        <p:spPr>
          <a:xfrm>
            <a:off x="179614" y="327030"/>
            <a:ext cx="8841922" cy="600075"/>
          </a:xfrm>
          <a:noFill/>
          <a:ln w="9525">
            <a:noFill/>
            <a:miter lim="800000"/>
            <a:headEnd/>
            <a:tailEnd/>
          </a:ln>
        </p:spPr>
        <p:txBody>
          <a:bodyPr vert="horz" wrap="square" lIns="0" tIns="45720" rIns="0" bIns="45720" numCol="1" anchor="ctr" anchorCtr="0" compatLnSpc="1">
            <a:prstTxWarp prst="textNoShape">
              <a:avLst/>
            </a:prstTxWarp>
          </a:bodyPr>
          <a:lstStyle/>
          <a:p>
            <a:r>
              <a:rPr lang="en-US" sz="2800" dirty="0">
                <a:solidFill>
                  <a:schemeClr val="accent1"/>
                </a:solidFill>
              </a:rPr>
              <a:t>Global Mega Trends influencing the Corporate Plan </a:t>
            </a:r>
            <a:endParaRPr lang="en-ZA" sz="2800" dirty="0">
              <a:solidFill>
                <a:schemeClr val="accent1"/>
              </a:solidFill>
            </a:endParaRPr>
          </a:p>
        </p:txBody>
      </p:sp>
      <p:sp>
        <p:nvSpPr>
          <p:cNvPr id="5" name="Slide Number Placeholder 4"/>
          <p:cNvSpPr>
            <a:spLocks noGrp="1"/>
          </p:cNvSpPr>
          <p:nvPr>
            <p:ph type="sldNum" sz="quarter" idx="4"/>
          </p:nvPr>
        </p:nvSpPr>
        <p:spPr/>
        <p:txBody>
          <a:bodyPr/>
          <a:lstStyle/>
          <a:p>
            <a:fld id="{F667033A-4247-4ED4-8A21-2B1E2D674746}" type="slidenum">
              <a:rPr lang="en-ZA" smtClean="0"/>
              <a:pPr/>
              <a:t>6</a:t>
            </a:fld>
            <a:endParaRPr lang="en-ZA" dirty="0"/>
          </a:p>
        </p:txBody>
      </p:sp>
      <p:sp>
        <p:nvSpPr>
          <p:cNvPr id="6" name="Title 1">
            <a:extLst>
              <a:ext uri="{FF2B5EF4-FFF2-40B4-BE49-F238E27FC236}">
                <a16:creationId xmlns:a16="http://schemas.microsoft.com/office/drawing/2014/main" xmlns="" id="{DDAF66EC-A9E1-46FB-8829-C1BE7F6E26C4}"/>
              </a:ext>
            </a:extLst>
          </p:cNvPr>
          <p:cNvSpPr txBox="1">
            <a:spLocks/>
          </p:cNvSpPr>
          <p:nvPr/>
        </p:nvSpPr>
        <p:spPr>
          <a:xfrm>
            <a:off x="97257" y="1086456"/>
            <a:ext cx="2622131" cy="3323987"/>
          </a:xfrm>
          <a:prstGeom prst="rect">
            <a:avLst/>
          </a:prstGeom>
          <a:noFill/>
          <a:ln w="6350">
            <a:noFill/>
            <a:miter lim="800000"/>
          </a:ln>
        </p:spPr>
        <p:txBody>
          <a:bodyPr vert="horz" wrap="square" lIns="0" tIns="0" rIns="0" bIns="0" rtlCol="0" anchor="t" anchorCtr="0">
            <a:spAutoFit/>
          </a:bodyPr>
          <a:lstStyle>
            <a:lvl1pPr marL="0" indent="0" algn="l" defTabSz="1263792" rtl="0" eaLnBrk="1" latinLnBrk="0" hangingPunct="1">
              <a:lnSpc>
                <a:spcPct val="90000"/>
              </a:lnSpc>
              <a:spcBef>
                <a:spcPct val="0"/>
              </a:spcBef>
              <a:buNone/>
              <a:defRPr sz="2400" b="1" kern="1200" baseline="0">
                <a:solidFill>
                  <a:schemeClr val="accent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stStyle>
          <a:p>
            <a:pPr defTabSz="914400" fontAlgn="auto">
              <a:lnSpc>
                <a:spcPct val="100000"/>
              </a:lnSpc>
              <a:spcBef>
                <a:spcPts val="0"/>
              </a:spcBef>
              <a:spcAft>
                <a:spcPts val="0"/>
              </a:spcAft>
            </a:pPr>
            <a:r>
              <a:rPr lang="en-GB" b="0" kern="0" dirty="0">
                <a:solidFill>
                  <a:schemeClr val="bg1">
                    <a:lumMod val="50000"/>
                  </a:schemeClr>
                </a:solidFill>
                <a:ea typeface="+mn-ea"/>
              </a:rPr>
              <a:t>Balancing numerous </a:t>
            </a:r>
            <a:r>
              <a:rPr lang="en-GB" i="1" kern="0" dirty="0">
                <a:solidFill>
                  <a:srgbClr val="C00000"/>
                </a:solidFill>
                <a:ea typeface="+mn-ea"/>
              </a:rPr>
              <a:t>megatrends &amp; forces</a:t>
            </a:r>
            <a:r>
              <a:rPr lang="en-GB" b="0" kern="0" dirty="0">
                <a:solidFill>
                  <a:schemeClr val="bg1">
                    <a:lumMod val="50000"/>
                  </a:schemeClr>
                </a:solidFill>
                <a:ea typeface="+mn-ea"/>
              </a:rPr>
              <a:t> of change, the CEF Group will need to establish a resilient, growth focused strategy &amp; corporate plan</a:t>
            </a:r>
          </a:p>
        </p:txBody>
      </p:sp>
      <p:sp>
        <p:nvSpPr>
          <p:cNvPr id="12" name="Rectangle 11">
            <a:extLst>
              <a:ext uri="{FF2B5EF4-FFF2-40B4-BE49-F238E27FC236}">
                <a16:creationId xmlns:a16="http://schemas.microsoft.com/office/drawing/2014/main" xmlns="" id="{6E6F15B8-EA2D-4417-A529-AEE4379F1244}"/>
              </a:ext>
            </a:extLst>
          </p:cNvPr>
          <p:cNvSpPr/>
          <p:nvPr/>
        </p:nvSpPr>
        <p:spPr>
          <a:xfrm>
            <a:off x="2806932" y="992258"/>
            <a:ext cx="2557666" cy="5865741"/>
          </a:xfrm>
          <a:prstGeom prst="rect">
            <a:avLst/>
          </a:prstGeom>
          <a:solidFill>
            <a:schemeClr val="accent3">
              <a:lumMod val="75000"/>
            </a:schemeClr>
          </a:solidFill>
          <a:ln w="25400" cap="flat" cmpd="sng" algn="ctr">
            <a:noFill/>
            <a:prstDash val="solid"/>
          </a:ln>
          <a:effectLst/>
        </p:spPr>
        <p:txBody>
          <a:bodyPr lIns="72009" tIns="72009" rIns="72009" bIns="72009" rtlCol="0" anchor="t"/>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GB" sz="18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xmlns="" id="{E8FCBA0D-E006-47E8-9AA4-DE70F9728348}"/>
              </a:ext>
            </a:extLst>
          </p:cNvPr>
          <p:cNvSpPr/>
          <p:nvPr/>
        </p:nvSpPr>
        <p:spPr>
          <a:xfrm>
            <a:off x="9840859" y="418733"/>
            <a:ext cx="2586668" cy="498598"/>
          </a:xfrm>
          <a:prstGeom prst="rect">
            <a:avLst/>
          </a:prstGeom>
          <a:noFill/>
          <a:ln w="6350" cap="flat" cmpd="sng" algn="ctr">
            <a:noFill/>
            <a:prstDash val="solid"/>
            <a:miter lim="800000"/>
          </a:ln>
          <a:effectLst/>
          <a:extLst>
            <a:ext uri="{909E8E84-426E-40DD-AFC4-6F175D3DCCD1}">
              <a14:hiddenFill xmlns:a14="http://schemas.microsoft.com/office/drawing/2010/main" xmlns="">
                <a:solidFill>
                  <a:schemeClr val="bg1">
                    <a:lumMod val="95000"/>
                  </a:schemeClr>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auto" latinLnBrk="0" hangingPunct="1">
              <a:lnSpc>
                <a:spcPct val="90000"/>
              </a:lnSpc>
              <a:spcBef>
                <a:spcPts val="900"/>
              </a:spcBef>
              <a:spcAft>
                <a:spcPts val="0"/>
              </a:spcAft>
              <a:buClrTx/>
              <a:buSzTx/>
              <a:buFontTx/>
              <a:buNone/>
              <a:tabLst/>
              <a:defRPr/>
            </a:pPr>
            <a:r>
              <a:rPr kumimoji="0" lang="en-GB" sz="1800" b="1" i="0" u="none" strike="noStrike" kern="0" cap="none" spc="0" normalizeH="0" baseline="0" noProof="0" dirty="0">
                <a:ln>
                  <a:noFill/>
                </a:ln>
                <a:solidFill>
                  <a:srgbClr val="7F7F7F"/>
                </a:solidFill>
                <a:effectLst/>
                <a:uLnTx/>
                <a:uFillTx/>
                <a:latin typeface="Arial" panose="020B0604020202020204"/>
                <a:ea typeface="+mn-ea"/>
                <a:cs typeface="Arial" pitchFamily="34" charset="0"/>
              </a:rPr>
              <a:t>Implications for CEF Group</a:t>
            </a:r>
          </a:p>
        </p:txBody>
      </p:sp>
      <p:sp>
        <p:nvSpPr>
          <p:cNvPr id="15" name="Text Placeholder 9">
            <a:extLst>
              <a:ext uri="{FF2B5EF4-FFF2-40B4-BE49-F238E27FC236}">
                <a16:creationId xmlns:a16="http://schemas.microsoft.com/office/drawing/2014/main" xmlns="" id="{C604692F-0E86-417B-A3B3-5B776DC1853B}"/>
              </a:ext>
            </a:extLst>
          </p:cNvPr>
          <p:cNvSpPr txBox="1">
            <a:spLocks/>
          </p:cNvSpPr>
          <p:nvPr/>
        </p:nvSpPr>
        <p:spPr>
          <a:xfrm>
            <a:off x="5812658" y="1467150"/>
            <a:ext cx="6479354" cy="553998"/>
          </a:xfrm>
          <a:prstGeom prst="rect">
            <a:avLst/>
          </a:prstGeom>
        </p:spPr>
        <p:txBody>
          <a:bodyPr vert="horz" wrap="square" lIns="0" tIns="0" rIns="0" bIns="0" rtlCol="0" anchorCtr="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200" kern="1200" noProof="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0000"/>
              </a:buClr>
              <a:buSzPct val="100000"/>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The CEF Group Corporate Plan was</a:t>
            </a:r>
            <a:r>
              <a:rPr kumimoji="0" lang="en-US" sz="2000" b="1" i="0" u="none" strike="noStrike" kern="1200" cap="none" spc="0" normalizeH="0" noProof="0" dirty="0">
                <a:ln>
                  <a:noFill/>
                </a:ln>
                <a:solidFill>
                  <a:srgbClr val="000000"/>
                </a:solidFill>
                <a:effectLst/>
                <a:uLnTx/>
                <a:uFillTx/>
                <a:latin typeface="Arial" panose="020B0604020202020204"/>
                <a:ea typeface="+mn-ea"/>
                <a:cs typeface="+mn-cs"/>
              </a:rPr>
              <a:t> </a:t>
            </a: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developed in an increasingly volatile &amp; unpredictable world</a:t>
            </a:r>
          </a:p>
        </p:txBody>
      </p:sp>
      <p:sp>
        <p:nvSpPr>
          <p:cNvPr id="16" name="Text Placeholder 9">
            <a:extLst>
              <a:ext uri="{FF2B5EF4-FFF2-40B4-BE49-F238E27FC236}">
                <a16:creationId xmlns:a16="http://schemas.microsoft.com/office/drawing/2014/main" xmlns="" id="{827AA0CF-B1FC-456C-876E-0599B1B1839F}"/>
              </a:ext>
            </a:extLst>
          </p:cNvPr>
          <p:cNvSpPr txBox="1">
            <a:spLocks/>
          </p:cNvSpPr>
          <p:nvPr/>
        </p:nvSpPr>
        <p:spPr>
          <a:xfrm>
            <a:off x="6720701" y="3371493"/>
            <a:ext cx="5659264" cy="997196"/>
          </a:xfrm>
          <a:prstGeom prst="rect">
            <a:avLst/>
          </a:prstGeom>
        </p:spPr>
        <p:txBody>
          <a:bodyPr vert="horz" wrap="square" lIns="0" tIns="0" rIns="0" bIns="0" rtlCol="0" anchorCtr="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200" kern="1200" noProof="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Need for </a:t>
            </a:r>
            <a:r>
              <a:rPr kumimoji="0" lang="en-US" sz="1800" b="0" i="1" u="none" strike="noStrike" kern="1200" cap="none" spc="0" normalizeH="0" baseline="0" noProof="0" dirty="0">
                <a:ln>
                  <a:noFill/>
                </a:ln>
                <a:solidFill>
                  <a:schemeClr val="accent1"/>
                </a:solidFill>
                <a:effectLst/>
                <a:uLnTx/>
                <a:uFillTx/>
                <a:latin typeface="Arial" panose="020B0604020202020204"/>
                <a:ea typeface="+mn-ea"/>
                <a:cs typeface="+mn-cs"/>
              </a:rPr>
              <a:t>i</a:t>
            </a:r>
            <a:r>
              <a:rPr kumimoji="0" lang="en-US" sz="1800" b="1" i="1" u="none" strike="noStrike" kern="1200" cap="none" spc="0" normalizeH="0" baseline="0" noProof="0" dirty="0">
                <a:ln>
                  <a:noFill/>
                </a:ln>
                <a:solidFill>
                  <a:schemeClr val="accent1"/>
                </a:solidFill>
                <a:effectLst/>
                <a:uLnTx/>
                <a:uFillTx/>
                <a:latin typeface="Arial" panose="020B0604020202020204"/>
                <a:ea typeface="+mn-ea"/>
                <a:cs typeface="+mn-cs"/>
              </a:rPr>
              <a:t>ncreased energy supply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nd availability in an increasingly fragmented, competitive value chain whilst</a:t>
            </a:r>
            <a:r>
              <a:rPr kumimoji="0" lang="en-US" sz="1800" b="0" i="0" u="none" strike="noStrike" kern="1200" cap="none" spc="0" normalizeH="0" noProof="0" dirty="0">
                <a:ln>
                  <a:noFill/>
                </a:ln>
                <a:solidFill>
                  <a:srgbClr val="000000"/>
                </a:solidFill>
                <a:effectLst/>
                <a:uLnTx/>
                <a:uFillTx/>
                <a:latin typeface="Arial" panose="020B0604020202020204"/>
                <a:ea typeface="+mn-ea"/>
                <a:cs typeface="+mn-cs"/>
              </a:rPr>
              <a:t> </a:t>
            </a:r>
            <a:r>
              <a:rPr kumimoji="0" lang="en-US" sz="1800" b="1" i="1" u="none" strike="noStrike" kern="1200" cap="none" spc="0" normalizeH="0" noProof="0" dirty="0">
                <a:ln>
                  <a:noFill/>
                </a:ln>
                <a:solidFill>
                  <a:schemeClr val="accent1"/>
                </a:solidFill>
                <a:effectLst/>
                <a:uLnTx/>
                <a:uFillTx/>
                <a:latin typeface="Arial" panose="020B0604020202020204"/>
                <a:ea typeface="+mn-ea"/>
                <a:cs typeface="+mn-cs"/>
              </a:rPr>
              <a:t>encouraging investments </a:t>
            </a:r>
            <a:r>
              <a:rPr kumimoji="0" lang="en-US" sz="1800" b="0" i="0" u="none" strike="noStrike" kern="1200" cap="none" spc="0" normalizeH="0" noProof="0" dirty="0">
                <a:ln>
                  <a:noFill/>
                </a:ln>
                <a:solidFill>
                  <a:srgbClr val="000000"/>
                </a:solidFill>
                <a:effectLst/>
                <a:uLnTx/>
                <a:uFillTx/>
                <a:latin typeface="Arial" panose="020B0604020202020204"/>
                <a:ea typeface="+mn-ea"/>
                <a:cs typeface="+mn-cs"/>
              </a:rPr>
              <a:t>to grow the economy </a:t>
            </a:r>
            <a:r>
              <a:rPr lang="en-US" sz="1800" dirty="0">
                <a:solidFill>
                  <a:srgbClr val="000000"/>
                </a:solidFill>
                <a:latin typeface="Arial" panose="020B0604020202020204"/>
              </a:rPr>
              <a:t>amid pressure from financial institutions.</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xmlns="" id="{6B5494BB-FAFC-4FCA-AABB-DE56C45C2117}"/>
              </a:ext>
            </a:extLst>
          </p:cNvPr>
          <p:cNvGrpSpPr/>
          <p:nvPr/>
        </p:nvGrpSpPr>
        <p:grpSpPr>
          <a:xfrm>
            <a:off x="5969000" y="4607378"/>
            <a:ext cx="586783" cy="586783"/>
            <a:chOff x="6474884" y="3806504"/>
            <a:chExt cx="762000" cy="838376"/>
          </a:xfrm>
        </p:grpSpPr>
        <p:pic>
          <p:nvPicPr>
            <p:cNvPr id="18" name="Graphic 40">
              <a:extLst>
                <a:ext uri="{FF2B5EF4-FFF2-40B4-BE49-F238E27FC236}">
                  <a16:creationId xmlns:a16="http://schemas.microsoft.com/office/drawing/2014/main" xmlns="" id="{230BFD5F-6BE4-4B9A-B49A-1DB22551E650}"/>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6636060" y="3806504"/>
              <a:ext cx="527267" cy="522927"/>
            </a:xfrm>
            <a:prstGeom prst="rect">
              <a:avLst/>
            </a:prstGeom>
          </p:spPr>
        </p:pic>
        <p:sp>
          <p:nvSpPr>
            <p:cNvPr id="19" name="Freeform: Shape 41">
              <a:extLst>
                <a:ext uri="{FF2B5EF4-FFF2-40B4-BE49-F238E27FC236}">
                  <a16:creationId xmlns:a16="http://schemas.microsoft.com/office/drawing/2014/main" xmlns="" id="{9C4C2379-7348-49F1-B5BD-3F0FBF1E5011}"/>
                </a:ext>
              </a:extLst>
            </p:cNvPr>
            <p:cNvSpPr/>
            <p:nvPr/>
          </p:nvSpPr>
          <p:spPr>
            <a:xfrm>
              <a:off x="6474884" y="4263880"/>
              <a:ext cx="762000" cy="381000"/>
            </a:xfrm>
            <a:custGeom>
              <a:avLst/>
              <a:gdLst>
                <a:gd name="connsiteX0" fmla="*/ 47625 w 762000"/>
                <a:gd name="connsiteY0" fmla="*/ 97631 h 381000"/>
                <a:gd name="connsiteX1" fmla="*/ 138113 w 762000"/>
                <a:gd name="connsiteY1" fmla="*/ 97631 h 381000"/>
                <a:gd name="connsiteX2" fmla="*/ 226219 w 762000"/>
                <a:gd name="connsiteY2" fmla="*/ 50006 h 381000"/>
                <a:gd name="connsiteX3" fmla="*/ 359569 w 762000"/>
                <a:gd name="connsiteY3" fmla="*/ 97631 h 381000"/>
                <a:gd name="connsiteX4" fmla="*/ 447675 w 762000"/>
                <a:gd name="connsiteY4" fmla="*/ 88106 h 381000"/>
                <a:gd name="connsiteX5" fmla="*/ 447675 w 762000"/>
                <a:gd name="connsiteY5" fmla="*/ 135731 h 381000"/>
                <a:gd name="connsiteX6" fmla="*/ 421481 w 762000"/>
                <a:gd name="connsiteY6" fmla="*/ 145256 h 381000"/>
                <a:gd name="connsiteX7" fmla="*/ 333375 w 762000"/>
                <a:gd name="connsiteY7" fmla="*/ 161925 h 381000"/>
                <a:gd name="connsiteX8" fmla="*/ 333375 w 762000"/>
                <a:gd name="connsiteY8" fmla="*/ 207169 h 381000"/>
                <a:gd name="connsiteX9" fmla="*/ 428625 w 762000"/>
                <a:gd name="connsiteY9" fmla="*/ 190500 h 381000"/>
                <a:gd name="connsiteX10" fmla="*/ 428625 w 762000"/>
                <a:gd name="connsiteY10" fmla="*/ 190500 h 381000"/>
                <a:gd name="connsiteX11" fmla="*/ 714375 w 762000"/>
                <a:gd name="connsiteY11" fmla="*/ 97631 h 381000"/>
                <a:gd name="connsiteX12" fmla="*/ 714375 w 762000"/>
                <a:gd name="connsiteY12" fmla="*/ 145256 h 381000"/>
                <a:gd name="connsiteX13" fmla="*/ 359569 w 762000"/>
                <a:gd name="connsiteY13" fmla="*/ 330994 h 381000"/>
                <a:gd name="connsiteX14" fmla="*/ 135731 w 762000"/>
                <a:gd name="connsiteY14" fmla="*/ 240506 h 381000"/>
                <a:gd name="connsiteX15" fmla="*/ 47625 w 762000"/>
                <a:gd name="connsiteY15" fmla="*/ 240506 h 381000"/>
                <a:gd name="connsiteX16" fmla="*/ 47625 w 762000"/>
                <a:gd name="connsiteY16" fmla="*/ 97631 h 381000"/>
                <a:gd name="connsiteX17" fmla="*/ 202406 w 762000"/>
                <a:gd name="connsiteY17" fmla="*/ 7144 h 381000"/>
                <a:gd name="connsiteX18" fmla="*/ 126206 w 762000"/>
                <a:gd name="connsiteY18" fmla="*/ 50006 h 381000"/>
                <a:gd name="connsiteX19" fmla="*/ 47625 w 762000"/>
                <a:gd name="connsiteY19" fmla="*/ 50006 h 381000"/>
                <a:gd name="connsiteX20" fmla="*/ 0 w 762000"/>
                <a:gd name="connsiteY20" fmla="*/ 50006 h 381000"/>
                <a:gd name="connsiteX21" fmla="*/ 0 w 762000"/>
                <a:gd name="connsiteY21" fmla="*/ 97631 h 381000"/>
                <a:gd name="connsiteX22" fmla="*/ 0 w 762000"/>
                <a:gd name="connsiteY22" fmla="*/ 240506 h 381000"/>
                <a:gd name="connsiteX23" fmla="*/ 0 w 762000"/>
                <a:gd name="connsiteY23" fmla="*/ 288131 h 381000"/>
                <a:gd name="connsiteX24" fmla="*/ 47625 w 762000"/>
                <a:gd name="connsiteY24" fmla="*/ 288131 h 381000"/>
                <a:gd name="connsiteX25" fmla="*/ 126206 w 762000"/>
                <a:gd name="connsiteY25" fmla="*/ 288131 h 381000"/>
                <a:gd name="connsiteX26" fmla="*/ 359569 w 762000"/>
                <a:gd name="connsiteY26" fmla="*/ 383381 h 381000"/>
                <a:gd name="connsiteX27" fmla="*/ 735806 w 762000"/>
                <a:gd name="connsiteY27" fmla="*/ 188119 h 381000"/>
                <a:gd name="connsiteX28" fmla="*/ 762000 w 762000"/>
                <a:gd name="connsiteY28" fmla="*/ 173831 h 381000"/>
                <a:gd name="connsiteX29" fmla="*/ 762000 w 762000"/>
                <a:gd name="connsiteY29" fmla="*/ 33337 h 381000"/>
                <a:gd name="connsiteX30" fmla="*/ 700088 w 762000"/>
                <a:gd name="connsiteY30" fmla="*/ 52388 h 381000"/>
                <a:gd name="connsiteX31" fmla="*/ 495300 w 762000"/>
                <a:gd name="connsiteY31" fmla="*/ 116681 h 381000"/>
                <a:gd name="connsiteX32" fmla="*/ 495300 w 762000"/>
                <a:gd name="connsiteY32" fmla="*/ 88106 h 381000"/>
                <a:gd name="connsiteX33" fmla="*/ 495300 w 762000"/>
                <a:gd name="connsiteY33" fmla="*/ 35719 h 381000"/>
                <a:gd name="connsiteX34" fmla="*/ 442913 w 762000"/>
                <a:gd name="connsiteY34" fmla="*/ 42863 h 381000"/>
                <a:gd name="connsiteX35" fmla="*/ 364331 w 762000"/>
                <a:gd name="connsiteY35" fmla="*/ 50006 h 381000"/>
                <a:gd name="connsiteX36" fmla="*/ 240506 w 762000"/>
                <a:gd name="connsiteY36" fmla="*/ 7144 h 381000"/>
                <a:gd name="connsiteX37" fmla="*/ 221456 w 762000"/>
                <a:gd name="connsiteY37" fmla="*/ 0 h 381000"/>
                <a:gd name="connsiteX38" fmla="*/ 202406 w 762000"/>
                <a:gd name="connsiteY38" fmla="*/ 71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62000" h="381000">
                  <a:moveTo>
                    <a:pt x="47625" y="97631"/>
                  </a:moveTo>
                  <a:lnTo>
                    <a:pt x="138113" y="97631"/>
                  </a:lnTo>
                  <a:lnTo>
                    <a:pt x="226219" y="50006"/>
                  </a:lnTo>
                  <a:lnTo>
                    <a:pt x="359569" y="97631"/>
                  </a:lnTo>
                  <a:lnTo>
                    <a:pt x="447675" y="88106"/>
                  </a:lnTo>
                  <a:lnTo>
                    <a:pt x="447675" y="135731"/>
                  </a:lnTo>
                  <a:lnTo>
                    <a:pt x="421481" y="145256"/>
                  </a:lnTo>
                  <a:lnTo>
                    <a:pt x="333375" y="161925"/>
                  </a:lnTo>
                  <a:lnTo>
                    <a:pt x="333375" y="207169"/>
                  </a:lnTo>
                  <a:lnTo>
                    <a:pt x="428625" y="190500"/>
                  </a:lnTo>
                  <a:lnTo>
                    <a:pt x="428625" y="190500"/>
                  </a:lnTo>
                  <a:lnTo>
                    <a:pt x="714375" y="97631"/>
                  </a:lnTo>
                  <a:lnTo>
                    <a:pt x="714375" y="145256"/>
                  </a:lnTo>
                  <a:lnTo>
                    <a:pt x="359569" y="330994"/>
                  </a:lnTo>
                  <a:lnTo>
                    <a:pt x="135731" y="240506"/>
                  </a:lnTo>
                  <a:lnTo>
                    <a:pt x="47625" y="240506"/>
                  </a:lnTo>
                  <a:lnTo>
                    <a:pt x="47625" y="97631"/>
                  </a:lnTo>
                  <a:close/>
                  <a:moveTo>
                    <a:pt x="202406" y="7144"/>
                  </a:moveTo>
                  <a:lnTo>
                    <a:pt x="126206" y="50006"/>
                  </a:lnTo>
                  <a:lnTo>
                    <a:pt x="47625" y="50006"/>
                  </a:lnTo>
                  <a:lnTo>
                    <a:pt x="0" y="50006"/>
                  </a:lnTo>
                  <a:lnTo>
                    <a:pt x="0" y="97631"/>
                  </a:lnTo>
                  <a:lnTo>
                    <a:pt x="0" y="240506"/>
                  </a:lnTo>
                  <a:lnTo>
                    <a:pt x="0" y="288131"/>
                  </a:lnTo>
                  <a:lnTo>
                    <a:pt x="47625" y="288131"/>
                  </a:lnTo>
                  <a:lnTo>
                    <a:pt x="126206" y="288131"/>
                  </a:lnTo>
                  <a:lnTo>
                    <a:pt x="359569" y="383381"/>
                  </a:lnTo>
                  <a:lnTo>
                    <a:pt x="735806" y="188119"/>
                  </a:lnTo>
                  <a:lnTo>
                    <a:pt x="762000" y="173831"/>
                  </a:lnTo>
                  <a:lnTo>
                    <a:pt x="762000" y="33337"/>
                  </a:lnTo>
                  <a:lnTo>
                    <a:pt x="700088" y="52388"/>
                  </a:lnTo>
                  <a:lnTo>
                    <a:pt x="495300" y="116681"/>
                  </a:lnTo>
                  <a:lnTo>
                    <a:pt x="495300" y="88106"/>
                  </a:lnTo>
                  <a:lnTo>
                    <a:pt x="495300" y="35719"/>
                  </a:lnTo>
                  <a:lnTo>
                    <a:pt x="442913" y="42863"/>
                  </a:lnTo>
                  <a:lnTo>
                    <a:pt x="364331" y="50006"/>
                  </a:lnTo>
                  <a:lnTo>
                    <a:pt x="240506" y="7144"/>
                  </a:lnTo>
                  <a:lnTo>
                    <a:pt x="221456" y="0"/>
                  </a:lnTo>
                  <a:lnTo>
                    <a:pt x="202406" y="7144"/>
                  </a:lnTo>
                  <a:close/>
                </a:path>
              </a:pathLst>
            </a:custGeom>
            <a:solidFill>
              <a:srgbClr val="7F7F7F"/>
            </a:solidFill>
            <a:ln w="238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ndParaRPr>
            </a:p>
          </p:txBody>
        </p:sp>
      </p:grpSp>
      <p:sp>
        <p:nvSpPr>
          <p:cNvPr id="20" name="Text Placeholder 9">
            <a:extLst>
              <a:ext uri="{FF2B5EF4-FFF2-40B4-BE49-F238E27FC236}">
                <a16:creationId xmlns:a16="http://schemas.microsoft.com/office/drawing/2014/main" xmlns="" id="{6180ABAD-0BEF-4332-BD09-638A06370317}"/>
              </a:ext>
            </a:extLst>
          </p:cNvPr>
          <p:cNvSpPr txBox="1">
            <a:spLocks/>
          </p:cNvSpPr>
          <p:nvPr/>
        </p:nvSpPr>
        <p:spPr>
          <a:xfrm>
            <a:off x="6720702" y="4507759"/>
            <a:ext cx="5280798" cy="747897"/>
          </a:xfrm>
          <a:prstGeom prst="rect">
            <a:avLst/>
          </a:prstGeom>
        </p:spPr>
        <p:txBody>
          <a:bodyPr vert="horz" wrap="square" lIns="0" tIns="0" rIns="0" bIns="0" rtlCol="0" anchorCtr="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200" kern="1200" noProof="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Navigation of the energy transition while </a:t>
            </a:r>
            <a:r>
              <a:rPr kumimoji="0" lang="en-US" sz="1800" b="1" i="1" u="none" strike="noStrike" kern="1200" cap="none" spc="0" normalizeH="0" baseline="0" noProof="0" dirty="0">
                <a:ln>
                  <a:noFill/>
                </a:ln>
                <a:solidFill>
                  <a:schemeClr val="accent1"/>
                </a:solidFill>
                <a:effectLst/>
                <a:uLnTx/>
                <a:uFillTx/>
                <a:latin typeface="Arial" panose="020B0604020202020204"/>
                <a:ea typeface="+mn-ea"/>
                <a:cs typeface="+mn-cs"/>
              </a:rPr>
              <a:t>providing opportunities to workers</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in legacy energy systems where jobs are at risk </a:t>
            </a:r>
          </a:p>
        </p:txBody>
      </p:sp>
      <p:grpSp>
        <p:nvGrpSpPr>
          <p:cNvPr id="21" name="Graphic 92">
            <a:extLst>
              <a:ext uri="{FF2B5EF4-FFF2-40B4-BE49-F238E27FC236}">
                <a16:creationId xmlns:a16="http://schemas.microsoft.com/office/drawing/2014/main" xmlns="" id="{98C20929-D892-4700-92CB-F9215B07AFEA}"/>
              </a:ext>
            </a:extLst>
          </p:cNvPr>
          <p:cNvGrpSpPr/>
          <p:nvPr/>
        </p:nvGrpSpPr>
        <p:grpSpPr>
          <a:xfrm>
            <a:off x="5956300" y="2349500"/>
            <a:ext cx="586782" cy="586784"/>
            <a:chOff x="9531096" y="3822443"/>
            <a:chExt cx="762001" cy="762001"/>
          </a:xfrm>
          <a:solidFill>
            <a:srgbClr val="7F7F7F"/>
          </a:solidFill>
        </p:grpSpPr>
        <p:sp>
          <p:nvSpPr>
            <p:cNvPr id="22" name="Freeform: Shape 43">
              <a:extLst>
                <a:ext uri="{FF2B5EF4-FFF2-40B4-BE49-F238E27FC236}">
                  <a16:creationId xmlns:a16="http://schemas.microsoft.com/office/drawing/2014/main" xmlns="" id="{584154DB-05DE-4D84-B384-BF2A5A934952}"/>
                </a:ext>
              </a:extLst>
            </p:cNvPr>
            <p:cNvSpPr/>
            <p:nvPr/>
          </p:nvSpPr>
          <p:spPr>
            <a:xfrm>
              <a:off x="9721596" y="3822443"/>
              <a:ext cx="571501" cy="619126"/>
            </a:xfrm>
            <a:custGeom>
              <a:avLst/>
              <a:gdLst>
                <a:gd name="connsiteX0" fmla="*/ 0 w 571500"/>
                <a:gd name="connsiteY0" fmla="*/ 0 h 619125"/>
                <a:gd name="connsiteX1" fmla="*/ 0 w 571500"/>
                <a:gd name="connsiteY1" fmla="*/ 619126 h 619125"/>
                <a:gd name="connsiteX2" fmla="*/ 571501 w 571500"/>
                <a:gd name="connsiteY2" fmla="*/ 619126 h 619125"/>
                <a:gd name="connsiteX3" fmla="*/ 571501 w 571500"/>
                <a:gd name="connsiteY3" fmla="*/ 0 h 619125"/>
                <a:gd name="connsiteX4" fmla="*/ 0 w 571500"/>
                <a:gd name="connsiteY4" fmla="*/ 0 h 619125"/>
                <a:gd name="connsiteX5" fmla="*/ 519589 w 571500"/>
                <a:gd name="connsiteY5" fmla="*/ 567453 h 619125"/>
                <a:gd name="connsiteX6" fmla="*/ 51911 w 571500"/>
                <a:gd name="connsiteY6" fmla="*/ 567453 h 619125"/>
                <a:gd name="connsiteX7" fmla="*/ 51911 w 571500"/>
                <a:gd name="connsiteY7" fmla="*/ 51673 h 619125"/>
                <a:gd name="connsiteX8" fmla="*/ 519589 w 571500"/>
                <a:gd name="connsiteY8" fmla="*/ 51673 h 619125"/>
                <a:gd name="connsiteX9" fmla="*/ 519589 w 571500"/>
                <a:gd name="connsiteY9" fmla="*/ 56745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0" h="619125">
                  <a:moveTo>
                    <a:pt x="0" y="0"/>
                  </a:moveTo>
                  <a:lnTo>
                    <a:pt x="0" y="619126"/>
                  </a:lnTo>
                  <a:lnTo>
                    <a:pt x="571501" y="619126"/>
                  </a:lnTo>
                  <a:lnTo>
                    <a:pt x="571501" y="0"/>
                  </a:lnTo>
                  <a:lnTo>
                    <a:pt x="0" y="0"/>
                  </a:lnTo>
                  <a:close/>
                  <a:moveTo>
                    <a:pt x="519589" y="567453"/>
                  </a:moveTo>
                  <a:lnTo>
                    <a:pt x="51911" y="567453"/>
                  </a:lnTo>
                  <a:lnTo>
                    <a:pt x="51911" y="51673"/>
                  </a:lnTo>
                  <a:lnTo>
                    <a:pt x="519589" y="51673"/>
                  </a:lnTo>
                  <a:lnTo>
                    <a:pt x="519589" y="567453"/>
                  </a:lnTo>
                  <a:close/>
                </a:path>
              </a:pathLst>
            </a:custGeom>
            <a:grpFill/>
            <a:ln w="238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ndParaRPr>
            </a:p>
          </p:txBody>
        </p:sp>
        <p:sp>
          <p:nvSpPr>
            <p:cNvPr id="23" name="Freeform: Shape 44">
              <a:extLst>
                <a:ext uri="{FF2B5EF4-FFF2-40B4-BE49-F238E27FC236}">
                  <a16:creationId xmlns:a16="http://schemas.microsoft.com/office/drawing/2014/main" xmlns="" id="{F3A73165-5603-462C-B582-B9220C01141F}"/>
                </a:ext>
              </a:extLst>
            </p:cNvPr>
            <p:cNvSpPr/>
            <p:nvPr/>
          </p:nvSpPr>
          <p:spPr>
            <a:xfrm>
              <a:off x="9531096" y="4298694"/>
              <a:ext cx="381001" cy="285750"/>
            </a:xfrm>
            <a:custGeom>
              <a:avLst/>
              <a:gdLst>
                <a:gd name="connsiteX0" fmla="*/ 0 w 381000"/>
                <a:gd name="connsiteY0" fmla="*/ 0 h 285750"/>
                <a:gd name="connsiteX1" fmla="*/ 0 w 381000"/>
                <a:gd name="connsiteY1" fmla="*/ 285750 h 285750"/>
                <a:gd name="connsiteX2" fmla="*/ 381001 w 381000"/>
                <a:gd name="connsiteY2" fmla="*/ 285750 h 285750"/>
                <a:gd name="connsiteX3" fmla="*/ 381001 w 381000"/>
                <a:gd name="connsiteY3" fmla="*/ 0 h 285750"/>
                <a:gd name="connsiteX4" fmla="*/ 0 w 381000"/>
                <a:gd name="connsiteY4" fmla="*/ 0 h 285750"/>
                <a:gd name="connsiteX5" fmla="*/ 333375 w 381000"/>
                <a:gd name="connsiteY5" fmla="*/ 238125 h 285750"/>
                <a:gd name="connsiteX6" fmla="*/ 47625 w 381000"/>
                <a:gd name="connsiteY6" fmla="*/ 238125 h 285750"/>
                <a:gd name="connsiteX7" fmla="*/ 47625 w 381000"/>
                <a:gd name="connsiteY7" fmla="*/ 47625 h 285750"/>
                <a:gd name="connsiteX8" fmla="*/ 333375 w 381000"/>
                <a:gd name="connsiteY8" fmla="*/ 47625 h 285750"/>
                <a:gd name="connsiteX9" fmla="*/ 333375 w 381000"/>
                <a:gd name="connsiteY9" fmla="*/ 238125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000" h="285750">
                  <a:moveTo>
                    <a:pt x="0" y="0"/>
                  </a:moveTo>
                  <a:lnTo>
                    <a:pt x="0" y="285750"/>
                  </a:lnTo>
                  <a:lnTo>
                    <a:pt x="381001" y="285750"/>
                  </a:lnTo>
                  <a:lnTo>
                    <a:pt x="381001" y="0"/>
                  </a:lnTo>
                  <a:lnTo>
                    <a:pt x="0" y="0"/>
                  </a:lnTo>
                  <a:close/>
                  <a:moveTo>
                    <a:pt x="333375" y="238125"/>
                  </a:moveTo>
                  <a:lnTo>
                    <a:pt x="47625" y="238125"/>
                  </a:lnTo>
                  <a:lnTo>
                    <a:pt x="47625" y="47625"/>
                  </a:lnTo>
                  <a:lnTo>
                    <a:pt x="333375" y="47625"/>
                  </a:lnTo>
                  <a:lnTo>
                    <a:pt x="333375" y="238125"/>
                  </a:lnTo>
                  <a:close/>
                </a:path>
              </a:pathLst>
            </a:custGeom>
            <a:grpFill/>
            <a:ln w="238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ndParaRPr>
            </a:p>
          </p:txBody>
        </p:sp>
        <p:sp>
          <p:nvSpPr>
            <p:cNvPr id="24" name="Freeform: Shape 45">
              <a:extLst>
                <a:ext uri="{FF2B5EF4-FFF2-40B4-BE49-F238E27FC236}">
                  <a16:creationId xmlns:a16="http://schemas.microsoft.com/office/drawing/2014/main" xmlns="" id="{BB0FC16D-8C97-4A81-B837-061DDC88CFA4}"/>
                </a:ext>
              </a:extLst>
            </p:cNvPr>
            <p:cNvSpPr/>
            <p:nvPr/>
          </p:nvSpPr>
          <p:spPr>
            <a:xfrm>
              <a:off x="9903524" y="3964128"/>
              <a:ext cx="285750" cy="285750"/>
            </a:xfrm>
            <a:custGeom>
              <a:avLst/>
              <a:gdLst>
                <a:gd name="connsiteX0" fmla="*/ 298133 w 285750"/>
                <a:gd name="connsiteY0" fmla="*/ 0 h 285750"/>
                <a:gd name="connsiteX1" fmla="*/ 96203 w 285750"/>
                <a:gd name="connsiteY1" fmla="*/ 238 h 285750"/>
                <a:gd name="connsiteX2" fmla="*/ 48578 w 285750"/>
                <a:gd name="connsiteY2" fmla="*/ 47863 h 285750"/>
                <a:gd name="connsiteX3" fmla="*/ 216932 w 285750"/>
                <a:gd name="connsiteY3" fmla="*/ 47625 h 285750"/>
                <a:gd name="connsiteX4" fmla="*/ 0 w 285750"/>
                <a:gd name="connsiteY4" fmla="*/ 265033 h 285750"/>
                <a:gd name="connsiteX5" fmla="*/ 33576 w 285750"/>
                <a:gd name="connsiteY5" fmla="*/ 298609 h 285750"/>
                <a:gd name="connsiteX6" fmla="*/ 250746 w 285750"/>
                <a:gd name="connsiteY6" fmla="*/ 81439 h 285750"/>
                <a:gd name="connsiteX7" fmla="*/ 250746 w 285750"/>
                <a:gd name="connsiteY7" fmla="*/ 249793 h 285750"/>
                <a:gd name="connsiteX8" fmla="*/ 298371 w 285750"/>
                <a:gd name="connsiteY8" fmla="*/ 20193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0" h="285750">
                  <a:moveTo>
                    <a:pt x="298133" y="0"/>
                  </a:moveTo>
                  <a:lnTo>
                    <a:pt x="96203" y="238"/>
                  </a:lnTo>
                  <a:lnTo>
                    <a:pt x="48578" y="47863"/>
                  </a:lnTo>
                  <a:lnTo>
                    <a:pt x="216932" y="47625"/>
                  </a:lnTo>
                  <a:lnTo>
                    <a:pt x="0" y="265033"/>
                  </a:lnTo>
                  <a:lnTo>
                    <a:pt x="33576" y="298609"/>
                  </a:lnTo>
                  <a:lnTo>
                    <a:pt x="250746" y="81439"/>
                  </a:lnTo>
                  <a:lnTo>
                    <a:pt x="250746" y="249793"/>
                  </a:lnTo>
                  <a:lnTo>
                    <a:pt x="298371" y="201930"/>
                  </a:lnTo>
                  <a:close/>
                </a:path>
              </a:pathLst>
            </a:custGeom>
            <a:grpFill/>
            <a:ln w="238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ndParaRPr>
            </a:p>
          </p:txBody>
        </p:sp>
      </p:grpSp>
      <p:sp>
        <p:nvSpPr>
          <p:cNvPr id="25" name="Rectangle 24">
            <a:extLst>
              <a:ext uri="{FF2B5EF4-FFF2-40B4-BE49-F238E27FC236}">
                <a16:creationId xmlns:a16="http://schemas.microsoft.com/office/drawing/2014/main" xmlns="" id="{B018B4F0-7682-4392-82FA-CD22F8AE5121}"/>
              </a:ext>
            </a:extLst>
          </p:cNvPr>
          <p:cNvSpPr/>
          <p:nvPr/>
        </p:nvSpPr>
        <p:spPr>
          <a:xfrm>
            <a:off x="5743062" y="992259"/>
            <a:ext cx="6684465" cy="367807"/>
          </a:xfrm>
          <a:prstGeom prst="rect">
            <a:avLst/>
          </a:prstGeom>
          <a:solidFill>
            <a:srgbClr val="7F7F7F"/>
          </a:solidFill>
          <a:ln w="28575" cap="flat" cmpd="sng" algn="ctr">
            <a:solidFill>
              <a:srgbClr val="7F7F7F"/>
            </a:solidFill>
            <a:prstDash val="solid"/>
            <a:miter lim="800000"/>
          </a:ln>
          <a:effectLst/>
        </p:spPr>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90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a:ea typeface="+mn-ea"/>
                <a:cs typeface="Arial" pitchFamily="34" charset="0"/>
              </a:rPr>
              <a:t>Overarching implication: Need for resilient, sustainable growth</a:t>
            </a:r>
          </a:p>
        </p:txBody>
      </p:sp>
      <p:sp>
        <p:nvSpPr>
          <p:cNvPr id="26" name="Freeform 4">
            <a:extLst>
              <a:ext uri="{FF2B5EF4-FFF2-40B4-BE49-F238E27FC236}">
                <a16:creationId xmlns:a16="http://schemas.microsoft.com/office/drawing/2014/main" xmlns="" id="{CD6D2B39-1239-4E5D-8845-8C0B831AB2BD}"/>
              </a:ext>
            </a:extLst>
          </p:cNvPr>
          <p:cNvSpPr>
            <a:spLocks/>
          </p:cNvSpPr>
          <p:nvPr/>
        </p:nvSpPr>
        <p:spPr bwMode="gray">
          <a:xfrm>
            <a:off x="5743063" y="1336898"/>
            <a:ext cx="6684464" cy="5440594"/>
          </a:xfrm>
          <a:prstGeom prst="rect">
            <a:avLst/>
          </a:prstGeom>
          <a:noFill/>
          <a:ln w="28575">
            <a:solidFill>
              <a:srgbClr val="7F7F7F"/>
            </a:solidFill>
            <a:miter lim="800000"/>
            <a:headEnd/>
            <a:tailEnd/>
          </a:ln>
        </p:spPr>
        <p:txBody>
          <a:bodyPr wrap="square" lIns="72009" tIns="72009" rIns="72009" bIns="72009" anchor="ctr">
            <a:noAutofit/>
          </a:bodyPr>
          <a:lstStyle/>
          <a:p>
            <a:pPr marL="0" marR="0" lvl="0" indent="0" defTabSz="914400" eaLnBrk="0" fontAlgn="auto" latinLnBrk="0" hangingPunct="0">
              <a:lnSpc>
                <a:spcPct val="90000"/>
              </a:lnSpc>
              <a:spcBef>
                <a:spcPts val="400"/>
              </a:spcBef>
              <a:spcAft>
                <a:spcPts val="0"/>
              </a:spcAft>
              <a:buClr>
                <a:srgbClr val="000000"/>
              </a:buClr>
              <a:buSzPct val="100000"/>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a:cs typeface="Arial" pitchFamily="34" charset="0"/>
            </a:endParaRPr>
          </a:p>
        </p:txBody>
      </p:sp>
      <p:grpSp>
        <p:nvGrpSpPr>
          <p:cNvPr id="27" name="Group 26">
            <a:extLst>
              <a:ext uri="{FF2B5EF4-FFF2-40B4-BE49-F238E27FC236}">
                <a16:creationId xmlns:a16="http://schemas.microsoft.com/office/drawing/2014/main" xmlns="" id="{57394EBF-59B1-4281-97DF-F4D9EE0E7E50}"/>
              </a:ext>
            </a:extLst>
          </p:cNvPr>
          <p:cNvGrpSpPr/>
          <p:nvPr/>
        </p:nvGrpSpPr>
        <p:grpSpPr>
          <a:xfrm>
            <a:off x="2944328" y="1027540"/>
            <a:ext cx="2282874" cy="5749952"/>
            <a:chOff x="3138276" y="898976"/>
            <a:chExt cx="1499958" cy="6654576"/>
          </a:xfrm>
        </p:grpSpPr>
        <p:sp>
          <p:nvSpPr>
            <p:cNvPr id="28" name="Rectangle 27">
              <a:extLst>
                <a:ext uri="{FF2B5EF4-FFF2-40B4-BE49-F238E27FC236}">
                  <a16:creationId xmlns:a16="http://schemas.microsoft.com/office/drawing/2014/main" xmlns="" id="{75F1F691-5BEE-4301-8DCF-DEA06AC1E85B}"/>
                </a:ext>
              </a:extLst>
            </p:cNvPr>
            <p:cNvSpPr/>
            <p:nvPr/>
          </p:nvSpPr>
          <p:spPr>
            <a:xfrm>
              <a:off x="3138276" y="898976"/>
              <a:ext cx="1499958" cy="670794"/>
            </a:xfrm>
            <a:prstGeom prst="rect">
              <a:avLst/>
            </a:prstGeom>
            <a:solidFill>
              <a:srgbClr val="FFFFFF"/>
            </a:solidFill>
            <a:ln w="25400" cap="flat" cmpd="sng" algn="ctr">
              <a:noFill/>
              <a:prstDash val="solid"/>
            </a:ln>
            <a:effectLst/>
          </p:spPr>
          <p:txBody>
            <a:bodyPr lIns="72009" tIns="72009" rIns="72009" bIns="72009"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Geo-political transition </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xmlns="" id="{B1320851-CFAA-49F9-970A-E67DEA89900B}"/>
                </a:ext>
              </a:extLst>
            </p:cNvPr>
            <p:cNvSpPr/>
            <p:nvPr/>
          </p:nvSpPr>
          <p:spPr>
            <a:xfrm>
              <a:off x="3138276" y="1680149"/>
              <a:ext cx="1499958" cy="886918"/>
            </a:xfrm>
            <a:prstGeom prst="rect">
              <a:avLst/>
            </a:prstGeom>
            <a:solidFill>
              <a:srgbClr val="FFFFFF"/>
            </a:solidFill>
            <a:ln w="25400" cap="flat" cmpd="sng" algn="ctr">
              <a:noFill/>
              <a:prstDash val="solid"/>
            </a:ln>
            <a:effectLst/>
          </p:spPr>
          <p:txBody>
            <a:bodyPr lIns="72009" tIns="72009" rIns="72009" bIns="72009"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Energy transition</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xmlns="" id="{4B497B3B-2BDB-413B-9E41-C37DEEC59464}"/>
                </a:ext>
              </a:extLst>
            </p:cNvPr>
            <p:cNvSpPr/>
            <p:nvPr/>
          </p:nvSpPr>
          <p:spPr>
            <a:xfrm>
              <a:off x="3138276" y="2677445"/>
              <a:ext cx="1499958" cy="886918"/>
            </a:xfrm>
            <a:prstGeom prst="rect">
              <a:avLst/>
            </a:prstGeom>
            <a:solidFill>
              <a:srgbClr val="FFFFFF"/>
            </a:solidFill>
            <a:ln w="25400" cap="flat" cmpd="sng" algn="ctr">
              <a:noFill/>
              <a:prstDash val="solid"/>
            </a:ln>
            <a:effectLst/>
          </p:spPr>
          <p:txBody>
            <a:bodyPr lIns="72009" tIns="72009" rIns="72009" bIns="72009"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Geo-economics” disruption</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xmlns="" id="{B005BED6-3BD2-42D0-9872-755BD1828E39}"/>
                </a:ext>
              </a:extLst>
            </p:cNvPr>
            <p:cNvSpPr/>
            <p:nvPr/>
          </p:nvSpPr>
          <p:spPr>
            <a:xfrm>
              <a:off x="3138276" y="3674742"/>
              <a:ext cx="1499958" cy="886918"/>
            </a:xfrm>
            <a:prstGeom prst="rect">
              <a:avLst/>
            </a:prstGeom>
            <a:solidFill>
              <a:srgbClr val="FFFFFF"/>
            </a:solidFill>
            <a:ln w="25400" cap="flat" cmpd="sng" algn="ctr">
              <a:noFill/>
              <a:prstDash val="solid"/>
            </a:ln>
            <a:effectLst/>
          </p:spPr>
          <p:txBody>
            <a:bodyPr lIns="72009" tIns="72009" rIns="72009" bIns="72009"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Socio-demographic </a:t>
              </a:r>
              <a:b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shift</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xmlns="" id="{92C601B0-EB67-4E51-8CE2-773C6667DACF}"/>
                </a:ext>
              </a:extLst>
            </p:cNvPr>
            <p:cNvSpPr/>
            <p:nvPr/>
          </p:nvSpPr>
          <p:spPr>
            <a:xfrm>
              <a:off x="3138276" y="4672039"/>
              <a:ext cx="1499958" cy="886918"/>
            </a:xfrm>
            <a:prstGeom prst="rect">
              <a:avLst/>
            </a:prstGeom>
            <a:solidFill>
              <a:srgbClr val="FFFFFF"/>
            </a:solidFill>
            <a:ln w="25400" cap="flat" cmpd="sng" algn="ctr">
              <a:noFill/>
              <a:prstDash val="solid"/>
            </a:ln>
            <a:effectLst/>
          </p:spPr>
          <p:txBody>
            <a:bodyPr lIns="72009" tIns="72009" rIns="72009" bIns="72009"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Technological </a:t>
              </a:r>
              <a:b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revolution</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xmlns="" id="{44871798-72B3-4B04-8E02-F696C67CAA31}"/>
                </a:ext>
              </a:extLst>
            </p:cNvPr>
            <p:cNvSpPr/>
            <p:nvPr/>
          </p:nvSpPr>
          <p:spPr>
            <a:xfrm>
              <a:off x="3138276" y="5669335"/>
              <a:ext cx="1499958" cy="886918"/>
            </a:xfrm>
            <a:prstGeom prst="rect">
              <a:avLst/>
            </a:prstGeom>
            <a:solidFill>
              <a:srgbClr val="FFFFFF"/>
            </a:solidFill>
            <a:ln w="25400" cap="flat" cmpd="sng" algn="ctr">
              <a:noFill/>
              <a:prstDash val="solid"/>
            </a:ln>
            <a:effectLst/>
          </p:spPr>
          <p:txBody>
            <a:bodyPr lIns="72009" tIns="72009" rIns="72009" bIns="72009"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Environmental &amp; resource system disruption</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xmlns="" id="{E72B4772-6744-4B5D-B6CF-E11AEBFBE318}"/>
                </a:ext>
              </a:extLst>
            </p:cNvPr>
            <p:cNvSpPr/>
            <p:nvPr/>
          </p:nvSpPr>
          <p:spPr>
            <a:xfrm>
              <a:off x="3138276" y="6666634"/>
              <a:ext cx="1499958" cy="886918"/>
            </a:xfrm>
            <a:prstGeom prst="rect">
              <a:avLst/>
            </a:prstGeom>
            <a:solidFill>
              <a:srgbClr val="FFFFFF"/>
            </a:solidFill>
            <a:ln w="25400" cap="flat" cmpd="sng" algn="ctr">
              <a:noFill/>
              <a:prstDash val="solid"/>
            </a:ln>
            <a:effectLst/>
          </p:spPr>
          <p:txBody>
            <a:bodyPr lIns="72009" tIns="72009" rIns="72009" bIns="72009" rtlCol="0"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mn-cs"/>
                </a:rPr>
                <a:t>COVID-19 pandemic</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sp>
        <p:nvSpPr>
          <p:cNvPr id="35" name="Text Placeholder 9">
            <a:extLst>
              <a:ext uri="{FF2B5EF4-FFF2-40B4-BE49-F238E27FC236}">
                <a16:creationId xmlns:a16="http://schemas.microsoft.com/office/drawing/2014/main" xmlns="" id="{FE115874-2DE5-4E3D-B49E-71F9B2DED055}"/>
              </a:ext>
            </a:extLst>
          </p:cNvPr>
          <p:cNvSpPr txBox="1">
            <a:spLocks/>
          </p:cNvSpPr>
          <p:nvPr/>
        </p:nvSpPr>
        <p:spPr>
          <a:xfrm>
            <a:off x="6720702" y="2372571"/>
            <a:ext cx="5445716" cy="747897"/>
          </a:xfrm>
          <a:prstGeom prst="rect">
            <a:avLst/>
          </a:prstGeom>
        </p:spPr>
        <p:txBody>
          <a:bodyPr vert="horz" wrap="square" lIns="0" tIns="0" rIns="0" bIns="0" rtlCol="0" anchorCtr="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200" kern="1200" noProof="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Need for resilience as global forces continuously increase in importance &amp; impact on local markets and</a:t>
            </a:r>
            <a:r>
              <a:rPr kumimoji="0" lang="en-US" sz="1800" b="0" i="0" u="none" strike="noStrike" kern="1200" cap="none" spc="0" normalizeH="0" noProof="0" dirty="0">
                <a:ln>
                  <a:noFill/>
                </a:ln>
                <a:solidFill>
                  <a:srgbClr val="000000"/>
                </a:solidFill>
                <a:effectLst/>
                <a:uLnTx/>
                <a:uFillTx/>
                <a:latin typeface="Arial" panose="020B0604020202020204"/>
                <a:ea typeface="+mn-ea"/>
                <a:cs typeface="+mn-cs"/>
              </a:rPr>
              <a:t> </a:t>
            </a:r>
            <a:r>
              <a:rPr kumimoji="0" lang="en-US" sz="1800" b="1" i="1" u="none" strike="noStrike" kern="1200" cap="none" spc="0" normalizeH="0" noProof="0" dirty="0" err="1">
                <a:ln>
                  <a:noFill/>
                </a:ln>
                <a:solidFill>
                  <a:schemeClr val="accent1"/>
                </a:solidFill>
                <a:effectLst/>
                <a:uLnTx/>
                <a:uFillTx/>
                <a:latin typeface="Arial" panose="020B0604020202020204"/>
                <a:ea typeface="+mn-ea"/>
                <a:cs typeface="+mn-cs"/>
              </a:rPr>
              <a:t>minimise</a:t>
            </a:r>
            <a:r>
              <a:rPr kumimoji="0" lang="en-US" sz="1800" b="1" i="1" u="none" strike="noStrike" kern="1200" cap="none" spc="0" normalizeH="0" noProof="0" dirty="0">
                <a:ln>
                  <a:noFill/>
                </a:ln>
                <a:solidFill>
                  <a:schemeClr val="accent1"/>
                </a:solidFill>
                <a:effectLst/>
                <a:uLnTx/>
                <a:uFillTx/>
                <a:latin typeface="Arial" panose="020B0604020202020204"/>
                <a:ea typeface="+mn-ea"/>
                <a:cs typeface="+mn-cs"/>
              </a:rPr>
              <a:t> dependency </a:t>
            </a:r>
            <a:r>
              <a:rPr kumimoji="0" lang="en-US" sz="1800" b="0" i="0" u="none" strike="noStrike" kern="1200" cap="none" spc="0" normalizeH="0" noProof="0" dirty="0">
                <a:ln>
                  <a:noFill/>
                </a:ln>
                <a:solidFill>
                  <a:srgbClr val="000000"/>
                </a:solidFill>
                <a:effectLst/>
                <a:uLnTx/>
                <a:uFillTx/>
                <a:latin typeface="Arial" panose="020B0604020202020204"/>
                <a:ea typeface="+mn-ea"/>
                <a:cs typeface="+mn-cs"/>
              </a:rPr>
              <a:t>on multinationals</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36" name="Graphic 78">
            <a:extLst>
              <a:ext uri="{FF2B5EF4-FFF2-40B4-BE49-F238E27FC236}">
                <a16:creationId xmlns:a16="http://schemas.microsoft.com/office/drawing/2014/main" xmlns="" id="{12CBE168-C959-4F4E-BB1C-D5270F79B414}"/>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 xmlns:asvg="http://schemas.microsoft.com/office/drawing/2016/SVG/main" r:embed="rId5"/>
              </a:ext>
            </a:extLst>
          </a:blip>
          <a:stretch>
            <a:fillRect/>
          </a:stretch>
        </p:blipFill>
        <p:spPr>
          <a:xfrm>
            <a:off x="5969000" y="3327400"/>
            <a:ext cx="586784" cy="586784"/>
          </a:xfrm>
          <a:prstGeom prst="rect">
            <a:avLst/>
          </a:prstGeom>
        </p:spPr>
      </p:pic>
      <p:sp>
        <p:nvSpPr>
          <p:cNvPr id="37" name="Text Placeholder 9">
            <a:extLst>
              <a:ext uri="{FF2B5EF4-FFF2-40B4-BE49-F238E27FC236}">
                <a16:creationId xmlns:a16="http://schemas.microsoft.com/office/drawing/2014/main" xmlns="" id="{B2AA8438-6DF1-43F5-9067-D002BA09C472}"/>
              </a:ext>
            </a:extLst>
          </p:cNvPr>
          <p:cNvSpPr txBox="1">
            <a:spLocks/>
          </p:cNvSpPr>
          <p:nvPr/>
        </p:nvSpPr>
        <p:spPr>
          <a:xfrm>
            <a:off x="6720702" y="5493331"/>
            <a:ext cx="5280798" cy="747897"/>
          </a:xfrm>
          <a:prstGeom prst="rect">
            <a:avLst/>
          </a:prstGeom>
        </p:spPr>
        <p:txBody>
          <a:bodyPr vert="horz" wrap="square" lIns="0" tIns="0" rIns="0" bIns="0" rtlCol="0" anchorCtr="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200" kern="1200" noProof="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reating capabilities to compete &amp; embracing new </a:t>
            </a:r>
            <a:r>
              <a:rPr kumimoji="0" lang="en-US" sz="1800" b="1" i="1" u="none" strike="noStrike" kern="1200" cap="none" spc="0" normalizeH="0" baseline="0" noProof="0" dirty="0">
                <a:ln>
                  <a:noFill/>
                </a:ln>
                <a:solidFill>
                  <a:schemeClr val="accent1"/>
                </a:solidFill>
                <a:effectLst/>
                <a:uLnTx/>
                <a:uFillTx/>
                <a:latin typeface="Arial" panose="020B0604020202020204"/>
                <a:ea typeface="+mn-ea"/>
                <a:cs typeface="+mn-cs"/>
              </a:rPr>
              <a:t>partnership models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s market barriers breakdown and 4IR technologies are adopted</a:t>
            </a:r>
          </a:p>
        </p:txBody>
      </p:sp>
      <p:pic>
        <p:nvPicPr>
          <p:cNvPr id="38" name="Graphic 92">
            <a:extLst>
              <a:ext uri="{FF2B5EF4-FFF2-40B4-BE49-F238E27FC236}">
                <a16:creationId xmlns:a16="http://schemas.microsoft.com/office/drawing/2014/main" xmlns="" id="{EDDC3732-7AB8-4072-B52F-2A67C5BA12F6}"/>
              </a:ext>
            </a:extLst>
          </p:cNvPr>
          <p:cNvPicPr>
            <a:picLocks noChangeAspect="1"/>
          </p:cNvPicPr>
          <p:nvPr/>
        </p:nvPicPr>
        <p:blipFill>
          <a:blip r:embed="rId6" cstate="print">
            <a:extLst>
              <a:ext uri="{96DAC541-7B7A-43D3-8B79-37D633B846F1}">
                <asvg:svgBlip xmlns="" xmlns:asvg="http://schemas.microsoft.com/office/drawing/2016/SVG/main" r:embed="rId7"/>
              </a:ext>
            </a:extLst>
          </a:blip>
          <a:stretch>
            <a:fillRect/>
          </a:stretch>
        </p:blipFill>
        <p:spPr>
          <a:xfrm>
            <a:off x="5959804" y="5486615"/>
            <a:ext cx="608517" cy="586784"/>
          </a:xfrm>
          <a:prstGeom prst="rect">
            <a:avLst/>
          </a:prstGeom>
        </p:spPr>
      </p:pic>
    </p:spTree>
    <p:extLst>
      <p:ext uri="{BB962C8B-B14F-4D97-AF65-F5344CB8AC3E}">
        <p14:creationId xmlns:p14="http://schemas.microsoft.com/office/powerpoint/2010/main" xmlns="" val="3013974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0" tIns="45720" rIns="0" bIns="45720" numCol="1" anchor="ctr" anchorCtr="0" compatLnSpc="1">
            <a:prstTxWarp prst="textNoShape">
              <a:avLst/>
            </a:prstTxWarp>
          </a:bodyPr>
          <a:lstStyle/>
          <a:p>
            <a:r>
              <a:rPr lang="en-US" sz="2800" dirty="0">
                <a:solidFill>
                  <a:schemeClr val="accent1"/>
                </a:solidFill>
              </a:rPr>
              <a:t>Local Outlook</a:t>
            </a:r>
            <a:endParaRPr lang="en-ZA" sz="2800" dirty="0">
              <a:solidFill>
                <a:schemeClr val="accent1"/>
              </a:solidFill>
            </a:endParaRPr>
          </a:p>
        </p:txBody>
      </p:sp>
      <p:sp>
        <p:nvSpPr>
          <p:cNvPr id="5" name="Slide Number Placeholder 4"/>
          <p:cNvSpPr>
            <a:spLocks noGrp="1"/>
          </p:cNvSpPr>
          <p:nvPr>
            <p:ph type="sldNum" sz="quarter" idx="4"/>
          </p:nvPr>
        </p:nvSpPr>
        <p:spPr/>
        <p:txBody>
          <a:bodyPr/>
          <a:lstStyle/>
          <a:p>
            <a:fld id="{F667033A-4247-4ED4-8A21-2B1E2D674746}" type="slidenum">
              <a:rPr lang="en-ZA" smtClean="0"/>
              <a:pPr/>
              <a:t>7</a:t>
            </a:fld>
            <a:endParaRPr lang="en-ZA" dirty="0"/>
          </a:p>
        </p:txBody>
      </p:sp>
      <p:sp>
        <p:nvSpPr>
          <p:cNvPr id="6" name="Rectangle 5"/>
          <p:cNvSpPr/>
          <p:nvPr/>
        </p:nvSpPr>
        <p:spPr>
          <a:xfrm>
            <a:off x="122464" y="1062942"/>
            <a:ext cx="3348023" cy="51090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300" b="1" i="0" u="none" strike="noStrike" kern="0" cap="none" spc="0" normalizeH="0" baseline="0" noProof="0" dirty="0">
                <a:ln>
                  <a:noFill/>
                </a:ln>
                <a:solidFill>
                  <a:schemeClr val="bg1">
                    <a:lumMod val="50000"/>
                  </a:schemeClr>
                </a:solidFill>
                <a:effectLst/>
                <a:uLnTx/>
                <a:uFillTx/>
                <a:latin typeface="Arial" panose="020B0604020202020204" pitchFamily="34" charset="0"/>
                <a:cs typeface="Arial" panose="020B0604020202020204" pitchFamily="34" charset="0"/>
                <a:sym typeface="Arial" panose="020B0604020202020204" pitchFamily="34" charset="0"/>
              </a:rPr>
              <a:t>Prior to COVID-19, SA’s economy was already depressed, and is being coming under further pressure with the unfolding of COVID-19</a:t>
            </a:r>
          </a:p>
          <a:p>
            <a:pPr marL="0" marR="0" lvl="0" indent="0" defTabSz="914400" eaLnBrk="1" fontAlgn="auto" latinLnBrk="0" hangingPunct="1">
              <a:lnSpc>
                <a:spcPct val="100000"/>
              </a:lnSpc>
              <a:spcBef>
                <a:spcPts val="0"/>
              </a:spcBef>
              <a:spcAft>
                <a:spcPts val="0"/>
              </a:spcAft>
              <a:buClrTx/>
              <a:buSzTx/>
              <a:buFontTx/>
              <a:buNone/>
              <a:tabLst/>
              <a:defRPr/>
            </a:pPr>
            <a:r>
              <a:rPr lang="en-GB" sz="2300" b="1" kern="0" dirty="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Other key component key component were the following</a:t>
            </a:r>
          </a:p>
          <a:p>
            <a:pPr marL="271463" marR="0" lvl="0" indent="-271463" defTabSz="914400" eaLnBrk="1" fontAlgn="auto" latinLnBrk="0" hangingPunct="1">
              <a:lnSpc>
                <a:spcPct val="100000"/>
              </a:lnSpc>
              <a:spcBef>
                <a:spcPts val="0"/>
              </a:spcBef>
              <a:spcAft>
                <a:spcPts val="0"/>
              </a:spcAft>
              <a:buClrTx/>
              <a:buSzTx/>
              <a:buFont typeface="+mj-lt"/>
              <a:buAutoNum type="arabicPeriod"/>
              <a:tabLst/>
              <a:defRPr/>
            </a:pPr>
            <a:r>
              <a:rPr kumimoji="0" lang="en-GB" sz="1600" b="1" i="1"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sym typeface="Arial" panose="020B0604020202020204" pitchFamily="34" charset="0"/>
              </a:rPr>
              <a:t>Revised growth figures by SARB</a:t>
            </a:r>
          </a:p>
          <a:p>
            <a:pPr marL="271463" marR="0" lvl="0" indent="-271463" defTabSz="914400" eaLnBrk="1" fontAlgn="auto" latinLnBrk="0" hangingPunct="1">
              <a:lnSpc>
                <a:spcPct val="100000"/>
              </a:lnSpc>
              <a:spcBef>
                <a:spcPts val="0"/>
              </a:spcBef>
              <a:spcAft>
                <a:spcPts val="0"/>
              </a:spcAft>
              <a:buClrTx/>
              <a:buSzTx/>
              <a:buFont typeface="+mj-lt"/>
              <a:buAutoNum type="arabicPeriod"/>
              <a:tabLst/>
              <a:defRPr/>
            </a:pPr>
            <a:r>
              <a:rPr lang="en-GB" sz="1600" b="1" i="1" kern="0" dirty="0">
                <a:solidFill>
                  <a:schemeClr val="accent1"/>
                </a:solidFill>
                <a:latin typeface="Arial" panose="020B0604020202020204" pitchFamily="34" charset="0"/>
                <a:cs typeface="Arial" panose="020B0604020202020204" pitchFamily="34" charset="0"/>
                <a:sym typeface="Arial" panose="020B0604020202020204" pitchFamily="34" charset="0"/>
              </a:rPr>
              <a:t>Impact of July social unrest on future investments in he country and unemployment time bomb</a:t>
            </a:r>
            <a:r>
              <a:rPr lang="en-GB" sz="1600" i="1" kern="0" dirty="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a:t>
            </a:r>
            <a:endParaRPr kumimoji="0" lang="en-ZA" sz="1600" i="1" u="none" strike="noStrike" kern="0" cap="none" spc="0" normalizeH="0" baseline="0" noProof="0" dirty="0">
              <a:ln>
                <a:noFill/>
              </a:ln>
              <a:solidFill>
                <a:schemeClr val="tx2"/>
              </a:solidFill>
              <a:effectLst/>
              <a:uLnTx/>
              <a:uFillTx/>
            </a:endParaRPr>
          </a:p>
        </p:txBody>
      </p:sp>
      <p:sp>
        <p:nvSpPr>
          <p:cNvPr id="9" name="Rectangle 8">
            <a:extLst>
              <a:ext uri="{FF2B5EF4-FFF2-40B4-BE49-F238E27FC236}">
                <a16:creationId xmlns:a16="http://schemas.microsoft.com/office/drawing/2014/main" xmlns="" id="{377BF318-E94D-4E60-ABDB-643BBBD5EE1A}"/>
              </a:ext>
            </a:extLst>
          </p:cNvPr>
          <p:cNvSpPr/>
          <p:nvPr/>
        </p:nvSpPr>
        <p:spPr>
          <a:xfrm>
            <a:off x="4807168" y="843778"/>
            <a:ext cx="757233" cy="5107156"/>
          </a:xfrm>
          <a:prstGeom prst="rect">
            <a:avLst/>
          </a:prstGeom>
          <a:pattFill prst="ltDnDiag">
            <a:fgClr>
              <a:srgbClr val="8C3438">
                <a:lumMod val="40000"/>
                <a:lumOff val="60000"/>
              </a:srgbClr>
            </a:fgClr>
            <a:bgClr>
              <a:srgbClr val="FFFFFF"/>
            </a:bgClr>
          </a:patt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aphicFrame>
        <p:nvGraphicFramePr>
          <p:cNvPr id="10" name="Chart 9">
            <a:extLst>
              <a:ext uri="{FF2B5EF4-FFF2-40B4-BE49-F238E27FC236}">
                <a16:creationId xmlns:a16="http://schemas.microsoft.com/office/drawing/2014/main" xmlns="" id="{019F4923-1171-4C6D-B469-BC0171D75326}"/>
              </a:ext>
            </a:extLst>
          </p:cNvPr>
          <p:cNvGraphicFramePr/>
          <p:nvPr>
            <p:custDataLst>
              <p:tags r:id="rId1"/>
            </p:custDataLst>
          </p:nvPr>
        </p:nvGraphicFramePr>
        <p:xfrm>
          <a:off x="3355975" y="942975"/>
          <a:ext cx="5053013" cy="4751388"/>
        </p:xfrm>
        <a:graphic>
          <a:graphicData uri="http://schemas.openxmlformats.org/drawingml/2006/chart">
            <c:chart xmlns:c="http://schemas.openxmlformats.org/drawingml/2006/chart" xmlns:r="http://schemas.openxmlformats.org/officeDocument/2006/relationships" r:id="rId17"/>
          </a:graphicData>
        </a:graphic>
      </p:graphicFrame>
      <p:sp>
        <p:nvSpPr>
          <p:cNvPr id="11" name="Text Placeholder 2">
            <a:extLst>
              <a:ext uri="{FF2B5EF4-FFF2-40B4-BE49-F238E27FC236}">
                <a16:creationId xmlns:a16="http://schemas.microsoft.com/office/drawing/2014/main" xmlns="" id="{5C8CB49F-4F7D-4E27-9B51-4C6CAC4F68C9}"/>
              </a:ext>
            </a:extLst>
          </p:cNvPr>
          <p:cNvSpPr>
            <a:spLocks noGrp="1"/>
          </p:cNvSpPr>
          <p:nvPr>
            <p:custDataLst>
              <p:tags r:id="rId2"/>
            </p:custDataLst>
          </p:nvPr>
        </p:nvSpPr>
        <p:spPr bwMode="auto">
          <a:xfrm>
            <a:off x="5700713" y="5680075"/>
            <a:ext cx="36195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7AE29E91-6841-447C-9943-02C864CA4363}" type="datetime'''2''''''''''''''''''''''''''''''''''''''''''1''''F'''''''''">
              <a:rPr kumimoji="0" lang="en-GB" altLang="en-US" sz="16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21F</a:t>
            </a:fld>
            <a:endPar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2" name="Text Placeholder 2">
            <a:extLst>
              <a:ext uri="{FF2B5EF4-FFF2-40B4-BE49-F238E27FC236}">
                <a16:creationId xmlns:a16="http://schemas.microsoft.com/office/drawing/2014/main" xmlns="" id="{F5130473-CFD2-426D-A459-32DBBB3E23F0}"/>
              </a:ext>
            </a:extLst>
          </p:cNvPr>
          <p:cNvSpPr>
            <a:spLocks noGrp="1"/>
          </p:cNvSpPr>
          <p:nvPr>
            <p:custDataLst>
              <p:tags r:id="rId3"/>
            </p:custDataLst>
          </p:nvPr>
        </p:nvSpPr>
        <p:spPr bwMode="auto">
          <a:xfrm>
            <a:off x="3668713" y="5680075"/>
            <a:ext cx="238125"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DBB593C8-4046-4079-B731-234BCB2A5689}" type="datetime'1''''''''''''''''''''''''''''''''''''''''8'''''''''''''''''''">
              <a:rPr kumimoji="0" lang="en-GB" altLang="en-US" sz="16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18</a:t>
            </a:fld>
            <a:endPar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3" name="Text Placeholder 2">
            <a:extLst>
              <a:ext uri="{FF2B5EF4-FFF2-40B4-BE49-F238E27FC236}">
                <a16:creationId xmlns:a16="http://schemas.microsoft.com/office/drawing/2014/main" xmlns="" id="{2C48ED93-E895-457C-AFD1-02B97514E256}"/>
              </a:ext>
            </a:extLst>
          </p:cNvPr>
          <p:cNvSpPr>
            <a:spLocks noGrp="1"/>
          </p:cNvSpPr>
          <p:nvPr>
            <p:custDataLst>
              <p:tags r:id="rId4"/>
            </p:custDataLst>
          </p:nvPr>
        </p:nvSpPr>
        <p:spPr bwMode="gray">
          <a:xfrm>
            <a:off x="3527425" y="3278188"/>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4FE2FAED-73FA-4FA4-B80F-8085D8B2888B}" type="datetime'''''''0''.8''''''''''''%'''''''''''''''''''''''''''''''">
              <a:rPr kumimoji="0" lang="en-GB" altLang="en-US" sz="16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0.8%</a:t>
            </a:fld>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4" name="Text Placeholder 2">
            <a:extLst>
              <a:ext uri="{FF2B5EF4-FFF2-40B4-BE49-F238E27FC236}">
                <a16:creationId xmlns:a16="http://schemas.microsoft.com/office/drawing/2014/main" xmlns="" id="{F4BAC5EB-E5D8-47E6-854D-AF13B42F65A9}"/>
              </a:ext>
            </a:extLst>
          </p:cNvPr>
          <p:cNvSpPr>
            <a:spLocks noGrp="1"/>
          </p:cNvSpPr>
          <p:nvPr>
            <p:custDataLst>
              <p:tags r:id="rId5"/>
            </p:custDataLst>
          </p:nvPr>
        </p:nvSpPr>
        <p:spPr bwMode="gray">
          <a:xfrm>
            <a:off x="7018338" y="3044825"/>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0DA460B2-B016-42AA-95AD-54EEF6F1F4F3}" type="datetime'''''2.''''''''''4''''''''''''%'''">
              <a:rPr kumimoji="0" lang="en-GB" altLang="en-US" sz="16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2.4%</a:t>
            </a:fld>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5" name="Text Placeholder 2">
            <a:extLst>
              <a:ext uri="{FF2B5EF4-FFF2-40B4-BE49-F238E27FC236}">
                <a16:creationId xmlns:a16="http://schemas.microsoft.com/office/drawing/2014/main" xmlns="" id="{45645678-17BA-4E9D-828A-33E2616DFDD1}"/>
              </a:ext>
            </a:extLst>
          </p:cNvPr>
          <p:cNvSpPr>
            <a:spLocks noGrp="1"/>
          </p:cNvSpPr>
          <p:nvPr>
            <p:custDataLst>
              <p:tags r:id="rId6"/>
            </p:custDataLst>
          </p:nvPr>
        </p:nvSpPr>
        <p:spPr bwMode="auto">
          <a:xfrm>
            <a:off x="5003800" y="5680075"/>
            <a:ext cx="36195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E4BF8D1C-DFCD-460B-A4D8-31A66C73BCFA}" type="datetime'''''''''''''''''''''''2''''0''''''''''''''''''''''F'''''''''">
              <a:rPr kumimoji="0" lang="en-GB" altLang="en-US" sz="16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20F</a:t>
            </a:fld>
            <a:endPar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6" name="Text Placeholder 2">
            <a:extLst>
              <a:ext uri="{FF2B5EF4-FFF2-40B4-BE49-F238E27FC236}">
                <a16:creationId xmlns:a16="http://schemas.microsoft.com/office/drawing/2014/main" xmlns="" id="{245DBFDE-F6FD-4D07-A092-1F84EE71CCFF}"/>
              </a:ext>
            </a:extLst>
          </p:cNvPr>
          <p:cNvSpPr>
            <a:spLocks noGrp="1"/>
          </p:cNvSpPr>
          <p:nvPr>
            <p:custDataLst>
              <p:tags r:id="rId7"/>
            </p:custDataLst>
          </p:nvPr>
        </p:nvSpPr>
        <p:spPr bwMode="auto">
          <a:xfrm>
            <a:off x="4367213" y="5680075"/>
            <a:ext cx="238125"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34D70C36-9528-4383-87D2-C3091EEF7260}" type="datetime'''''''''''''''1''''''''''''''''''''''''''''9'''''''''''''''">
              <a:rPr kumimoji="0" lang="en-GB" altLang="en-US" sz="16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19</a:t>
            </a:fld>
            <a:endPar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7" name="Text Placeholder 2">
            <a:extLst>
              <a:ext uri="{FF2B5EF4-FFF2-40B4-BE49-F238E27FC236}">
                <a16:creationId xmlns:a16="http://schemas.microsoft.com/office/drawing/2014/main" xmlns="" id="{C6879344-84B9-40E4-86E3-A7FC4A9F642D}"/>
              </a:ext>
            </a:extLst>
          </p:cNvPr>
          <p:cNvSpPr>
            <a:spLocks noGrp="1"/>
          </p:cNvSpPr>
          <p:nvPr>
            <p:custDataLst>
              <p:tags r:id="rId8"/>
            </p:custDataLst>
          </p:nvPr>
        </p:nvSpPr>
        <p:spPr bwMode="auto">
          <a:xfrm>
            <a:off x="6399213" y="5680075"/>
            <a:ext cx="36195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F86297BB-1A8C-49E0-8F55-8618EACD4CC0}" type="datetime'''''''''''''''''''''''''''''2''''''''''''2''''''''''''F'">
              <a:rPr kumimoji="0" lang="en-GB" altLang="en-US" sz="16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22F</a:t>
            </a:fld>
            <a:endPar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8" name="Text Placeholder 2">
            <a:extLst>
              <a:ext uri="{FF2B5EF4-FFF2-40B4-BE49-F238E27FC236}">
                <a16:creationId xmlns:a16="http://schemas.microsoft.com/office/drawing/2014/main" xmlns="" id="{B28949BF-E371-4C3B-820B-28BCBDDD2CE1}"/>
              </a:ext>
            </a:extLst>
          </p:cNvPr>
          <p:cNvSpPr>
            <a:spLocks noGrp="1"/>
          </p:cNvSpPr>
          <p:nvPr>
            <p:custDataLst>
              <p:tags r:id="rId9"/>
            </p:custDataLst>
          </p:nvPr>
        </p:nvSpPr>
        <p:spPr bwMode="auto">
          <a:xfrm>
            <a:off x="7097713" y="5680075"/>
            <a:ext cx="36195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95CCEF6D-FCD6-49AC-BB06-3AF20DD0FF08}" type="datetime'''''2''''''''''''''''''''''''''''''''''3F'''''''''''''''''">
              <a:rPr kumimoji="0" lang="en-GB" altLang="en-US" sz="16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23F</a:t>
            </a:fld>
            <a:endPar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9" name="Text Placeholder 2">
            <a:extLst>
              <a:ext uri="{FF2B5EF4-FFF2-40B4-BE49-F238E27FC236}">
                <a16:creationId xmlns:a16="http://schemas.microsoft.com/office/drawing/2014/main" xmlns="" id="{0DEF741F-ADC0-42C7-895E-64CBC0B49A95}"/>
              </a:ext>
            </a:extLst>
          </p:cNvPr>
          <p:cNvSpPr>
            <a:spLocks noGrp="1"/>
          </p:cNvSpPr>
          <p:nvPr>
            <p:custDataLst>
              <p:tags r:id="rId10"/>
            </p:custDataLst>
          </p:nvPr>
        </p:nvSpPr>
        <p:spPr bwMode="auto">
          <a:xfrm>
            <a:off x="7796213" y="5680075"/>
            <a:ext cx="36195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F6F48E44-5C55-40D8-87FA-842D39F8B176}" type="datetime'2''''''''''4''''''''''''''''''''''''''''''''''''F'''">
              <a:rPr kumimoji="0" lang="en-GB" altLang="en-US" sz="1600" b="1"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24F</a:t>
            </a:fld>
            <a:endPar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0" name="Text Placeholder 2">
            <a:extLst>
              <a:ext uri="{FF2B5EF4-FFF2-40B4-BE49-F238E27FC236}">
                <a16:creationId xmlns:a16="http://schemas.microsoft.com/office/drawing/2014/main" xmlns="" id="{819DB60F-5172-4419-833B-38AAAE39841A}"/>
              </a:ext>
            </a:extLst>
          </p:cNvPr>
          <p:cNvSpPr>
            <a:spLocks noGrp="1"/>
          </p:cNvSpPr>
          <p:nvPr>
            <p:custDataLst>
              <p:tags r:id="rId11"/>
            </p:custDataLst>
          </p:nvPr>
        </p:nvSpPr>
        <p:spPr bwMode="gray">
          <a:xfrm>
            <a:off x="4225925" y="3365500"/>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957617B1-FB27-483B-910A-F82CA0B35028}" type="datetime'''0.''''''2''''%'''''''''''''''''''''''''">
              <a:rPr kumimoji="0" lang="en-GB" altLang="en-US" sz="16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0.2%</a:t>
            </a:fld>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1" name="Text Placeholder 2">
            <a:extLst>
              <a:ext uri="{FF2B5EF4-FFF2-40B4-BE49-F238E27FC236}">
                <a16:creationId xmlns:a16="http://schemas.microsoft.com/office/drawing/2014/main" xmlns="" id="{A73F4B6E-A282-4054-9B5D-957AB2CF5ECB}"/>
              </a:ext>
            </a:extLst>
          </p:cNvPr>
          <p:cNvSpPr>
            <a:spLocks noGrp="1"/>
          </p:cNvSpPr>
          <p:nvPr>
            <p:custDataLst>
              <p:tags r:id="rId12"/>
            </p:custDataLst>
          </p:nvPr>
        </p:nvSpPr>
        <p:spPr bwMode="gray">
          <a:xfrm>
            <a:off x="4891088" y="4991100"/>
            <a:ext cx="588963"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t"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68E46B61-87EC-47DD-A5F9-C429F7ECC085}" type="datetime'''-8''''''''''''''''''''''.''''''''''''9''''''''%'''''''">
              <a:rPr kumimoji="0" lang="en-GB" altLang="en-US" sz="16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8.9%</a:t>
            </a:fld>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2" name="Text Placeholder 2">
            <a:extLst>
              <a:ext uri="{FF2B5EF4-FFF2-40B4-BE49-F238E27FC236}">
                <a16:creationId xmlns:a16="http://schemas.microsoft.com/office/drawing/2014/main" xmlns="" id="{86CDF05D-0F0E-4B28-98D9-BCFDCD7B9051}"/>
              </a:ext>
            </a:extLst>
          </p:cNvPr>
          <p:cNvSpPr>
            <a:spLocks noGrp="1"/>
          </p:cNvSpPr>
          <p:nvPr>
            <p:custDataLst>
              <p:tags r:id="rId13"/>
            </p:custDataLst>
          </p:nvPr>
        </p:nvSpPr>
        <p:spPr bwMode="gray">
          <a:xfrm>
            <a:off x="5621338" y="2679700"/>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FC1652BD-8EAA-457F-A0D8-634573EFF647}" type="datetime'''''''''''4''.9''''''''''''''''''''''''''%'''">
              <a:rPr kumimoji="0" lang="en-GB" altLang="en-US" sz="16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4.9%</a:t>
            </a:fld>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3" name="Text Placeholder 2">
            <a:extLst>
              <a:ext uri="{FF2B5EF4-FFF2-40B4-BE49-F238E27FC236}">
                <a16:creationId xmlns:a16="http://schemas.microsoft.com/office/drawing/2014/main" xmlns="" id="{E76A5E57-D49A-45E5-91F7-D359C0547CD7}"/>
              </a:ext>
            </a:extLst>
          </p:cNvPr>
          <p:cNvSpPr>
            <a:spLocks noGrp="1"/>
          </p:cNvSpPr>
          <p:nvPr>
            <p:custDataLst>
              <p:tags r:id="rId14"/>
            </p:custDataLst>
          </p:nvPr>
        </p:nvSpPr>
        <p:spPr bwMode="gray">
          <a:xfrm>
            <a:off x="6319838" y="2941638"/>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C67FCB2C-500F-4E22-B9FC-3CD5318D3378}" type="datetime'''''''''''''3''.''''''''''''''1''''''''''''''%'''''''">
              <a:rPr kumimoji="0" lang="en-GB" altLang="en-US" sz="16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3.1%</a:t>
            </a:fld>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4" name="Text Placeholder 2">
            <a:extLst>
              <a:ext uri="{FF2B5EF4-FFF2-40B4-BE49-F238E27FC236}">
                <a16:creationId xmlns:a16="http://schemas.microsoft.com/office/drawing/2014/main" xmlns="" id="{36E37EDC-FB9E-419F-A6AD-2CB629F34508}"/>
              </a:ext>
            </a:extLst>
          </p:cNvPr>
          <p:cNvSpPr>
            <a:spLocks noGrp="1"/>
          </p:cNvSpPr>
          <p:nvPr>
            <p:custDataLst>
              <p:tags r:id="rId15"/>
            </p:custDataLst>
          </p:nvPr>
        </p:nvSpPr>
        <p:spPr bwMode="gray">
          <a:xfrm>
            <a:off x="7716838" y="3014663"/>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457189" indent="-457189" algn="l" defTabSz="1219170" rtl="0" eaLnBrk="1" latinLnBrk="0" hangingPunct="1">
              <a:spcBef>
                <a:spcPct val="20000"/>
              </a:spcBef>
              <a:buClr>
                <a:schemeClr val="accent1"/>
              </a:buClr>
              <a:buSzPct val="130000"/>
              <a:buFont typeface="Arial" pitchFamily="34" charset="0"/>
              <a:buChar char="•"/>
              <a:defRPr lang="en-ZA" sz="2400" b="1" i="0" u="none" strike="noStrike" kern="1200" baseline="0" smtClean="0">
                <a:solidFill>
                  <a:srgbClr val="002C90"/>
                </a:solidFill>
                <a:latin typeface="+mn-lt"/>
                <a:ea typeface="+mn-ea"/>
                <a:cs typeface="+mn-cs"/>
              </a:defRPr>
            </a:lvl1pPr>
            <a:lvl2pPr marL="990575" indent="-380990" algn="l" defTabSz="1219170" rtl="0" eaLnBrk="1" latinLnBrk="0" hangingPunct="1">
              <a:spcBef>
                <a:spcPct val="20000"/>
              </a:spcBef>
              <a:buClr>
                <a:schemeClr val="accent1"/>
              </a:buClr>
              <a:buSzPct val="130000"/>
              <a:buFont typeface="Arial" pitchFamily="34" charset="0"/>
              <a:buChar char="•"/>
              <a:defRPr sz="2400" kern="1200">
                <a:solidFill>
                  <a:schemeClr val="bg1">
                    <a:lumMod val="50000"/>
                  </a:schemeClr>
                </a:solidFill>
                <a:latin typeface="+mn-lt"/>
                <a:ea typeface="+mn-ea"/>
                <a:cs typeface="+mn-cs"/>
              </a:defRPr>
            </a:lvl2pPr>
            <a:lvl3pPr marL="1523962" indent="-304792" algn="l" defTabSz="1219170" rtl="0" eaLnBrk="1" latinLnBrk="0" hangingPunct="1">
              <a:spcBef>
                <a:spcPct val="20000"/>
              </a:spcBef>
              <a:buClr>
                <a:schemeClr val="accent1"/>
              </a:buClr>
              <a:buSzPct val="130000"/>
              <a:buFont typeface="Arial" pitchFamily="34" charset="0"/>
              <a:buChar char="•"/>
              <a:defRPr sz="1867" kern="1200">
                <a:solidFill>
                  <a:schemeClr val="bg1">
                    <a:lumMod val="50000"/>
                  </a:schemeClr>
                </a:solidFill>
                <a:latin typeface="+mn-lt"/>
                <a:ea typeface="+mn-ea"/>
                <a:cs typeface="+mn-cs"/>
              </a:defRPr>
            </a:lvl3pPr>
            <a:lvl4pPr marL="2133547" indent="-304792" algn="l" defTabSz="1219170" rtl="0" eaLnBrk="1" latinLnBrk="0" hangingPunct="1">
              <a:spcBef>
                <a:spcPct val="20000"/>
              </a:spcBef>
              <a:buClr>
                <a:schemeClr val="accent1"/>
              </a:buClr>
              <a:buSzPct val="130000"/>
              <a:buFont typeface="Arial" pitchFamily="34" charset="0"/>
              <a:buChar char="•"/>
              <a:defRPr sz="1600" kern="1200">
                <a:solidFill>
                  <a:schemeClr val="bg1">
                    <a:lumMod val="50000"/>
                  </a:schemeClr>
                </a:solidFill>
                <a:latin typeface="+mn-lt"/>
                <a:ea typeface="+mn-ea"/>
                <a:cs typeface="+mn-cs"/>
              </a:defRPr>
            </a:lvl4pPr>
            <a:lvl5pPr marL="2743131" indent="-304792" algn="l" defTabSz="1219170" rtl="0" eaLnBrk="1" latinLnBrk="0" hangingPunct="1">
              <a:spcBef>
                <a:spcPct val="20000"/>
              </a:spcBef>
              <a:buClr>
                <a:schemeClr val="accent1"/>
              </a:buClr>
              <a:buSzPct val="130000"/>
              <a:buFont typeface="Arial" pitchFamily="34" charset="0"/>
              <a:buChar char="•"/>
              <a:defRPr sz="1467" kern="1200">
                <a:solidFill>
                  <a:schemeClr val="bg1">
                    <a:lumMod val="50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fld id="{8047A151-4149-4E1B-9F0A-BCBF5FC508D8}" type="datetime'''2''''.''''''''''''''''''''''6%'''''''''''''''''''''''''''">
              <a:rPr kumimoji="0" lang="en-GB" altLang="en-US" sz="16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1" indent="0" algn="ctr" defTabSz="1219170" rtl="0" eaLnBrk="1" fontAlgn="auto" latinLnBrk="0" hangingPunct="1">
                <a:lnSpc>
                  <a:spcPct val="100000"/>
                </a:lnSpc>
                <a:spcBef>
                  <a:spcPct val="0"/>
                </a:spcBef>
                <a:spcAft>
                  <a:spcPts val="0"/>
                </a:spcAft>
                <a:buClr>
                  <a:srgbClr val="D64241"/>
                </a:buClr>
                <a:buSzPct val="130000"/>
                <a:buFont typeface="Arial" pitchFamily="34" charset="0"/>
                <a:buNone/>
                <a:tabLst/>
                <a:defRPr/>
              </a:pPr>
              <a:t>2.6%</a:t>
            </a:fld>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25" name="Rectangle 24">
            <a:extLst>
              <a:ext uri="{FF2B5EF4-FFF2-40B4-BE49-F238E27FC236}">
                <a16:creationId xmlns:a16="http://schemas.microsoft.com/office/drawing/2014/main" xmlns="" id="{19908493-F412-44D4-9190-48651190B460}"/>
              </a:ext>
            </a:extLst>
          </p:cNvPr>
          <p:cNvSpPr/>
          <p:nvPr/>
        </p:nvSpPr>
        <p:spPr>
          <a:xfrm>
            <a:off x="3438525" y="404876"/>
            <a:ext cx="8856726" cy="443198"/>
          </a:xfrm>
          <a:prstGeom prst="rect">
            <a:avLst/>
          </a:prstGeom>
          <a:noFill/>
          <a:ln w="6350" cap="flat" cmpd="sng" algn="ctr">
            <a:noFill/>
            <a:prstDash val="solid"/>
            <a:miter lim="800000"/>
          </a:ln>
          <a:effectLst/>
          <a:extLst>
            <a:ext uri="{909E8E84-426E-40DD-AFC4-6F175D3DCCD1}">
              <a14:hiddenFill xmlns:a14="http://schemas.microsoft.com/office/drawing/2010/main" xmlns="">
                <a:solidFill>
                  <a:schemeClr val="bg1">
                    <a:lumMod val="95000"/>
                  </a:schemeClr>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eaLnBrk="1" fontAlgn="auto" latinLnBrk="0" hangingPunct="1">
              <a:lnSpc>
                <a:spcPct val="90000"/>
              </a:lnSpc>
              <a:spcBef>
                <a:spcPts val="900"/>
              </a:spcBef>
              <a:spcAft>
                <a:spcPts val="0"/>
              </a:spcAft>
              <a:buClrTx/>
              <a:buSzTx/>
              <a:buFontTx/>
              <a:buNone/>
              <a:tabLst/>
              <a:defRPr/>
            </a:pPr>
            <a:r>
              <a:rPr kumimoji="0" lang="en-GB" sz="1800" b="1" i="0" u="none" strike="noStrike" kern="0" cap="none" spc="0" normalizeH="0" baseline="0" noProof="0" dirty="0">
                <a:ln>
                  <a:noFill/>
                </a:ln>
                <a:solidFill>
                  <a:srgbClr val="7F7F7F"/>
                </a:solidFill>
                <a:effectLst/>
                <a:uLnTx/>
                <a:uFillTx/>
                <a:latin typeface="Arial" panose="020B0604020202020204"/>
                <a:ea typeface="+mn-ea"/>
                <a:cs typeface="Arial" pitchFamily="34" charset="0"/>
              </a:rPr>
              <a:t>South Africa GDP</a:t>
            </a:r>
            <a:br>
              <a:rPr kumimoji="0" lang="en-GB" sz="1800" b="1" i="0" u="none" strike="noStrike" kern="0" cap="none" spc="0" normalizeH="0" baseline="0" noProof="0" dirty="0">
                <a:ln>
                  <a:noFill/>
                </a:ln>
                <a:solidFill>
                  <a:srgbClr val="7F7F7F"/>
                </a:solidFill>
                <a:effectLst/>
                <a:uLnTx/>
                <a:uFillTx/>
                <a:latin typeface="Arial" panose="020B0604020202020204"/>
                <a:ea typeface="+mn-ea"/>
                <a:cs typeface="Arial" pitchFamily="34" charset="0"/>
              </a:rPr>
            </a:br>
            <a:r>
              <a:rPr kumimoji="0" lang="en-GB" sz="1400" b="0" i="0" u="none" strike="noStrike" kern="0" cap="none" spc="0" normalizeH="0" baseline="0" noProof="0" dirty="0">
                <a:ln>
                  <a:noFill/>
                </a:ln>
                <a:solidFill>
                  <a:srgbClr val="7F7F7F"/>
                </a:solidFill>
                <a:effectLst/>
                <a:uLnTx/>
                <a:uFillTx/>
                <a:latin typeface="Arial" panose="020B0604020202020204"/>
                <a:ea typeface="+mn-ea"/>
                <a:cs typeface="Arial" pitchFamily="34" charset="0"/>
              </a:rPr>
              <a:t>% YoY</a:t>
            </a:r>
            <a:endParaRPr kumimoji="0" lang="en-GB" sz="1800" b="0" i="0" u="none" strike="noStrike" kern="0" cap="none" spc="0" normalizeH="0" baseline="0" noProof="0" dirty="0">
              <a:ln>
                <a:noFill/>
              </a:ln>
              <a:solidFill>
                <a:srgbClr val="7F7F7F"/>
              </a:solidFill>
              <a:effectLst/>
              <a:uLnTx/>
              <a:uFillTx/>
              <a:latin typeface="Arial" panose="020B0604020202020204"/>
              <a:ea typeface="+mn-ea"/>
              <a:cs typeface="Arial" pitchFamily="34" charset="0"/>
            </a:endParaRPr>
          </a:p>
        </p:txBody>
      </p:sp>
      <p:sp>
        <p:nvSpPr>
          <p:cNvPr id="26" name="Rectangle 25">
            <a:extLst>
              <a:ext uri="{FF2B5EF4-FFF2-40B4-BE49-F238E27FC236}">
                <a16:creationId xmlns:a16="http://schemas.microsoft.com/office/drawing/2014/main" xmlns="" id="{BEBD2464-CDCB-4497-829A-1267EB9D204D}"/>
              </a:ext>
            </a:extLst>
          </p:cNvPr>
          <p:cNvSpPr/>
          <p:nvPr/>
        </p:nvSpPr>
        <p:spPr>
          <a:xfrm>
            <a:off x="301371" y="6184900"/>
            <a:ext cx="2358242" cy="396875"/>
          </a:xfrm>
          <a:prstGeom prst="rect">
            <a:avLst/>
          </a:prstGeom>
          <a:noFill/>
          <a:ln w="6350" cap="flat" cmpd="sng" algn="ctr">
            <a:noFill/>
            <a:prstDash val="solid"/>
            <a:miter lim="800000"/>
          </a:ln>
          <a:effectLst/>
          <a:extLst>
            <a:ext uri="{909E8E84-426E-40DD-AFC4-6F175D3DCCD1}">
              <a14:hiddenFill xmlns:a14="http://schemas.microsoft.com/office/drawing/2010/main" xmlns="">
                <a:solidFill>
                  <a:schemeClr val="bg1">
                    <a:lumMod val="95000"/>
                  </a:schemeClr>
                </a:solidFill>
              </a14:hiddenFill>
            </a:ext>
          </a:ex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FFFFF">
                    <a:lumMod val="65000"/>
                  </a:srgbClr>
                </a:solidFill>
                <a:effectLst/>
                <a:uLnTx/>
                <a:uFillTx/>
                <a:latin typeface="Arial" panose="020B0604020202020204"/>
                <a:ea typeface="+mn-ea"/>
                <a:cs typeface="Arial" pitchFamily="34" charset="0"/>
              </a:rPr>
              <a:t>Source: Oxford Economics; ABSA CIB; CEF Working Team</a:t>
            </a:r>
          </a:p>
        </p:txBody>
      </p:sp>
      <p:pic>
        <p:nvPicPr>
          <p:cNvPr id="27" name="Graphic 121">
            <a:extLst>
              <a:ext uri="{FF2B5EF4-FFF2-40B4-BE49-F238E27FC236}">
                <a16:creationId xmlns:a16="http://schemas.microsoft.com/office/drawing/2014/main" xmlns="" id="{01D02899-8F52-46B2-84EE-0688BA8EC460}"/>
              </a:ext>
            </a:extLst>
          </p:cNvPr>
          <p:cNvPicPr>
            <a:picLocks noChangeAspect="1"/>
          </p:cNvPicPr>
          <p:nvPr/>
        </p:nvPicPr>
        <p:blipFill>
          <a:blip r:embed="rId18" cstate="print">
            <a:extLst>
              <a:ext uri="{28A0092B-C50C-407E-A947-70E740481C1C}">
                <a14:useLocalDpi xmlns:a14="http://schemas.microsoft.com/office/drawing/2010/main" xmlns="" val="0"/>
              </a:ext>
              <a:ext uri="{96DAC541-7B7A-43D3-8B79-37D633B846F1}">
                <asvg:svgBlip xmlns="" xmlns:asvg="http://schemas.microsoft.com/office/drawing/2016/SVG/main" r:embed="rId19"/>
              </a:ext>
            </a:extLst>
          </a:blip>
          <a:stretch>
            <a:fillRect/>
          </a:stretch>
        </p:blipFill>
        <p:spPr>
          <a:xfrm>
            <a:off x="4954596" y="898440"/>
            <a:ext cx="528638" cy="528638"/>
          </a:xfrm>
          <a:prstGeom prst="rect">
            <a:avLst/>
          </a:prstGeom>
        </p:spPr>
      </p:pic>
      <p:sp>
        <p:nvSpPr>
          <p:cNvPr id="28" name="Rectangle 27">
            <a:extLst>
              <a:ext uri="{FF2B5EF4-FFF2-40B4-BE49-F238E27FC236}">
                <a16:creationId xmlns:a16="http://schemas.microsoft.com/office/drawing/2014/main" xmlns="" id="{62D3A509-00F2-4C24-9110-92929C1EFDFB}"/>
              </a:ext>
            </a:extLst>
          </p:cNvPr>
          <p:cNvSpPr/>
          <p:nvPr/>
        </p:nvSpPr>
        <p:spPr>
          <a:xfrm>
            <a:off x="8784470" y="404876"/>
            <a:ext cx="3684621" cy="249299"/>
          </a:xfrm>
          <a:prstGeom prst="rect">
            <a:avLst/>
          </a:prstGeom>
          <a:noFill/>
          <a:ln w="6350" cap="flat" cmpd="sng" algn="ctr">
            <a:noFill/>
            <a:prstDash val="solid"/>
            <a:miter lim="800000"/>
          </a:ln>
          <a:effectLst/>
          <a:extLst>
            <a:ext uri="{909E8E84-426E-40DD-AFC4-6F175D3DCCD1}">
              <a14:hiddenFill xmlns:a14="http://schemas.microsoft.com/office/drawing/2010/main" xmlns="">
                <a:solidFill>
                  <a:schemeClr val="bg1">
                    <a:lumMod val="95000"/>
                  </a:schemeClr>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eaLnBrk="1" fontAlgn="auto" latinLnBrk="0" hangingPunct="1">
              <a:lnSpc>
                <a:spcPct val="90000"/>
              </a:lnSpc>
              <a:spcBef>
                <a:spcPts val="900"/>
              </a:spcBef>
              <a:spcAft>
                <a:spcPts val="0"/>
              </a:spcAft>
              <a:buClrTx/>
              <a:buSzTx/>
              <a:buFontTx/>
              <a:buNone/>
              <a:tabLst/>
              <a:defRPr/>
            </a:pPr>
            <a:r>
              <a:rPr kumimoji="0" lang="en-GB" sz="1800" b="1" i="1" u="none" strike="noStrike" kern="0" cap="none" spc="0" normalizeH="0" baseline="0" noProof="0" dirty="0">
                <a:ln>
                  <a:noFill/>
                </a:ln>
                <a:solidFill>
                  <a:schemeClr val="accent1"/>
                </a:solidFill>
                <a:effectLst/>
                <a:uLnTx/>
                <a:uFillTx/>
                <a:latin typeface="Arial" panose="020B0604020202020204"/>
                <a:ea typeface="+mn-ea"/>
                <a:cs typeface="Arial" pitchFamily="34" charset="0"/>
              </a:rPr>
              <a:t>Structural issues</a:t>
            </a:r>
            <a:endParaRPr kumimoji="0" lang="en-GB" sz="1800" b="0" i="1" u="none" strike="noStrike" kern="0" cap="none" spc="0" normalizeH="0" baseline="0" noProof="0" dirty="0">
              <a:ln>
                <a:noFill/>
              </a:ln>
              <a:solidFill>
                <a:schemeClr val="accent1"/>
              </a:solidFill>
              <a:effectLst/>
              <a:uLnTx/>
              <a:uFillTx/>
              <a:latin typeface="Arial" panose="020B0604020202020204"/>
              <a:ea typeface="+mn-ea"/>
              <a:cs typeface="Arial" pitchFamily="34" charset="0"/>
            </a:endParaRPr>
          </a:p>
        </p:txBody>
      </p:sp>
      <p:graphicFrame>
        <p:nvGraphicFramePr>
          <p:cNvPr id="29" name="Table 9">
            <a:extLst>
              <a:ext uri="{FF2B5EF4-FFF2-40B4-BE49-F238E27FC236}">
                <a16:creationId xmlns:a16="http://schemas.microsoft.com/office/drawing/2014/main" xmlns="" id="{9C2F9D52-5FA3-48A5-9581-2A42AB8F52DC}"/>
              </a:ext>
            </a:extLst>
          </p:cNvPr>
          <p:cNvGraphicFramePr>
            <a:graphicFrameLocks noGrp="1"/>
          </p:cNvGraphicFramePr>
          <p:nvPr>
            <p:extLst>
              <p:ext uri="{D42A27DB-BD31-4B8C-83A1-F6EECF244321}">
                <p14:modId xmlns:p14="http://schemas.microsoft.com/office/powerpoint/2010/main" xmlns="" val="2386954106"/>
              </p:ext>
            </p:extLst>
          </p:nvPr>
        </p:nvGraphicFramePr>
        <p:xfrm>
          <a:off x="8631367" y="795431"/>
          <a:ext cx="3475741" cy="5383713"/>
        </p:xfrm>
        <a:graphic>
          <a:graphicData uri="http://schemas.openxmlformats.org/drawingml/2006/table">
            <a:tbl>
              <a:tblPr firstRow="1" bandRow="1"/>
              <a:tblGrid>
                <a:gridCol w="579239">
                  <a:extLst>
                    <a:ext uri="{9D8B030D-6E8A-4147-A177-3AD203B41FA5}">
                      <a16:colId xmlns:a16="http://schemas.microsoft.com/office/drawing/2014/main" xmlns="" val="1717094716"/>
                    </a:ext>
                  </a:extLst>
                </a:gridCol>
                <a:gridCol w="2896502">
                  <a:extLst>
                    <a:ext uri="{9D8B030D-6E8A-4147-A177-3AD203B41FA5}">
                      <a16:colId xmlns:a16="http://schemas.microsoft.com/office/drawing/2014/main" xmlns="" val="2971828266"/>
                    </a:ext>
                  </a:extLst>
                </a:gridCol>
              </a:tblGrid>
              <a:tr h="983175">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GB" sz="1600" dirty="0">
                        <a:solidFill>
                          <a:srgbClr val="000000"/>
                        </a:solidFill>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Falling growth levels – </a:t>
                      </a:r>
                      <a:r>
                        <a:rPr lang="en-GB" sz="1200" b="0" dirty="0">
                          <a:solidFill>
                            <a:srgbClr val="000000"/>
                          </a:solidFill>
                        </a:rPr>
                        <a:t>When the pandemic began in 2020, South Africa had just emerged from a technical recession due to two consecutive quarters of negative GDP growth in 2019</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xmlns="" val="3566114598"/>
                  </a:ext>
                </a:extLst>
              </a:tr>
              <a:tr h="76523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600" dirty="0">
                        <a:solidFill>
                          <a:srgbClr val="000000"/>
                        </a:solidFill>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High unemployment rate - </a:t>
                      </a:r>
                      <a:r>
                        <a:rPr lang="en-GB" sz="1200" b="0" dirty="0">
                          <a:solidFill>
                            <a:srgbClr val="000000"/>
                          </a:solidFill>
                        </a:rPr>
                        <a:t>at the highest rate since 2003, with 29.1% in 2019 with 56% youth unemployed</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xmlns="" val="674577287"/>
                  </a:ext>
                </a:extLst>
              </a:tr>
              <a:tr h="804416">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600" dirty="0">
                        <a:solidFill>
                          <a:srgbClr val="000000"/>
                        </a:solidFill>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Investment grade downgrade – </a:t>
                      </a:r>
                      <a:r>
                        <a:rPr lang="en-GB" sz="1200" b="0" dirty="0">
                          <a:solidFill>
                            <a:srgbClr val="000000"/>
                          </a:solidFill>
                        </a:rPr>
                        <a:t>All major credit rating agencies have downgraded SA sovereign debt to junk</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xmlns="" val="726708501"/>
                  </a:ext>
                </a:extLst>
              </a:tr>
              <a:tr h="76523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600" dirty="0">
                        <a:solidFill>
                          <a:srgbClr val="000000"/>
                        </a:solidFill>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Eskom electricity crisis - </a:t>
                      </a:r>
                      <a:r>
                        <a:rPr lang="en-GB" sz="1200" b="0" dirty="0">
                          <a:solidFill>
                            <a:srgbClr val="000000"/>
                          </a:solidFill>
                        </a:rPr>
                        <a:t>Unable power supply, rising tariffs &amp; aging mismanaged infrastructur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xmlns="" val="3284532933"/>
                  </a:ext>
                </a:extLst>
              </a:tr>
              <a:tr h="98317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600" dirty="0">
                        <a:solidFill>
                          <a:srgbClr val="000000"/>
                        </a:solidFill>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Struggling SOEs – </a:t>
                      </a:r>
                      <a:r>
                        <a:rPr lang="en-GB" sz="1200" b="0" dirty="0">
                          <a:solidFill>
                            <a:srgbClr val="000000"/>
                          </a:solidFill>
                        </a:rPr>
                        <a:t>Dire state of SOEs which are in need of constant government bailouts with over R 113 bn in government funding committed to Eskom over the next 3 years</a:t>
                      </a:r>
                      <a:endParaRPr lang="en-GB" sz="1200" dirty="0">
                        <a:solidFill>
                          <a:srgbClr val="000000"/>
                        </a:solidFil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xmlns="" val="3173983667"/>
                  </a:ext>
                </a:extLst>
              </a:tr>
              <a:tr h="85427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GB" sz="1600" dirty="0">
                        <a:solidFill>
                          <a:srgbClr val="000000"/>
                        </a:solidFill>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00000"/>
                          </a:solidFill>
                        </a:rPr>
                        <a:t>Depressed and volatile rand - </a:t>
                      </a:r>
                      <a:r>
                        <a:rPr lang="en-GB" sz="1200" b="0" dirty="0">
                          <a:solidFill>
                            <a:srgbClr val="000000"/>
                          </a:solidFill>
                        </a:rPr>
                        <a:t>Volatile and deteriorating currency driven by policy &amp; economic uncertainty</a:t>
                      </a:r>
                      <a:endParaRPr lang="en-GB" sz="1200" dirty="0">
                        <a:solidFill>
                          <a:srgbClr val="000000"/>
                        </a:solidFill>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xmlns="" val="304291772"/>
                  </a:ext>
                </a:extLst>
              </a:tr>
            </a:tbl>
          </a:graphicData>
        </a:graphic>
      </p:graphicFrame>
      <p:pic>
        <p:nvPicPr>
          <p:cNvPr id="30" name="Graphic 126">
            <a:extLst>
              <a:ext uri="{FF2B5EF4-FFF2-40B4-BE49-F238E27FC236}">
                <a16:creationId xmlns:a16="http://schemas.microsoft.com/office/drawing/2014/main" xmlns="" id="{6BECA49F-67B3-44E5-B0DF-F47FAC696463}"/>
              </a:ext>
            </a:extLst>
          </p:cNvPr>
          <p:cNvPicPr>
            <a:picLocks noChangeAspect="1"/>
          </p:cNvPicPr>
          <p:nvPr/>
        </p:nvPicPr>
        <p:blipFill>
          <a:blip r:embed="rId20" cstate="print">
            <a:extLst>
              <a:ext uri="{28A0092B-C50C-407E-A947-70E740481C1C}">
                <a14:useLocalDpi xmlns:a14="http://schemas.microsoft.com/office/drawing/2010/main" xmlns=""/>
              </a:ext>
              <a:ext uri="{96DAC541-7B7A-43D3-8B79-37D633B846F1}">
                <asvg:svgBlip xmlns="" xmlns:asvg="http://schemas.microsoft.com/office/drawing/2016/SVG/main" r:embed="rId21"/>
              </a:ext>
            </a:extLst>
          </a:blip>
          <a:srcRect/>
          <a:stretch/>
        </p:blipFill>
        <p:spPr>
          <a:xfrm>
            <a:off x="8800813" y="3764754"/>
            <a:ext cx="349818" cy="349818"/>
          </a:xfrm>
          <a:prstGeom prst="rect">
            <a:avLst/>
          </a:prstGeom>
        </p:spPr>
      </p:pic>
      <p:pic>
        <p:nvPicPr>
          <p:cNvPr id="31" name="Graphic 127">
            <a:extLst>
              <a:ext uri="{FF2B5EF4-FFF2-40B4-BE49-F238E27FC236}">
                <a16:creationId xmlns:a16="http://schemas.microsoft.com/office/drawing/2014/main" xmlns="" id="{254F1AA7-826E-45E0-A87C-5D27AF9AA5A4}"/>
              </a:ext>
            </a:extLst>
          </p:cNvPr>
          <p:cNvPicPr>
            <a:picLocks noChangeAspect="1"/>
          </p:cNvPicPr>
          <p:nvPr/>
        </p:nvPicPr>
        <p:blipFill>
          <a:blip r:embed="rId22" cstate="print">
            <a:extLst>
              <a:ext uri="{96DAC541-7B7A-43D3-8B79-37D633B846F1}">
                <asvg:svgBlip xmlns="" xmlns:asvg="http://schemas.microsoft.com/office/drawing/2016/SVG/main" r:embed="rId23"/>
              </a:ext>
            </a:extLst>
          </a:blip>
          <a:stretch>
            <a:fillRect/>
          </a:stretch>
        </p:blipFill>
        <p:spPr>
          <a:xfrm>
            <a:off x="8800813" y="1179325"/>
            <a:ext cx="349818" cy="349818"/>
          </a:xfrm>
          <a:prstGeom prst="rect">
            <a:avLst/>
          </a:prstGeom>
        </p:spPr>
      </p:pic>
      <p:pic>
        <p:nvPicPr>
          <p:cNvPr id="32" name="Graphic 128">
            <a:extLst>
              <a:ext uri="{FF2B5EF4-FFF2-40B4-BE49-F238E27FC236}">
                <a16:creationId xmlns:a16="http://schemas.microsoft.com/office/drawing/2014/main" xmlns="" id="{B59FB807-6265-4E80-8620-5C38D50C78D1}"/>
              </a:ext>
            </a:extLst>
          </p:cNvPr>
          <p:cNvPicPr>
            <a:picLocks noChangeAspect="1"/>
          </p:cNvPicPr>
          <p:nvPr/>
        </p:nvPicPr>
        <p:blipFill>
          <a:blip r:embed="rId24" cstate="print">
            <a:extLst>
              <a:ext uri="{96DAC541-7B7A-43D3-8B79-37D633B846F1}">
                <asvg:svgBlip xmlns="" xmlns:asvg="http://schemas.microsoft.com/office/drawing/2016/SVG/main" r:embed="rId25"/>
              </a:ext>
            </a:extLst>
          </a:blip>
          <a:stretch>
            <a:fillRect/>
          </a:stretch>
        </p:blipFill>
        <p:spPr>
          <a:xfrm>
            <a:off x="8799823" y="2248277"/>
            <a:ext cx="351798" cy="263849"/>
          </a:xfrm>
          <a:prstGeom prst="rect">
            <a:avLst/>
          </a:prstGeom>
        </p:spPr>
      </p:pic>
      <p:pic>
        <p:nvPicPr>
          <p:cNvPr id="33" name="Graphic 129">
            <a:extLst>
              <a:ext uri="{FF2B5EF4-FFF2-40B4-BE49-F238E27FC236}">
                <a16:creationId xmlns:a16="http://schemas.microsoft.com/office/drawing/2014/main" xmlns="" id="{4E0DDA66-4031-41BC-B5BF-5BF392BB1788}"/>
              </a:ext>
            </a:extLst>
          </p:cNvPr>
          <p:cNvPicPr>
            <a:picLocks noChangeAspect="1"/>
          </p:cNvPicPr>
          <p:nvPr/>
        </p:nvPicPr>
        <p:blipFill>
          <a:blip r:embed="rId26" cstate="print">
            <a:extLst>
              <a:ext uri="{28A0092B-C50C-407E-A947-70E740481C1C}">
                <a14:useLocalDpi xmlns:a14="http://schemas.microsoft.com/office/drawing/2010/main" xmlns=""/>
              </a:ext>
              <a:ext uri="{96DAC541-7B7A-43D3-8B79-37D633B846F1}">
                <asvg:svgBlip xmlns="" xmlns:asvg="http://schemas.microsoft.com/office/drawing/2016/SVG/main" r:embed="rId27"/>
              </a:ext>
            </a:extLst>
          </a:blip>
          <a:srcRect/>
          <a:stretch/>
        </p:blipFill>
        <p:spPr>
          <a:xfrm>
            <a:off x="8800813" y="2998944"/>
            <a:ext cx="349818" cy="349818"/>
          </a:xfrm>
          <a:prstGeom prst="rect">
            <a:avLst/>
          </a:prstGeom>
        </p:spPr>
      </p:pic>
      <p:pic>
        <p:nvPicPr>
          <p:cNvPr id="34" name="Graphic 130">
            <a:extLst>
              <a:ext uri="{FF2B5EF4-FFF2-40B4-BE49-F238E27FC236}">
                <a16:creationId xmlns:a16="http://schemas.microsoft.com/office/drawing/2014/main" xmlns="" id="{D3984B4C-B7A0-481D-B82D-DF3A4E77E672}"/>
              </a:ext>
            </a:extLst>
          </p:cNvPr>
          <p:cNvPicPr>
            <a:picLocks noChangeAspect="1"/>
          </p:cNvPicPr>
          <p:nvPr/>
        </p:nvPicPr>
        <p:blipFill>
          <a:blip r:embed="rId28" cstate="print">
            <a:extLst>
              <a:ext uri="{96DAC541-7B7A-43D3-8B79-37D633B846F1}">
                <asvg:svgBlip xmlns="" xmlns:asvg="http://schemas.microsoft.com/office/drawing/2016/SVG/main" r:embed="rId29"/>
              </a:ext>
            </a:extLst>
          </a:blip>
          <a:stretch>
            <a:fillRect/>
          </a:stretch>
        </p:blipFill>
        <p:spPr>
          <a:xfrm>
            <a:off x="8800813" y="4645716"/>
            <a:ext cx="349818" cy="349818"/>
          </a:xfrm>
          <a:prstGeom prst="rect">
            <a:avLst/>
          </a:prstGeom>
        </p:spPr>
      </p:pic>
      <p:pic>
        <p:nvPicPr>
          <p:cNvPr id="35" name="Graphic 131">
            <a:extLst>
              <a:ext uri="{FF2B5EF4-FFF2-40B4-BE49-F238E27FC236}">
                <a16:creationId xmlns:a16="http://schemas.microsoft.com/office/drawing/2014/main" xmlns="" id="{56AAB0AC-F7E6-4AF0-8435-EB6EC7927C60}"/>
              </a:ext>
            </a:extLst>
          </p:cNvPr>
          <p:cNvPicPr>
            <a:picLocks noChangeAspect="1"/>
          </p:cNvPicPr>
          <p:nvPr/>
        </p:nvPicPr>
        <p:blipFill>
          <a:blip r:embed="rId30" cstate="print">
            <a:extLst>
              <a:ext uri="{96DAC541-7B7A-43D3-8B79-37D633B846F1}">
                <asvg:svgBlip xmlns="" xmlns:asvg="http://schemas.microsoft.com/office/drawing/2016/SVG/main" r:embed="rId31"/>
              </a:ext>
            </a:extLst>
          </a:blip>
          <a:stretch>
            <a:fillRect/>
          </a:stretch>
        </p:blipFill>
        <p:spPr>
          <a:xfrm>
            <a:off x="8800813" y="5557954"/>
            <a:ext cx="349818" cy="349818"/>
          </a:xfrm>
          <a:prstGeom prst="rect">
            <a:avLst/>
          </a:prstGeom>
        </p:spPr>
      </p:pic>
      <p:sp>
        <p:nvSpPr>
          <p:cNvPr id="37" name="Rectangle 36"/>
          <p:cNvSpPr/>
          <p:nvPr/>
        </p:nvSpPr>
        <p:spPr>
          <a:xfrm>
            <a:off x="2769331" y="6141078"/>
            <a:ext cx="8446366" cy="646331"/>
          </a:xfrm>
          <a:prstGeom prst="rect">
            <a:avLst/>
          </a:prstGeom>
        </p:spPr>
        <p:txBody>
          <a:bodyPr wrap="square">
            <a:spAutoFit/>
          </a:bodyPr>
          <a:lstStyle/>
          <a:p>
            <a:r>
              <a:rPr lang="en-US" sz="1800" dirty="0">
                <a:solidFill>
                  <a:srgbClr val="C00000"/>
                </a:solidFill>
              </a:rPr>
              <a:t>From a local perspective, the CEF Group has the opportunity to diversify South Africa’s energy mix and </a:t>
            </a:r>
            <a:r>
              <a:rPr lang="en-US" sz="1800" b="1" i="1" dirty="0">
                <a:solidFill>
                  <a:srgbClr val="C00000"/>
                </a:solidFill>
              </a:rPr>
              <a:t>uplift the local economy</a:t>
            </a:r>
            <a:endParaRPr lang="en-ZA" sz="1800" b="1" i="1" dirty="0">
              <a:solidFill>
                <a:srgbClr val="C00000"/>
              </a:solidFill>
            </a:endParaRPr>
          </a:p>
        </p:txBody>
      </p:sp>
    </p:spTree>
    <p:extLst>
      <p:ext uri="{BB962C8B-B14F-4D97-AF65-F5344CB8AC3E}">
        <p14:creationId xmlns:p14="http://schemas.microsoft.com/office/powerpoint/2010/main" xmlns="" val="1083977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F667033A-4247-4ED4-8A21-2B1E2D674746}" type="slidenum">
              <a:rPr lang="en-ZA" smtClean="0"/>
              <a:pPr/>
              <a:t>8</a:t>
            </a:fld>
            <a:endParaRPr lang="en-ZA" dirty="0"/>
          </a:p>
        </p:txBody>
      </p:sp>
      <p:grpSp>
        <p:nvGrpSpPr>
          <p:cNvPr id="24" name="Group 23">
            <a:extLst>
              <a:ext uri="{FF2B5EF4-FFF2-40B4-BE49-F238E27FC236}">
                <a16:creationId xmlns:a16="http://schemas.microsoft.com/office/drawing/2014/main" xmlns="" id="{879F0E88-2F0A-4EF4-AA10-419821897AD1}"/>
              </a:ext>
            </a:extLst>
          </p:cNvPr>
          <p:cNvGrpSpPr/>
          <p:nvPr/>
        </p:nvGrpSpPr>
        <p:grpSpPr>
          <a:xfrm>
            <a:off x="3062688" y="318501"/>
            <a:ext cx="9463488" cy="6522608"/>
            <a:chOff x="2944140" y="755394"/>
            <a:chExt cx="9347874" cy="5528633"/>
          </a:xfrm>
        </p:grpSpPr>
        <p:sp>
          <p:nvSpPr>
            <p:cNvPr id="25" name="Rectangle 24">
              <a:extLst>
                <a:ext uri="{FF2B5EF4-FFF2-40B4-BE49-F238E27FC236}">
                  <a16:creationId xmlns:a16="http://schemas.microsoft.com/office/drawing/2014/main" xmlns="" id="{056550FF-3478-4B45-9848-74F917C379F7}"/>
                </a:ext>
              </a:extLst>
            </p:cNvPr>
            <p:cNvSpPr/>
            <p:nvPr/>
          </p:nvSpPr>
          <p:spPr>
            <a:xfrm>
              <a:off x="2944140" y="755394"/>
              <a:ext cx="4596233" cy="2612567"/>
            </a:xfrm>
            <a:prstGeom prst="rect">
              <a:avLst/>
            </a:prstGeom>
            <a:solidFill>
              <a:srgbClr val="E6E6E6"/>
            </a:solidFill>
            <a:ln w="25400" cap="flat" cmpd="sng" algn="ctr">
              <a:noFill/>
              <a:prstDash val="solid"/>
            </a:ln>
            <a:effectLst/>
          </p:spPr>
          <p:txBody>
            <a:bodyPr lIns="69459" tIns="69459" rIns="69459" bIns="69459"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srgbClr val="004074"/>
                </a:solidFill>
                <a:effectLst/>
                <a:uLnTx/>
                <a:uFillTx/>
                <a:latin typeface="Arial"/>
                <a:ea typeface="+mn-ea"/>
                <a:cs typeface="+mn-cs"/>
              </a:endParaRPr>
            </a:p>
          </p:txBody>
        </p:sp>
        <p:sp>
          <p:nvSpPr>
            <p:cNvPr id="26" name="Rectangle 25">
              <a:extLst>
                <a:ext uri="{FF2B5EF4-FFF2-40B4-BE49-F238E27FC236}">
                  <a16:creationId xmlns:a16="http://schemas.microsoft.com/office/drawing/2014/main" xmlns="" id="{BF97EDE1-E4D8-4A4A-9283-6AB0F5012879}"/>
                </a:ext>
              </a:extLst>
            </p:cNvPr>
            <p:cNvSpPr/>
            <p:nvPr/>
          </p:nvSpPr>
          <p:spPr>
            <a:xfrm>
              <a:off x="3111512" y="3384130"/>
              <a:ext cx="4584268" cy="2899897"/>
            </a:xfrm>
            <a:prstGeom prst="rect">
              <a:avLst/>
            </a:prstGeom>
            <a:solidFill>
              <a:srgbClr val="FFFFFF">
                <a:alpha val="50000"/>
              </a:srgbClr>
            </a:solidFill>
            <a:ln w="25400" cap="flat" cmpd="sng" algn="ctr">
              <a:noFill/>
              <a:prstDash val="solid"/>
            </a:ln>
            <a:effectLst/>
          </p:spPr>
          <p:txBody>
            <a:bodyPr lIns="69459" tIns="69459" rIns="69459" bIns="69459"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xmlns="" id="{1A68102B-7B1D-41C0-B303-76C821DA1554}"/>
                </a:ext>
              </a:extLst>
            </p:cNvPr>
            <p:cNvSpPr/>
            <p:nvPr/>
          </p:nvSpPr>
          <p:spPr>
            <a:xfrm>
              <a:off x="7540374" y="3384130"/>
              <a:ext cx="4751640" cy="2899897"/>
            </a:xfrm>
            <a:prstGeom prst="rect">
              <a:avLst/>
            </a:prstGeom>
            <a:solidFill>
              <a:srgbClr val="E6E6E6"/>
            </a:solidFill>
            <a:ln w="25400" cap="flat" cmpd="sng" algn="ctr">
              <a:noFill/>
              <a:prstDash val="solid"/>
            </a:ln>
            <a:effectLst/>
          </p:spPr>
          <p:txBody>
            <a:bodyPr lIns="69459" tIns="69459" rIns="69459" bIns="69459"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srgbClr val="004074"/>
                </a:solidFill>
                <a:effectLst/>
                <a:uLnTx/>
                <a:uFillTx/>
                <a:latin typeface="Arial"/>
                <a:ea typeface="+mn-ea"/>
                <a:cs typeface="+mn-cs"/>
              </a:endParaRPr>
            </a:p>
          </p:txBody>
        </p:sp>
        <p:sp>
          <p:nvSpPr>
            <p:cNvPr id="28" name="Rectangle 27">
              <a:extLst>
                <a:ext uri="{FF2B5EF4-FFF2-40B4-BE49-F238E27FC236}">
                  <a16:creationId xmlns:a16="http://schemas.microsoft.com/office/drawing/2014/main" xmlns="" id="{8D297EBE-4C52-409B-BCA7-D1F9AD346286}"/>
                </a:ext>
              </a:extLst>
            </p:cNvPr>
            <p:cNvSpPr/>
            <p:nvPr/>
          </p:nvSpPr>
          <p:spPr>
            <a:xfrm>
              <a:off x="7540373" y="762623"/>
              <a:ext cx="4751640" cy="2612567"/>
            </a:xfrm>
            <a:prstGeom prst="rect">
              <a:avLst/>
            </a:prstGeom>
            <a:solidFill>
              <a:srgbClr val="FFFFFF">
                <a:alpha val="50000"/>
              </a:srgbClr>
            </a:solidFill>
            <a:ln w="25400" cap="flat" cmpd="sng" algn="ctr">
              <a:noFill/>
              <a:prstDash val="solid"/>
            </a:ln>
            <a:effectLst/>
          </p:spPr>
          <p:txBody>
            <a:bodyPr lIns="69459" tIns="69459" rIns="69459" bIns="69459"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1" b="0" i="0" u="none" strike="noStrike" kern="0" cap="none" spc="0" normalizeH="0" baseline="0" noProof="0">
                <a:ln>
                  <a:noFill/>
                </a:ln>
                <a:solidFill>
                  <a:srgbClr val="000000"/>
                </a:solidFill>
                <a:effectLst/>
                <a:uLnTx/>
                <a:uFillTx/>
                <a:latin typeface="Arial"/>
                <a:ea typeface="+mn-ea"/>
                <a:cs typeface="+mn-cs"/>
              </a:endParaRPr>
            </a:p>
          </p:txBody>
        </p:sp>
        <p:sp>
          <p:nvSpPr>
            <p:cNvPr id="29" name="Content Placeholder 12">
              <a:extLst>
                <a:ext uri="{FF2B5EF4-FFF2-40B4-BE49-F238E27FC236}">
                  <a16:creationId xmlns:a16="http://schemas.microsoft.com/office/drawing/2014/main" xmlns="" id="{8CA1A4A4-E79B-4445-A19F-985A76853973}"/>
                </a:ext>
              </a:extLst>
            </p:cNvPr>
            <p:cNvSpPr txBox="1">
              <a:spLocks/>
            </p:cNvSpPr>
            <p:nvPr/>
          </p:nvSpPr>
          <p:spPr>
            <a:xfrm>
              <a:off x="7695780" y="4068634"/>
              <a:ext cx="4563117" cy="1964713"/>
            </a:xfrm>
            <a:prstGeom prst="rect">
              <a:avLst/>
            </a:prstGeom>
          </p:spPr>
          <p:txBody>
            <a:bodyPr wrap="square" lIns="0" tIns="0" rIns="0" bIns="0" anchorCtr="0">
              <a:spAutoFit/>
            </a:bodyPr>
            <a:lstStyle>
              <a:defPPr>
                <a:defRPr lang="de-DE"/>
              </a:defPPr>
              <a:lvl1pPr marL="177800" indent="-177800">
                <a:lnSpc>
                  <a:spcPct val="90000"/>
                </a:lnSpc>
                <a:spcBef>
                  <a:spcPts val="200"/>
                </a:spcBef>
                <a:spcAft>
                  <a:spcPts val="0"/>
                </a:spcAft>
                <a:buClr>
                  <a:schemeClr val="tx1"/>
                </a:buClr>
                <a:buSzPct val="100000"/>
                <a:buFont typeface="Arial" panose="020B0604020202020204" pitchFamily="34" charset="0"/>
                <a:buChar char="–"/>
                <a:defRPr sz="800">
                  <a:solidFill>
                    <a:schemeClr val="tx2"/>
                  </a:solidFill>
                </a:defRPr>
              </a:lvl1pPr>
              <a:lvl2pPr marL="180000" indent="-180000">
                <a:lnSpc>
                  <a:spcPct val="90000"/>
                </a:lnSpc>
                <a:spcBef>
                  <a:spcPts val="0"/>
                </a:spcBef>
                <a:spcAft>
                  <a:spcPts val="600"/>
                </a:spcAft>
                <a:buFont typeface="System Font Regular"/>
                <a:buChar char="–"/>
                <a:tabLst/>
                <a:defRPr sz="1100"/>
              </a:lvl2pPr>
              <a:lvl3pPr marL="360000" indent="-180000">
                <a:lnSpc>
                  <a:spcPct val="90000"/>
                </a:lnSpc>
                <a:spcBef>
                  <a:spcPts val="0"/>
                </a:spcBef>
                <a:spcAft>
                  <a:spcPts val="600"/>
                </a:spcAft>
                <a:buFont typeface="System Font Regular"/>
                <a:buChar char="–"/>
                <a:tabLst/>
                <a:defRPr sz="1100"/>
              </a:lvl3pPr>
              <a:lvl4pPr marL="540000" indent="-180000">
                <a:lnSpc>
                  <a:spcPct val="90000"/>
                </a:lnSpc>
                <a:spcBef>
                  <a:spcPts val="0"/>
                </a:spcBef>
                <a:spcAft>
                  <a:spcPts val="600"/>
                </a:spcAft>
                <a:buFont typeface="System Font Regular"/>
                <a:buChar char="–"/>
                <a:tabLst/>
                <a:defRPr sz="1100"/>
              </a:lvl4pPr>
              <a:lvl5pPr marL="720000" indent="-180000">
                <a:lnSpc>
                  <a:spcPct val="90000"/>
                </a:lnSpc>
                <a:spcBef>
                  <a:spcPts val="0"/>
                </a:spcBef>
                <a:spcAft>
                  <a:spcPts val="600"/>
                </a:spcAft>
                <a:buFont typeface="System Font Regular"/>
                <a:buChar char="–"/>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Uncertain competitive &amp; legislative landscape </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Volatile labour environment</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Limited project pipeline </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Major entities in </a:t>
              </a:r>
              <a:r>
                <a:rPr kumimoji="0" lang="en-GB" sz="1544" b="1" i="1" u="none" strike="noStrike" kern="0" cap="none" spc="0" normalizeH="0" baseline="0" noProof="0" dirty="0">
                  <a:ln>
                    <a:noFill/>
                  </a:ln>
                  <a:solidFill>
                    <a:srgbClr val="004074"/>
                  </a:solidFill>
                  <a:effectLst/>
                  <a:uLnTx/>
                  <a:uFillTx/>
                  <a:latin typeface="Arial"/>
                </a:rPr>
                <a:t>declining lifecycle </a:t>
              </a:r>
              <a:r>
                <a:rPr kumimoji="0" lang="en-GB" sz="1544" b="0" i="0" u="none" strike="noStrike" kern="0" cap="none" spc="0" normalizeH="0" baseline="0" noProof="0" dirty="0">
                  <a:ln>
                    <a:noFill/>
                  </a:ln>
                  <a:solidFill>
                    <a:srgbClr val="004074"/>
                  </a:solidFill>
                  <a:effectLst/>
                  <a:uLnTx/>
                  <a:uFillTx/>
                  <a:latin typeface="Arial"/>
                </a:rPr>
                <a:t>phase</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1" i="1" u="none" strike="noStrike" kern="0" cap="none" spc="0" normalizeH="0" baseline="0" noProof="0" dirty="0">
                  <a:ln>
                    <a:noFill/>
                  </a:ln>
                  <a:solidFill>
                    <a:srgbClr val="004074"/>
                  </a:solidFill>
                  <a:effectLst/>
                  <a:uLnTx/>
                  <a:uFillTx/>
                  <a:latin typeface="Arial"/>
                </a:rPr>
                <a:t>PetroSA financial impact </a:t>
              </a:r>
              <a:r>
                <a:rPr kumimoji="0" lang="en-GB" sz="1544" b="0" i="0" u="none" strike="noStrike" kern="0" cap="none" spc="0" normalizeH="0" baseline="0" noProof="0" dirty="0">
                  <a:ln>
                    <a:noFill/>
                  </a:ln>
                  <a:solidFill>
                    <a:srgbClr val="004074"/>
                  </a:solidFill>
                  <a:effectLst/>
                  <a:uLnTx/>
                  <a:uFillTx/>
                  <a:latin typeface="Arial"/>
                </a:rPr>
                <a:t>on CEF SOC resources and time</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Developmental programs competing for resources with commercial projects.</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Lack of strategic asset allocation</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lang="en-GB" sz="1544" b="1" i="1" kern="0" dirty="0">
                  <a:solidFill>
                    <a:srgbClr val="004074"/>
                  </a:solidFill>
                  <a:latin typeface="Arial"/>
                </a:rPr>
                <a:t>Funding Gap </a:t>
              </a:r>
              <a:r>
                <a:rPr lang="en-GB" sz="1544" kern="0" dirty="0">
                  <a:solidFill>
                    <a:srgbClr val="004074"/>
                  </a:solidFill>
                  <a:latin typeface="Arial"/>
                </a:rPr>
                <a:t>for Turnaround initiatives</a:t>
              </a:r>
              <a:endParaRPr kumimoji="0" lang="en-GB" sz="1544" b="0" i="0" u="none" strike="noStrike" kern="0" cap="none" spc="0" normalizeH="0" baseline="0" noProof="0" dirty="0">
                <a:ln>
                  <a:noFill/>
                </a:ln>
                <a:solidFill>
                  <a:srgbClr val="004074"/>
                </a:solidFill>
                <a:effectLst/>
                <a:uLnTx/>
                <a:uFillTx/>
                <a:latin typeface="Arial"/>
              </a:endParaRPr>
            </a:p>
          </p:txBody>
        </p:sp>
        <p:sp>
          <p:nvSpPr>
            <p:cNvPr id="30" name="Content Placeholder 12">
              <a:extLst>
                <a:ext uri="{FF2B5EF4-FFF2-40B4-BE49-F238E27FC236}">
                  <a16:creationId xmlns:a16="http://schemas.microsoft.com/office/drawing/2014/main" xmlns="" id="{2493E12B-2919-4881-A1F1-0601C92A9A25}"/>
                </a:ext>
              </a:extLst>
            </p:cNvPr>
            <p:cNvSpPr txBox="1">
              <a:spLocks/>
            </p:cNvSpPr>
            <p:nvPr/>
          </p:nvSpPr>
          <p:spPr>
            <a:xfrm>
              <a:off x="7662666" y="1348495"/>
              <a:ext cx="4596232" cy="1986452"/>
            </a:xfrm>
            <a:prstGeom prst="rect">
              <a:avLst/>
            </a:prstGeom>
          </p:spPr>
          <p:txBody>
            <a:bodyPr wrap="square" lIns="0" tIns="0" rIns="0" bIns="0" anchorCtr="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100" kern="1200" noProof="0" dirty="0" smtClean="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1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1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1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1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Limited participation in the energy value chain</a:t>
              </a:r>
              <a:endParaRPr kumimoji="0" lang="en-GB" sz="1013" b="0" i="0" u="none" strike="noStrike" kern="1200" cap="none" spc="0" normalizeH="0" baseline="0" noProof="0" dirty="0">
                <a:ln>
                  <a:noFill/>
                </a:ln>
                <a:solidFill>
                  <a:srgbClr val="004074"/>
                </a:solidFill>
                <a:effectLst/>
                <a:uLnTx/>
                <a:uFillTx/>
                <a:latin typeface="Arial"/>
                <a:ea typeface="+mn-ea"/>
                <a:cs typeface="+mn-cs"/>
              </a:endParaRP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Poor implementation track record on complex projects  </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Single source entities</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Cumbersome governance, processes and OM</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Resource constraints (Finical</a:t>
              </a:r>
              <a:r>
                <a:rPr kumimoji="0" lang="en-GB" sz="1544" b="0" i="0" u="none" strike="noStrike" kern="1200" cap="none" spc="0" normalizeH="0" noProof="0" dirty="0">
                  <a:ln>
                    <a:noFill/>
                  </a:ln>
                  <a:solidFill>
                    <a:srgbClr val="004074"/>
                  </a:solidFill>
                  <a:effectLst/>
                  <a:uLnTx/>
                  <a:uFillTx/>
                  <a:latin typeface="Arial"/>
                  <a:ea typeface="+mn-ea"/>
                  <a:cs typeface="+mn-cs"/>
                </a:rPr>
                <a:t> &amp; Non Financial )</a:t>
              </a:r>
              <a:endParaRPr kumimoji="0" lang="en-GB" sz="1544" b="0" i="0" u="none" strike="noStrike" kern="1200" cap="none" spc="0" normalizeH="0" baseline="0" noProof="0" dirty="0">
                <a:ln>
                  <a:noFill/>
                </a:ln>
                <a:solidFill>
                  <a:srgbClr val="004074"/>
                </a:solidFill>
                <a:effectLst/>
                <a:uLnTx/>
                <a:uFillTx/>
                <a:latin typeface="Arial"/>
                <a:ea typeface="+mn-ea"/>
                <a:cs typeface="+mn-cs"/>
              </a:endParaRP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Weak Group Value Proposition</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Poor Performance</a:t>
              </a:r>
              <a:r>
                <a:rPr kumimoji="0" lang="en-GB" sz="1544" b="0" i="0" u="none" strike="noStrike" kern="1200" cap="none" spc="0" normalizeH="0" noProof="0" dirty="0">
                  <a:ln>
                    <a:noFill/>
                  </a:ln>
                  <a:solidFill>
                    <a:srgbClr val="004074"/>
                  </a:solidFill>
                  <a:effectLst/>
                  <a:uLnTx/>
                  <a:uFillTx/>
                  <a:latin typeface="Arial"/>
                  <a:ea typeface="+mn-ea"/>
                  <a:cs typeface="+mn-cs"/>
                </a:rPr>
                <a:t> Management</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lang="en-GB" sz="1544" baseline="0" dirty="0">
                  <a:solidFill>
                    <a:srgbClr val="004074"/>
                  </a:solidFill>
                  <a:latin typeface="Arial"/>
                </a:rPr>
                <a:t>Limited</a:t>
              </a:r>
              <a:r>
                <a:rPr lang="en-GB" sz="1544" dirty="0">
                  <a:solidFill>
                    <a:srgbClr val="004074"/>
                  </a:solidFill>
                  <a:latin typeface="Arial"/>
                </a:rPr>
                <a:t> Growth</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1" i="1" u="none" strike="noStrike" kern="1200" cap="none" spc="0" normalizeH="0" baseline="0" noProof="0" dirty="0">
                  <a:ln>
                    <a:noFill/>
                  </a:ln>
                  <a:solidFill>
                    <a:srgbClr val="004074"/>
                  </a:solidFill>
                  <a:effectLst/>
                  <a:uLnTx/>
                  <a:uFillTx/>
                  <a:latin typeface="Arial"/>
                  <a:ea typeface="+mn-ea"/>
                  <a:cs typeface="+mn-cs"/>
                </a:rPr>
                <a:t>Malfeasance</a:t>
              </a:r>
              <a:r>
                <a:rPr kumimoji="0" lang="en-GB" sz="1544" b="0" i="0" u="none" strike="noStrike" kern="1200" cap="none" spc="0" normalizeH="0" baseline="0" noProof="0" dirty="0">
                  <a:ln>
                    <a:noFill/>
                  </a:ln>
                  <a:solidFill>
                    <a:srgbClr val="004074"/>
                  </a:solidFill>
                  <a:effectLst/>
                  <a:uLnTx/>
                  <a:uFillTx/>
                  <a:latin typeface="Arial"/>
                  <a:ea typeface="+mn-ea"/>
                  <a:cs typeface="+mn-cs"/>
                </a:rPr>
                <a:t> &amp; apathy</a:t>
              </a:r>
              <a:r>
                <a:rPr kumimoji="0" lang="en-GB" sz="1544" b="0" i="0" u="none" strike="noStrike" kern="1200" cap="none" spc="0" normalizeH="0" noProof="0" dirty="0">
                  <a:ln>
                    <a:noFill/>
                  </a:ln>
                  <a:solidFill>
                    <a:srgbClr val="004074"/>
                  </a:solidFill>
                  <a:effectLst/>
                  <a:uLnTx/>
                  <a:uFillTx/>
                  <a:latin typeface="Arial"/>
                  <a:ea typeface="+mn-ea"/>
                  <a:cs typeface="+mn-cs"/>
                </a:rPr>
                <a:t> culture</a:t>
              </a:r>
              <a:endParaRPr kumimoji="0" lang="en-GB" sz="1544" b="0" i="0" u="none" strike="noStrike" kern="1200" cap="none" spc="0" normalizeH="0" baseline="0" noProof="0" dirty="0">
                <a:ln>
                  <a:noFill/>
                </a:ln>
                <a:solidFill>
                  <a:srgbClr val="004074"/>
                </a:solidFill>
                <a:effectLst/>
                <a:uLnTx/>
                <a:uFillTx/>
                <a:latin typeface="Arial"/>
                <a:ea typeface="+mn-ea"/>
                <a:cs typeface="+mn-cs"/>
              </a:endParaRPr>
            </a:p>
          </p:txBody>
        </p:sp>
        <p:sp>
          <p:nvSpPr>
            <p:cNvPr id="31" name="Content Placeholder 12">
              <a:extLst>
                <a:ext uri="{FF2B5EF4-FFF2-40B4-BE49-F238E27FC236}">
                  <a16:creationId xmlns:a16="http://schemas.microsoft.com/office/drawing/2014/main" xmlns="" id="{CD8839B8-CD00-4099-BB85-399492EBC5D5}"/>
                </a:ext>
              </a:extLst>
            </p:cNvPr>
            <p:cNvSpPr txBox="1">
              <a:spLocks/>
            </p:cNvSpPr>
            <p:nvPr/>
          </p:nvSpPr>
          <p:spPr>
            <a:xfrm>
              <a:off x="3111512" y="1479978"/>
              <a:ext cx="4020485" cy="1536987"/>
            </a:xfrm>
            <a:prstGeom prst="rect">
              <a:avLst/>
            </a:prstGeom>
          </p:spPr>
          <p:txBody>
            <a:bodyPr wrap="square" lIns="0" tIns="0" rIns="0" bIns="0" anchorCtr="0">
              <a:sp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100" kern="1200" noProof="0" dirty="0" smtClean="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System Font Regular"/>
                <a:buChar char="–"/>
                <a:tabLst/>
                <a:defRPr sz="110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System Font Regular"/>
                <a:buChar char="–"/>
                <a:tabLst/>
                <a:defRPr sz="110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System Font Regular"/>
                <a:buChar char="–"/>
                <a:tabLst/>
                <a:defRPr sz="11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1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Competitive advantage as an SOE in the energy landscape</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Close proximity to policy development</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1200" cap="none" spc="0" normalizeH="0" baseline="0" noProof="0" dirty="0">
                  <a:ln>
                    <a:noFill/>
                  </a:ln>
                  <a:solidFill>
                    <a:srgbClr val="004074"/>
                  </a:solidFill>
                  <a:effectLst/>
                  <a:uLnTx/>
                  <a:uFillTx/>
                  <a:latin typeface="Arial"/>
                  <a:ea typeface="+mn-ea"/>
                  <a:cs typeface="+mn-cs"/>
                </a:rPr>
                <a:t>Limited leverage with deployable cash reserves</a:t>
              </a: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lang="en-GB" sz="1544" dirty="0">
                  <a:solidFill>
                    <a:srgbClr val="004074"/>
                  </a:solidFill>
                  <a:latin typeface="Arial"/>
                </a:rPr>
                <a:t>Strong cash reserves by various entities in the Group</a:t>
              </a:r>
              <a:endParaRPr kumimoji="0" lang="en-GB" sz="1013" b="0" i="0" u="none" strike="noStrike" kern="1200" cap="none" spc="0" normalizeH="0" baseline="0" noProof="0" dirty="0">
                <a:ln>
                  <a:noFill/>
                </a:ln>
                <a:solidFill>
                  <a:srgbClr val="004074"/>
                </a:solidFill>
                <a:effectLst/>
                <a:uLnTx/>
                <a:uFillTx/>
                <a:latin typeface="Arial"/>
                <a:ea typeface="+mn-ea"/>
                <a:cs typeface="+mn-cs"/>
              </a:endParaRPr>
            </a:p>
            <a:p>
              <a:pPr marL="137219" marR="0" lvl="0" indent="-137219" algn="l" defTabSz="914400" rtl="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endParaRPr kumimoji="0" lang="en-GB" sz="1544" b="0" i="0" u="none" strike="noStrike" kern="1200" cap="none" spc="0" normalizeH="0" baseline="0" noProof="0" dirty="0">
                <a:ln>
                  <a:noFill/>
                </a:ln>
                <a:solidFill>
                  <a:srgbClr val="004074"/>
                </a:solidFill>
                <a:effectLst/>
                <a:uLnTx/>
                <a:uFillTx/>
                <a:latin typeface="Arial"/>
                <a:ea typeface="+mn-ea"/>
                <a:cs typeface="+mn-cs"/>
              </a:endParaRPr>
            </a:p>
          </p:txBody>
        </p:sp>
        <p:sp>
          <p:nvSpPr>
            <p:cNvPr id="32" name="Text Placeholder 9">
              <a:extLst>
                <a:ext uri="{FF2B5EF4-FFF2-40B4-BE49-F238E27FC236}">
                  <a16:creationId xmlns:a16="http://schemas.microsoft.com/office/drawing/2014/main" xmlns="" id="{8DA620E6-15B6-45CE-BBB4-C4668B65C75A}"/>
                </a:ext>
              </a:extLst>
            </p:cNvPr>
            <p:cNvSpPr txBox="1">
              <a:spLocks/>
            </p:cNvSpPr>
            <p:nvPr/>
          </p:nvSpPr>
          <p:spPr>
            <a:xfrm>
              <a:off x="3434956" y="1011114"/>
              <a:ext cx="3697042" cy="213709"/>
            </a:xfrm>
            <a:prstGeom prst="rect">
              <a:avLst/>
            </a:prstGeom>
          </p:spPr>
          <p:txBody>
            <a:bodyPr vert="horz" lIns="0" tIns="0" rIns="0" bIns="0" rtlCol="0">
              <a:noAutofit/>
            </a:bodyPr>
            <a:lstStyle>
              <a:lvl1pPr indent="0">
                <a:lnSpc>
                  <a:spcPct val="90000"/>
                </a:lnSpc>
                <a:spcBef>
                  <a:spcPts val="0"/>
                </a:spcBef>
                <a:spcAft>
                  <a:spcPts val="0"/>
                </a:spcAft>
                <a:buFont typeface="Arial" panose="020B0604020202020204" pitchFamily="34" charset="0"/>
                <a:buNone/>
                <a:defRPr lang="en-US" b="1" noProof="0">
                  <a:solidFill>
                    <a:schemeClr val="tx2"/>
                  </a:solidFill>
                </a:defRPr>
              </a:lvl1pPr>
              <a:lvl2pPr marL="0" indent="0">
                <a:lnSpc>
                  <a:spcPct val="90000"/>
                </a:lnSpc>
                <a:spcBef>
                  <a:spcPts val="0"/>
                </a:spcBef>
                <a:spcAft>
                  <a:spcPts val="0"/>
                </a:spcAft>
                <a:buFont typeface="System Font Regular"/>
                <a:buNone/>
                <a:tabLst/>
                <a:defRPr b="1"/>
              </a:lvl2pPr>
              <a:lvl3pPr marL="0" indent="0">
                <a:lnSpc>
                  <a:spcPct val="90000"/>
                </a:lnSpc>
                <a:spcBef>
                  <a:spcPts val="0"/>
                </a:spcBef>
                <a:spcAft>
                  <a:spcPts val="0"/>
                </a:spcAft>
                <a:buFont typeface="System Font Regular"/>
                <a:buNone/>
                <a:tabLst/>
                <a:defRPr sz="1100"/>
              </a:lvl3pPr>
              <a:lvl4pPr marL="0" indent="0">
                <a:lnSpc>
                  <a:spcPct val="90000"/>
                </a:lnSpc>
                <a:spcBef>
                  <a:spcPts val="0"/>
                </a:spcBef>
                <a:spcAft>
                  <a:spcPts val="0"/>
                </a:spcAft>
                <a:buFont typeface="System Font Regular"/>
                <a:buNone/>
                <a:tabLst/>
                <a:defRPr sz="1100"/>
              </a:lvl4pPr>
              <a:lvl5pPr marL="0" indent="0">
                <a:lnSpc>
                  <a:spcPct val="90000"/>
                </a:lnSpc>
                <a:spcBef>
                  <a:spcPts val="0"/>
                </a:spcBef>
                <a:spcAft>
                  <a:spcPts val="0"/>
                </a:spcAft>
                <a:buFont typeface="System Font Regular"/>
                <a:buNone/>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defTabSz="91440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929" b="1" i="0" u="none" strike="noStrike" kern="0" cap="none" spc="0" normalizeH="0" baseline="0" noProof="0" dirty="0">
                  <a:ln>
                    <a:noFill/>
                  </a:ln>
                  <a:solidFill>
                    <a:srgbClr val="000000"/>
                  </a:solidFill>
                  <a:effectLst/>
                  <a:uLnTx/>
                  <a:uFillTx/>
                  <a:latin typeface="Arial"/>
                </a:rPr>
                <a:t>Strengths</a:t>
              </a:r>
            </a:p>
          </p:txBody>
        </p:sp>
        <p:sp>
          <p:nvSpPr>
            <p:cNvPr id="33" name="Text Placeholder 9">
              <a:extLst>
                <a:ext uri="{FF2B5EF4-FFF2-40B4-BE49-F238E27FC236}">
                  <a16:creationId xmlns:a16="http://schemas.microsoft.com/office/drawing/2014/main" xmlns="" id="{D76961C1-08D6-402D-BFA7-B264CE49BC97}"/>
                </a:ext>
              </a:extLst>
            </p:cNvPr>
            <p:cNvSpPr txBox="1">
              <a:spLocks/>
            </p:cNvSpPr>
            <p:nvPr/>
          </p:nvSpPr>
          <p:spPr>
            <a:xfrm>
              <a:off x="8026538" y="990849"/>
              <a:ext cx="3697042" cy="213709"/>
            </a:xfrm>
            <a:prstGeom prst="rect">
              <a:avLst/>
            </a:prstGeom>
          </p:spPr>
          <p:txBody>
            <a:bodyPr vert="horz" lIns="0" tIns="0" rIns="0" bIns="0" rtlCol="0">
              <a:noAutofit/>
            </a:bodyPr>
            <a:lstStyle>
              <a:lvl1pPr indent="0">
                <a:lnSpc>
                  <a:spcPct val="90000"/>
                </a:lnSpc>
                <a:spcBef>
                  <a:spcPts val="0"/>
                </a:spcBef>
                <a:spcAft>
                  <a:spcPts val="0"/>
                </a:spcAft>
                <a:buFont typeface="Arial" panose="020B0604020202020204" pitchFamily="34" charset="0"/>
                <a:buNone/>
                <a:defRPr lang="en-US" b="1" noProof="0">
                  <a:solidFill>
                    <a:schemeClr val="tx2"/>
                  </a:solidFill>
                </a:defRPr>
              </a:lvl1pPr>
              <a:lvl2pPr marL="0" indent="0">
                <a:lnSpc>
                  <a:spcPct val="90000"/>
                </a:lnSpc>
                <a:spcBef>
                  <a:spcPts val="0"/>
                </a:spcBef>
                <a:spcAft>
                  <a:spcPts val="0"/>
                </a:spcAft>
                <a:buFont typeface="System Font Regular"/>
                <a:buNone/>
                <a:tabLst/>
                <a:defRPr b="1"/>
              </a:lvl2pPr>
              <a:lvl3pPr marL="0" indent="0">
                <a:lnSpc>
                  <a:spcPct val="90000"/>
                </a:lnSpc>
                <a:spcBef>
                  <a:spcPts val="0"/>
                </a:spcBef>
                <a:spcAft>
                  <a:spcPts val="0"/>
                </a:spcAft>
                <a:buFont typeface="System Font Regular"/>
                <a:buNone/>
                <a:tabLst/>
                <a:defRPr sz="1100"/>
              </a:lvl3pPr>
              <a:lvl4pPr marL="0" indent="0">
                <a:lnSpc>
                  <a:spcPct val="90000"/>
                </a:lnSpc>
                <a:spcBef>
                  <a:spcPts val="0"/>
                </a:spcBef>
                <a:spcAft>
                  <a:spcPts val="0"/>
                </a:spcAft>
                <a:buFont typeface="System Font Regular"/>
                <a:buNone/>
                <a:tabLst/>
                <a:defRPr sz="1100"/>
              </a:lvl4pPr>
              <a:lvl5pPr marL="0" indent="0">
                <a:lnSpc>
                  <a:spcPct val="90000"/>
                </a:lnSpc>
                <a:spcBef>
                  <a:spcPts val="0"/>
                </a:spcBef>
                <a:spcAft>
                  <a:spcPts val="0"/>
                </a:spcAft>
                <a:buFont typeface="System Font Regular"/>
                <a:buNone/>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defTabSz="91440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929" b="1" i="0" u="none" strike="noStrike" kern="0" cap="none" spc="0" normalizeH="0" baseline="0" noProof="0" dirty="0">
                  <a:ln>
                    <a:noFill/>
                  </a:ln>
                  <a:solidFill>
                    <a:srgbClr val="000000"/>
                  </a:solidFill>
                  <a:effectLst/>
                  <a:uLnTx/>
                  <a:uFillTx/>
                  <a:latin typeface="Arial"/>
                </a:rPr>
                <a:t>Weaknesses</a:t>
              </a:r>
            </a:p>
          </p:txBody>
        </p:sp>
        <p:sp>
          <p:nvSpPr>
            <p:cNvPr id="34" name="Text Placeholder 9">
              <a:extLst>
                <a:ext uri="{FF2B5EF4-FFF2-40B4-BE49-F238E27FC236}">
                  <a16:creationId xmlns:a16="http://schemas.microsoft.com/office/drawing/2014/main" xmlns="" id="{D2024EC9-8066-4111-92A9-D099671DA342}"/>
                </a:ext>
              </a:extLst>
            </p:cNvPr>
            <p:cNvSpPr txBox="1">
              <a:spLocks/>
            </p:cNvSpPr>
            <p:nvPr/>
          </p:nvSpPr>
          <p:spPr>
            <a:xfrm>
              <a:off x="8026537" y="3717925"/>
              <a:ext cx="3697042" cy="213709"/>
            </a:xfrm>
            <a:prstGeom prst="rect">
              <a:avLst/>
            </a:prstGeom>
          </p:spPr>
          <p:txBody>
            <a:bodyPr vert="horz" lIns="0" tIns="0" rIns="0" bIns="0" rtlCol="0">
              <a:noAutofit/>
            </a:bodyPr>
            <a:lstStyle>
              <a:lvl1pPr indent="0">
                <a:lnSpc>
                  <a:spcPct val="90000"/>
                </a:lnSpc>
                <a:spcBef>
                  <a:spcPts val="0"/>
                </a:spcBef>
                <a:spcAft>
                  <a:spcPts val="0"/>
                </a:spcAft>
                <a:buFont typeface="Arial" panose="020B0604020202020204" pitchFamily="34" charset="0"/>
                <a:buNone/>
                <a:defRPr lang="en-US" b="1" noProof="0">
                  <a:solidFill>
                    <a:schemeClr val="tx2"/>
                  </a:solidFill>
                </a:defRPr>
              </a:lvl1pPr>
              <a:lvl2pPr marL="0" indent="0">
                <a:lnSpc>
                  <a:spcPct val="90000"/>
                </a:lnSpc>
                <a:spcBef>
                  <a:spcPts val="0"/>
                </a:spcBef>
                <a:spcAft>
                  <a:spcPts val="0"/>
                </a:spcAft>
                <a:buFont typeface="System Font Regular"/>
                <a:buNone/>
                <a:tabLst/>
                <a:defRPr b="1"/>
              </a:lvl2pPr>
              <a:lvl3pPr marL="0" indent="0">
                <a:lnSpc>
                  <a:spcPct val="90000"/>
                </a:lnSpc>
                <a:spcBef>
                  <a:spcPts val="0"/>
                </a:spcBef>
                <a:spcAft>
                  <a:spcPts val="0"/>
                </a:spcAft>
                <a:buFont typeface="System Font Regular"/>
                <a:buNone/>
                <a:tabLst/>
                <a:defRPr sz="1100"/>
              </a:lvl3pPr>
              <a:lvl4pPr marL="0" indent="0">
                <a:lnSpc>
                  <a:spcPct val="90000"/>
                </a:lnSpc>
                <a:spcBef>
                  <a:spcPts val="0"/>
                </a:spcBef>
                <a:spcAft>
                  <a:spcPts val="0"/>
                </a:spcAft>
                <a:buFont typeface="System Font Regular"/>
                <a:buNone/>
                <a:tabLst/>
                <a:defRPr sz="1100"/>
              </a:lvl4pPr>
              <a:lvl5pPr marL="0" indent="0">
                <a:lnSpc>
                  <a:spcPct val="90000"/>
                </a:lnSpc>
                <a:spcBef>
                  <a:spcPts val="0"/>
                </a:spcBef>
                <a:spcAft>
                  <a:spcPts val="0"/>
                </a:spcAft>
                <a:buFont typeface="System Font Regular"/>
                <a:buNone/>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defTabSz="91440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929" b="1" i="0" u="none" strike="noStrike" kern="0" cap="none" spc="0" normalizeH="0" baseline="0" noProof="0">
                  <a:ln>
                    <a:noFill/>
                  </a:ln>
                  <a:solidFill>
                    <a:srgbClr val="000000"/>
                  </a:solidFill>
                  <a:effectLst/>
                  <a:uLnTx/>
                  <a:uFillTx/>
                  <a:latin typeface="Arial"/>
                </a:rPr>
                <a:t>Threats</a:t>
              </a:r>
            </a:p>
          </p:txBody>
        </p:sp>
        <p:sp>
          <p:nvSpPr>
            <p:cNvPr id="35" name="Content Placeholder 12">
              <a:extLst>
                <a:ext uri="{FF2B5EF4-FFF2-40B4-BE49-F238E27FC236}">
                  <a16:creationId xmlns:a16="http://schemas.microsoft.com/office/drawing/2014/main" xmlns="" id="{3624FED6-7954-469B-8C52-3CB1EB8496AF}"/>
                </a:ext>
              </a:extLst>
            </p:cNvPr>
            <p:cNvSpPr txBox="1">
              <a:spLocks/>
            </p:cNvSpPr>
            <p:nvPr/>
          </p:nvSpPr>
          <p:spPr>
            <a:xfrm>
              <a:off x="3083048" y="4066382"/>
              <a:ext cx="4378666" cy="2145967"/>
            </a:xfrm>
            <a:prstGeom prst="rect">
              <a:avLst/>
            </a:prstGeom>
          </p:spPr>
          <p:txBody>
            <a:bodyPr wrap="square" lIns="0" tIns="0" rIns="0" bIns="0" anchorCtr="0">
              <a:spAutoFit/>
            </a:bodyPr>
            <a:lstStyle>
              <a:defPPr>
                <a:defRPr lang="de-DE"/>
              </a:defPPr>
              <a:lvl1pPr marL="177800" indent="-177800">
                <a:lnSpc>
                  <a:spcPct val="90000"/>
                </a:lnSpc>
                <a:spcBef>
                  <a:spcPts val="200"/>
                </a:spcBef>
                <a:spcAft>
                  <a:spcPts val="0"/>
                </a:spcAft>
                <a:buClr>
                  <a:schemeClr val="tx1"/>
                </a:buClr>
                <a:buSzPct val="100000"/>
                <a:buFont typeface="Arial" panose="020B0604020202020204" pitchFamily="34" charset="0"/>
                <a:buChar char="–"/>
                <a:defRPr sz="800">
                  <a:solidFill>
                    <a:schemeClr val="tx2"/>
                  </a:solidFill>
                </a:defRPr>
              </a:lvl1pPr>
              <a:lvl2pPr marL="180000" indent="-180000">
                <a:lnSpc>
                  <a:spcPct val="90000"/>
                </a:lnSpc>
                <a:spcBef>
                  <a:spcPts val="0"/>
                </a:spcBef>
                <a:spcAft>
                  <a:spcPts val="600"/>
                </a:spcAft>
                <a:buFont typeface="System Font Regular"/>
                <a:buChar char="–"/>
                <a:tabLst/>
                <a:defRPr sz="1100"/>
              </a:lvl2pPr>
              <a:lvl3pPr marL="360000" indent="-180000">
                <a:lnSpc>
                  <a:spcPct val="90000"/>
                </a:lnSpc>
                <a:spcBef>
                  <a:spcPts val="0"/>
                </a:spcBef>
                <a:spcAft>
                  <a:spcPts val="600"/>
                </a:spcAft>
                <a:buFont typeface="System Font Regular"/>
                <a:buChar char="–"/>
                <a:tabLst/>
                <a:defRPr sz="1100"/>
              </a:lvl3pPr>
              <a:lvl4pPr marL="540000" indent="-180000">
                <a:lnSpc>
                  <a:spcPct val="90000"/>
                </a:lnSpc>
                <a:spcBef>
                  <a:spcPts val="0"/>
                </a:spcBef>
                <a:spcAft>
                  <a:spcPts val="600"/>
                </a:spcAft>
                <a:buFont typeface="System Font Regular"/>
                <a:buChar char="–"/>
                <a:tabLst/>
                <a:defRPr sz="1100"/>
              </a:lvl4pPr>
              <a:lvl5pPr marL="720000" indent="-180000">
                <a:lnSpc>
                  <a:spcPct val="90000"/>
                </a:lnSpc>
                <a:spcBef>
                  <a:spcPts val="0"/>
                </a:spcBef>
                <a:spcAft>
                  <a:spcPts val="600"/>
                </a:spcAft>
                <a:buFont typeface="System Font Regular"/>
                <a:buChar char="–"/>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Mandate to meaningful play along the energy value chain</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Potential to coordinate with SOEs &amp; other local &amp; foreign governmental players</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Attractive partner for private sector </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Divestments of IOCs and mining companies creating gaps in the market</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Energy Commodities trading</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Energy Thought Leadership</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Synergy optimisation from Merger (SANPC)</a:t>
              </a:r>
            </a:p>
            <a:p>
              <a:pPr marL="137219" marR="0" lvl="0" indent="-137219" defTabSz="914400" eaLnBrk="1" fontAlgn="auto" latinLnBrk="0" hangingPunct="1">
                <a:lnSpc>
                  <a:spcPct val="90000"/>
                </a:lnSpc>
                <a:spcBef>
                  <a:spcPts val="193"/>
                </a:spcBef>
                <a:spcAft>
                  <a:spcPts val="0"/>
                </a:spcAft>
                <a:buClr>
                  <a:srgbClr val="000000"/>
                </a:buClr>
                <a:buSzPct val="100000"/>
                <a:buFont typeface="Arial" panose="020B0604020202020204" pitchFamily="34" charset="0"/>
                <a:buChar char="•"/>
                <a:tabLst/>
                <a:defRPr/>
              </a:pPr>
              <a:r>
                <a:rPr kumimoji="0" lang="en-GB" sz="1544" b="0" i="0" u="none" strike="noStrike" kern="0" cap="none" spc="0" normalizeH="0" baseline="0" noProof="0" dirty="0">
                  <a:ln>
                    <a:noFill/>
                  </a:ln>
                  <a:solidFill>
                    <a:srgbClr val="004074"/>
                  </a:solidFill>
                  <a:effectLst/>
                  <a:uLnTx/>
                  <a:uFillTx/>
                  <a:latin typeface="Arial"/>
                </a:rPr>
                <a:t>CEF ACT </a:t>
              </a:r>
            </a:p>
          </p:txBody>
        </p:sp>
        <p:sp>
          <p:nvSpPr>
            <p:cNvPr id="36" name="Text Placeholder 9">
              <a:extLst>
                <a:ext uri="{FF2B5EF4-FFF2-40B4-BE49-F238E27FC236}">
                  <a16:creationId xmlns:a16="http://schemas.microsoft.com/office/drawing/2014/main" xmlns="" id="{FADAC265-4D3E-4D02-9AA8-0BC956083513}"/>
                </a:ext>
              </a:extLst>
            </p:cNvPr>
            <p:cNvSpPr txBox="1">
              <a:spLocks/>
            </p:cNvSpPr>
            <p:nvPr/>
          </p:nvSpPr>
          <p:spPr>
            <a:xfrm>
              <a:off x="3434956" y="3717925"/>
              <a:ext cx="3697042" cy="213709"/>
            </a:xfrm>
            <a:prstGeom prst="rect">
              <a:avLst/>
            </a:prstGeom>
          </p:spPr>
          <p:txBody>
            <a:bodyPr vert="horz" lIns="0" tIns="0" rIns="0" bIns="0" rtlCol="0">
              <a:noAutofit/>
            </a:bodyPr>
            <a:lstStyle>
              <a:lvl1pPr indent="0">
                <a:lnSpc>
                  <a:spcPct val="90000"/>
                </a:lnSpc>
                <a:spcBef>
                  <a:spcPts val="0"/>
                </a:spcBef>
                <a:spcAft>
                  <a:spcPts val="0"/>
                </a:spcAft>
                <a:buFont typeface="Arial" panose="020B0604020202020204" pitchFamily="34" charset="0"/>
                <a:buNone/>
                <a:defRPr lang="en-US" b="1" noProof="0">
                  <a:solidFill>
                    <a:schemeClr val="tx2"/>
                  </a:solidFill>
                </a:defRPr>
              </a:lvl1pPr>
              <a:lvl2pPr marL="0" indent="0">
                <a:lnSpc>
                  <a:spcPct val="90000"/>
                </a:lnSpc>
                <a:spcBef>
                  <a:spcPts val="0"/>
                </a:spcBef>
                <a:spcAft>
                  <a:spcPts val="0"/>
                </a:spcAft>
                <a:buFont typeface="System Font Regular"/>
                <a:buNone/>
                <a:tabLst/>
                <a:defRPr b="1"/>
              </a:lvl2pPr>
              <a:lvl3pPr marL="0" indent="0">
                <a:lnSpc>
                  <a:spcPct val="90000"/>
                </a:lnSpc>
                <a:spcBef>
                  <a:spcPts val="0"/>
                </a:spcBef>
                <a:spcAft>
                  <a:spcPts val="0"/>
                </a:spcAft>
                <a:buFont typeface="System Font Regular"/>
                <a:buNone/>
                <a:tabLst/>
                <a:defRPr sz="1100"/>
              </a:lvl3pPr>
              <a:lvl4pPr marL="0" indent="0">
                <a:lnSpc>
                  <a:spcPct val="90000"/>
                </a:lnSpc>
                <a:spcBef>
                  <a:spcPts val="0"/>
                </a:spcBef>
                <a:spcAft>
                  <a:spcPts val="0"/>
                </a:spcAft>
                <a:buFont typeface="System Font Regular"/>
                <a:buNone/>
                <a:tabLst/>
                <a:defRPr sz="1100"/>
              </a:lvl4pPr>
              <a:lvl5pPr marL="0" indent="0">
                <a:lnSpc>
                  <a:spcPct val="90000"/>
                </a:lnSpc>
                <a:spcBef>
                  <a:spcPts val="0"/>
                </a:spcBef>
                <a:spcAft>
                  <a:spcPts val="0"/>
                </a:spcAft>
                <a:buFont typeface="System Font Regular"/>
                <a:buNone/>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defTabSz="91440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929" b="1" i="0" u="none" strike="noStrike" kern="0" cap="none" spc="0" normalizeH="0" baseline="0" noProof="0">
                  <a:ln>
                    <a:noFill/>
                  </a:ln>
                  <a:solidFill>
                    <a:srgbClr val="000000"/>
                  </a:solidFill>
                  <a:effectLst/>
                  <a:uLnTx/>
                  <a:uFillTx/>
                  <a:latin typeface="Arial"/>
                </a:rPr>
                <a:t>Opportunities</a:t>
              </a:r>
            </a:p>
          </p:txBody>
        </p:sp>
        <p:sp>
          <p:nvSpPr>
            <p:cNvPr id="37" name="Text Placeholder 9">
              <a:extLst>
                <a:ext uri="{FF2B5EF4-FFF2-40B4-BE49-F238E27FC236}">
                  <a16:creationId xmlns:a16="http://schemas.microsoft.com/office/drawing/2014/main" xmlns="" id="{77146975-FB71-4F39-B54E-55BA2B5C4C2C}"/>
                </a:ext>
              </a:extLst>
            </p:cNvPr>
            <p:cNvSpPr txBox="1">
              <a:spLocks/>
            </p:cNvSpPr>
            <p:nvPr/>
          </p:nvSpPr>
          <p:spPr>
            <a:xfrm>
              <a:off x="3651482" y="1002703"/>
              <a:ext cx="3697042" cy="213709"/>
            </a:xfrm>
            <a:prstGeom prst="rect">
              <a:avLst/>
            </a:prstGeom>
          </p:spPr>
          <p:txBody>
            <a:bodyPr vert="horz" lIns="0" tIns="0" rIns="0" bIns="0" rtlCol="0" anchor="b">
              <a:noAutofit/>
            </a:bodyPr>
            <a:lstStyle>
              <a:lvl1pPr indent="0">
                <a:lnSpc>
                  <a:spcPct val="90000"/>
                </a:lnSpc>
                <a:spcBef>
                  <a:spcPts val="0"/>
                </a:spcBef>
                <a:spcAft>
                  <a:spcPts val="0"/>
                </a:spcAft>
                <a:buFont typeface="Arial" panose="020B0604020202020204" pitchFamily="34" charset="0"/>
                <a:buNone/>
                <a:defRPr lang="en-US" b="1" noProof="0">
                  <a:solidFill>
                    <a:schemeClr val="tx2"/>
                  </a:solidFill>
                </a:defRPr>
              </a:lvl1pPr>
              <a:lvl2pPr marL="0" indent="0">
                <a:lnSpc>
                  <a:spcPct val="90000"/>
                </a:lnSpc>
                <a:spcBef>
                  <a:spcPts val="0"/>
                </a:spcBef>
                <a:spcAft>
                  <a:spcPts val="0"/>
                </a:spcAft>
                <a:buFont typeface="System Font Regular"/>
                <a:buNone/>
                <a:tabLst/>
                <a:defRPr b="1"/>
              </a:lvl2pPr>
              <a:lvl3pPr marL="0" indent="0">
                <a:lnSpc>
                  <a:spcPct val="90000"/>
                </a:lnSpc>
                <a:spcBef>
                  <a:spcPts val="0"/>
                </a:spcBef>
                <a:spcAft>
                  <a:spcPts val="0"/>
                </a:spcAft>
                <a:buFont typeface="System Font Regular"/>
                <a:buNone/>
                <a:tabLst/>
                <a:defRPr sz="1100"/>
              </a:lvl3pPr>
              <a:lvl4pPr marL="0" indent="0">
                <a:lnSpc>
                  <a:spcPct val="90000"/>
                </a:lnSpc>
                <a:spcBef>
                  <a:spcPts val="0"/>
                </a:spcBef>
                <a:spcAft>
                  <a:spcPts val="0"/>
                </a:spcAft>
                <a:buFont typeface="System Font Regular"/>
                <a:buNone/>
                <a:tabLst/>
                <a:defRPr sz="1100"/>
              </a:lvl4pPr>
              <a:lvl5pPr marL="0" indent="0">
                <a:lnSpc>
                  <a:spcPct val="90000"/>
                </a:lnSpc>
                <a:spcBef>
                  <a:spcPts val="0"/>
                </a:spcBef>
                <a:spcAft>
                  <a:spcPts val="0"/>
                </a:spcAft>
                <a:buFont typeface="System Font Regular"/>
                <a:buNone/>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algn="r" defTabSz="91440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544" b="1" i="1" u="none" strike="noStrike" kern="0" cap="none" spc="0" normalizeH="0" baseline="0" noProof="0" dirty="0">
                  <a:ln>
                    <a:noFill/>
                  </a:ln>
                  <a:solidFill>
                    <a:srgbClr val="E96E09"/>
                  </a:solidFill>
                  <a:effectLst/>
                  <a:uLnTx/>
                  <a:uFillTx/>
                  <a:latin typeface="Arial"/>
                </a:rPr>
                <a:t>… leverage</a:t>
              </a:r>
            </a:p>
          </p:txBody>
        </p:sp>
        <p:sp>
          <p:nvSpPr>
            <p:cNvPr id="38" name="Text Placeholder 9">
              <a:extLst>
                <a:ext uri="{FF2B5EF4-FFF2-40B4-BE49-F238E27FC236}">
                  <a16:creationId xmlns:a16="http://schemas.microsoft.com/office/drawing/2014/main" xmlns="" id="{19963890-4915-48FA-AA9C-1BB28F603BE9}"/>
                </a:ext>
              </a:extLst>
            </p:cNvPr>
            <p:cNvSpPr txBox="1">
              <a:spLocks/>
            </p:cNvSpPr>
            <p:nvPr/>
          </p:nvSpPr>
          <p:spPr>
            <a:xfrm>
              <a:off x="8310755" y="1008986"/>
              <a:ext cx="3697042" cy="213709"/>
            </a:xfrm>
            <a:prstGeom prst="rect">
              <a:avLst/>
            </a:prstGeom>
          </p:spPr>
          <p:txBody>
            <a:bodyPr vert="horz" lIns="0" tIns="0" rIns="0" bIns="0" rtlCol="0" anchor="b">
              <a:noAutofit/>
            </a:bodyPr>
            <a:lstStyle>
              <a:lvl1pPr indent="0">
                <a:lnSpc>
                  <a:spcPct val="90000"/>
                </a:lnSpc>
                <a:spcBef>
                  <a:spcPts val="0"/>
                </a:spcBef>
                <a:spcAft>
                  <a:spcPts val="0"/>
                </a:spcAft>
                <a:buFont typeface="Arial" panose="020B0604020202020204" pitchFamily="34" charset="0"/>
                <a:buNone/>
                <a:defRPr lang="en-US" b="1" noProof="0">
                  <a:solidFill>
                    <a:schemeClr val="tx2"/>
                  </a:solidFill>
                </a:defRPr>
              </a:lvl1pPr>
              <a:lvl2pPr marL="0" indent="0">
                <a:lnSpc>
                  <a:spcPct val="90000"/>
                </a:lnSpc>
                <a:spcBef>
                  <a:spcPts val="0"/>
                </a:spcBef>
                <a:spcAft>
                  <a:spcPts val="0"/>
                </a:spcAft>
                <a:buFont typeface="System Font Regular"/>
                <a:buNone/>
                <a:tabLst/>
                <a:defRPr b="1"/>
              </a:lvl2pPr>
              <a:lvl3pPr marL="0" indent="0">
                <a:lnSpc>
                  <a:spcPct val="90000"/>
                </a:lnSpc>
                <a:spcBef>
                  <a:spcPts val="0"/>
                </a:spcBef>
                <a:spcAft>
                  <a:spcPts val="0"/>
                </a:spcAft>
                <a:buFont typeface="System Font Regular"/>
                <a:buNone/>
                <a:tabLst/>
                <a:defRPr sz="1100"/>
              </a:lvl3pPr>
              <a:lvl4pPr marL="0" indent="0">
                <a:lnSpc>
                  <a:spcPct val="90000"/>
                </a:lnSpc>
                <a:spcBef>
                  <a:spcPts val="0"/>
                </a:spcBef>
                <a:spcAft>
                  <a:spcPts val="0"/>
                </a:spcAft>
                <a:buFont typeface="System Font Regular"/>
                <a:buNone/>
                <a:tabLst/>
                <a:defRPr sz="1100"/>
              </a:lvl4pPr>
              <a:lvl5pPr marL="0" indent="0">
                <a:lnSpc>
                  <a:spcPct val="90000"/>
                </a:lnSpc>
                <a:spcBef>
                  <a:spcPts val="0"/>
                </a:spcBef>
                <a:spcAft>
                  <a:spcPts val="0"/>
                </a:spcAft>
                <a:buFont typeface="System Font Regular"/>
                <a:buNone/>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algn="r" defTabSz="91440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544" b="1" i="1" u="none" strike="noStrike" kern="0" cap="none" spc="0" normalizeH="0" baseline="0" noProof="0">
                  <a:ln>
                    <a:noFill/>
                  </a:ln>
                  <a:solidFill>
                    <a:srgbClr val="E96E09"/>
                  </a:solidFill>
                  <a:effectLst/>
                  <a:uLnTx/>
                  <a:uFillTx/>
                  <a:latin typeface="Arial"/>
                </a:rPr>
                <a:t>… identify / fix / isolate</a:t>
              </a:r>
            </a:p>
          </p:txBody>
        </p:sp>
        <p:sp>
          <p:nvSpPr>
            <p:cNvPr id="39" name="Text Placeholder 9">
              <a:extLst>
                <a:ext uri="{FF2B5EF4-FFF2-40B4-BE49-F238E27FC236}">
                  <a16:creationId xmlns:a16="http://schemas.microsoft.com/office/drawing/2014/main" xmlns="" id="{49825934-FE8A-4363-96AC-520752B2AA60}"/>
                </a:ext>
              </a:extLst>
            </p:cNvPr>
            <p:cNvSpPr txBox="1">
              <a:spLocks/>
            </p:cNvSpPr>
            <p:nvPr/>
          </p:nvSpPr>
          <p:spPr>
            <a:xfrm>
              <a:off x="3651482" y="3717925"/>
              <a:ext cx="3697042" cy="213709"/>
            </a:xfrm>
            <a:prstGeom prst="rect">
              <a:avLst/>
            </a:prstGeom>
          </p:spPr>
          <p:txBody>
            <a:bodyPr vert="horz" lIns="0" tIns="0" rIns="0" bIns="0" rtlCol="0" anchor="b">
              <a:noAutofit/>
            </a:bodyPr>
            <a:lstStyle>
              <a:lvl1pPr indent="0">
                <a:lnSpc>
                  <a:spcPct val="90000"/>
                </a:lnSpc>
                <a:spcBef>
                  <a:spcPts val="0"/>
                </a:spcBef>
                <a:spcAft>
                  <a:spcPts val="0"/>
                </a:spcAft>
                <a:buFont typeface="Arial" panose="020B0604020202020204" pitchFamily="34" charset="0"/>
                <a:buNone/>
                <a:defRPr lang="en-US" b="1" noProof="0">
                  <a:solidFill>
                    <a:schemeClr val="tx2"/>
                  </a:solidFill>
                </a:defRPr>
              </a:lvl1pPr>
              <a:lvl2pPr marL="0" indent="0">
                <a:lnSpc>
                  <a:spcPct val="90000"/>
                </a:lnSpc>
                <a:spcBef>
                  <a:spcPts val="0"/>
                </a:spcBef>
                <a:spcAft>
                  <a:spcPts val="0"/>
                </a:spcAft>
                <a:buFont typeface="System Font Regular"/>
                <a:buNone/>
                <a:tabLst/>
                <a:defRPr b="1"/>
              </a:lvl2pPr>
              <a:lvl3pPr marL="0" indent="0">
                <a:lnSpc>
                  <a:spcPct val="90000"/>
                </a:lnSpc>
                <a:spcBef>
                  <a:spcPts val="0"/>
                </a:spcBef>
                <a:spcAft>
                  <a:spcPts val="0"/>
                </a:spcAft>
                <a:buFont typeface="System Font Regular"/>
                <a:buNone/>
                <a:tabLst/>
                <a:defRPr sz="1100"/>
              </a:lvl3pPr>
              <a:lvl4pPr marL="0" indent="0">
                <a:lnSpc>
                  <a:spcPct val="90000"/>
                </a:lnSpc>
                <a:spcBef>
                  <a:spcPts val="0"/>
                </a:spcBef>
                <a:spcAft>
                  <a:spcPts val="0"/>
                </a:spcAft>
                <a:buFont typeface="System Font Regular"/>
                <a:buNone/>
                <a:tabLst/>
                <a:defRPr sz="1100"/>
              </a:lvl4pPr>
              <a:lvl5pPr marL="0" indent="0">
                <a:lnSpc>
                  <a:spcPct val="90000"/>
                </a:lnSpc>
                <a:spcBef>
                  <a:spcPts val="0"/>
                </a:spcBef>
                <a:spcAft>
                  <a:spcPts val="0"/>
                </a:spcAft>
                <a:buFont typeface="System Font Regular"/>
                <a:buNone/>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algn="r" defTabSz="914400" eaLnBrk="1" fontAlgn="auto" latinLnBrk="0" hangingPunct="1">
                <a:lnSpc>
                  <a:spcPct val="90000"/>
                </a:lnSpc>
                <a:spcBef>
                  <a:spcPts val="0"/>
                </a:spcBef>
                <a:spcAft>
                  <a:spcPts val="0"/>
                </a:spcAft>
                <a:buClrTx/>
                <a:buSzTx/>
                <a:buFont typeface="Arial" panose="020B0604020202020204" pitchFamily="34" charset="0"/>
                <a:buNone/>
                <a:tabLst>
                  <a:tab pos="3497263" algn="r"/>
                </a:tabLst>
                <a:defRPr/>
              </a:pPr>
              <a:r>
                <a:rPr kumimoji="0" lang="en-GB" sz="1544" b="1" i="1" u="none" strike="noStrike" kern="0" cap="none" spc="0" normalizeH="0" baseline="0" noProof="0">
                  <a:ln>
                    <a:noFill/>
                  </a:ln>
                  <a:solidFill>
                    <a:srgbClr val="E96E09"/>
                  </a:solidFill>
                  <a:effectLst/>
                  <a:uLnTx/>
                  <a:uFillTx/>
                  <a:latin typeface="Arial"/>
                </a:rPr>
                <a:t>… capitalise</a:t>
              </a:r>
            </a:p>
          </p:txBody>
        </p:sp>
        <p:sp>
          <p:nvSpPr>
            <p:cNvPr id="40" name="Text Placeholder 9">
              <a:extLst>
                <a:ext uri="{FF2B5EF4-FFF2-40B4-BE49-F238E27FC236}">
                  <a16:creationId xmlns:a16="http://schemas.microsoft.com/office/drawing/2014/main" xmlns="" id="{CB1F4839-37F0-4E03-9896-90BF16C576DB}"/>
                </a:ext>
              </a:extLst>
            </p:cNvPr>
            <p:cNvSpPr txBox="1">
              <a:spLocks/>
            </p:cNvSpPr>
            <p:nvPr/>
          </p:nvSpPr>
          <p:spPr>
            <a:xfrm>
              <a:off x="8340021" y="3717925"/>
              <a:ext cx="3697042" cy="213709"/>
            </a:xfrm>
            <a:prstGeom prst="rect">
              <a:avLst/>
            </a:prstGeom>
          </p:spPr>
          <p:txBody>
            <a:bodyPr vert="horz" lIns="0" tIns="0" rIns="0" bIns="0" rtlCol="0" anchor="b">
              <a:noAutofit/>
            </a:bodyPr>
            <a:lstStyle>
              <a:lvl1pPr indent="0">
                <a:lnSpc>
                  <a:spcPct val="90000"/>
                </a:lnSpc>
                <a:spcBef>
                  <a:spcPts val="0"/>
                </a:spcBef>
                <a:spcAft>
                  <a:spcPts val="0"/>
                </a:spcAft>
                <a:buFont typeface="Arial" panose="020B0604020202020204" pitchFamily="34" charset="0"/>
                <a:buNone/>
                <a:defRPr lang="en-US" b="1" noProof="0">
                  <a:solidFill>
                    <a:schemeClr val="tx2"/>
                  </a:solidFill>
                </a:defRPr>
              </a:lvl1pPr>
              <a:lvl2pPr marL="0" indent="0">
                <a:lnSpc>
                  <a:spcPct val="90000"/>
                </a:lnSpc>
                <a:spcBef>
                  <a:spcPts val="0"/>
                </a:spcBef>
                <a:spcAft>
                  <a:spcPts val="0"/>
                </a:spcAft>
                <a:buFont typeface="System Font Regular"/>
                <a:buNone/>
                <a:tabLst/>
                <a:defRPr b="1"/>
              </a:lvl2pPr>
              <a:lvl3pPr marL="0" indent="0">
                <a:lnSpc>
                  <a:spcPct val="90000"/>
                </a:lnSpc>
                <a:spcBef>
                  <a:spcPts val="0"/>
                </a:spcBef>
                <a:spcAft>
                  <a:spcPts val="0"/>
                </a:spcAft>
                <a:buFont typeface="System Font Regular"/>
                <a:buNone/>
                <a:tabLst/>
                <a:defRPr sz="1100"/>
              </a:lvl3pPr>
              <a:lvl4pPr marL="0" indent="0">
                <a:lnSpc>
                  <a:spcPct val="90000"/>
                </a:lnSpc>
                <a:spcBef>
                  <a:spcPts val="0"/>
                </a:spcBef>
                <a:spcAft>
                  <a:spcPts val="0"/>
                </a:spcAft>
                <a:buFont typeface="System Font Regular"/>
                <a:buNone/>
                <a:tabLst/>
                <a:defRPr sz="1100"/>
              </a:lvl4pPr>
              <a:lvl5pPr marL="0" indent="0">
                <a:lnSpc>
                  <a:spcPct val="90000"/>
                </a:lnSpc>
                <a:spcBef>
                  <a:spcPts val="0"/>
                </a:spcBef>
                <a:spcAft>
                  <a:spcPts val="0"/>
                </a:spcAft>
                <a:buFont typeface="System Font Regular"/>
                <a:buNone/>
                <a:tabLst/>
                <a:defRPr sz="1100"/>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algn="r" defTabSz="91440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1544" b="1" i="1" u="none" strike="noStrike" kern="0" cap="none" spc="0" normalizeH="0" baseline="0" noProof="0">
                  <a:ln>
                    <a:noFill/>
                  </a:ln>
                  <a:solidFill>
                    <a:srgbClr val="E96E09"/>
                  </a:solidFill>
                  <a:effectLst/>
                  <a:uLnTx/>
                  <a:uFillTx/>
                  <a:latin typeface="Arial"/>
                </a:rPr>
                <a:t>… mitigate</a:t>
              </a:r>
            </a:p>
          </p:txBody>
        </p:sp>
      </p:grpSp>
      <p:sp>
        <p:nvSpPr>
          <p:cNvPr id="41" name="Title 6">
            <a:extLst>
              <a:ext uri="{FF2B5EF4-FFF2-40B4-BE49-F238E27FC236}">
                <a16:creationId xmlns:a16="http://schemas.microsoft.com/office/drawing/2014/main" xmlns="" id="{4B31EF36-941A-4317-B1E4-F3B27F610BFB}"/>
              </a:ext>
            </a:extLst>
          </p:cNvPr>
          <p:cNvSpPr txBox="1">
            <a:spLocks/>
          </p:cNvSpPr>
          <p:nvPr/>
        </p:nvSpPr>
        <p:spPr>
          <a:xfrm>
            <a:off x="346075" y="404813"/>
            <a:ext cx="2373313" cy="3988784"/>
          </a:xfrm>
          <a:prstGeom prst="rect">
            <a:avLst/>
          </a:prstGeom>
          <a:noFill/>
          <a:ln w="6350">
            <a:noFill/>
            <a:miter lim="800000"/>
          </a:ln>
        </p:spPr>
        <p:txBody>
          <a:bodyPr vert="horz" wrap="square" lIns="0" tIns="0" rIns="0" bIns="0" rtlCol="0" anchor="t" anchorCtr="0">
            <a:spAutoFit/>
          </a:bodyPr>
          <a:lstStyle>
            <a:lvl1pPr marL="0" indent="0" algn="l" defTabSz="1263792" rtl="0" eaLnBrk="1" latinLnBrk="0" hangingPunct="1">
              <a:lnSpc>
                <a:spcPct val="90000"/>
              </a:lnSpc>
              <a:spcBef>
                <a:spcPct val="0"/>
              </a:spcBef>
              <a:buNone/>
              <a:defRPr sz="2400" b="1" kern="1200" baseline="0">
                <a:solidFill>
                  <a:schemeClr val="accent1"/>
                </a:solidFill>
                <a:latin typeface="Arial" pitchFamily="34" charset="0"/>
                <a:ea typeface="+mj-ea"/>
                <a:cs typeface="Arial" pitchFamily="34" charset="0"/>
              </a:defRPr>
            </a:lvl1pPr>
          </a:lstStyle>
          <a:p>
            <a:pPr marL="0" marR="0" lvl="0" indent="0" algn="l" defTabSz="1263792"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0061B2"/>
                </a:solidFill>
                <a:effectLst/>
                <a:uLnTx/>
                <a:uFillTx/>
                <a:latin typeface="Arial" pitchFamily="34" charset="0"/>
                <a:ea typeface="+mj-ea"/>
                <a:cs typeface="Arial" pitchFamily="34" charset="0"/>
              </a:rPr>
              <a:t>Against this backdrop of external perspectives, there are several strengths, weaknesses, opportunities and threats for CEF SOC to be mindful of</a:t>
            </a:r>
            <a:endParaRPr kumimoji="0" lang="en-GB" sz="2400" b="1" i="0" u="none" strike="noStrike" kern="1200" cap="none" spc="0" normalizeH="0" baseline="0" noProof="0" dirty="0">
              <a:ln>
                <a:noFill/>
              </a:ln>
              <a:solidFill>
                <a:srgbClr val="0061B2"/>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xmlns="" val="1237983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F667033A-4247-4ED4-8A21-2B1E2D674746}" type="slidenum">
              <a:rPr lang="en-ZA" smtClean="0"/>
              <a:pPr/>
              <a:t>9</a:t>
            </a:fld>
            <a:endParaRPr lang="en-ZA" dirty="0"/>
          </a:p>
        </p:txBody>
      </p:sp>
      <p:sp>
        <p:nvSpPr>
          <p:cNvPr id="3" name="TextBox 2"/>
          <p:cNvSpPr txBox="1"/>
          <p:nvPr/>
        </p:nvSpPr>
        <p:spPr>
          <a:xfrm>
            <a:off x="367393" y="873578"/>
            <a:ext cx="11715750" cy="3785652"/>
          </a:xfrm>
          <a:prstGeom prst="rect">
            <a:avLst/>
          </a:prstGeom>
          <a:noFill/>
        </p:spPr>
        <p:txBody>
          <a:bodyPr wrap="square" rtlCol="0">
            <a:spAutoFit/>
          </a:bodyPr>
          <a:lstStyle>
            <a:defPPr>
              <a:defRPr lang="en-US"/>
            </a:defPPr>
            <a:lvl1pPr algn="ctr" defTabSz="914362" fontAlgn="auto">
              <a:spcAft>
                <a:spcPts val="0"/>
              </a:spcAft>
              <a:defRPr sz="8000" b="1">
                <a:solidFill>
                  <a:srgbClr val="4F81BD"/>
                </a:solidFill>
                <a:effectLst>
                  <a:outerShdw blurRad="38100" dist="38100" dir="2700000" algn="tl">
                    <a:srgbClr val="000000">
                      <a:alpha val="43137"/>
                    </a:srgbClr>
                  </a:outerShdw>
                </a:effectLst>
                <a:latin typeface="Eras Bold ITC" panose="020B0907030504020204" pitchFamily="34" charset="0"/>
                <a:ea typeface="Verdana" panose="020B0604030504040204" pitchFamily="34" charset="0"/>
                <a:cs typeface="+mj-cs"/>
              </a:defRPr>
            </a:lvl1pPr>
          </a:lstStyle>
          <a:p>
            <a:r>
              <a:rPr lang="en-US" dirty="0"/>
              <a:t>CEF Group Strategic Response &amp;  </a:t>
            </a:r>
          </a:p>
          <a:p>
            <a:r>
              <a:rPr lang="en-US" dirty="0"/>
              <a:t>corporate planning</a:t>
            </a:r>
            <a:endParaRPr lang="en-ZA" dirty="0"/>
          </a:p>
        </p:txBody>
      </p:sp>
    </p:spTree>
    <p:extLst>
      <p:ext uri="{BB962C8B-B14F-4D97-AF65-F5344CB8AC3E}">
        <p14:creationId xmlns:p14="http://schemas.microsoft.com/office/powerpoint/2010/main" xmlns="" val="666104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eiAtTpSFINzzsHm8t6Q6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k7hjQSdf.R51yf.hKAP6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XSsT3SdoQLSXBQbxnBf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kxYk1Z7bcXh5hhvStd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cj.jGW0G_PecbpqiK9v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1SI9MNyKE8MMFC0H1Sq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JJv1AiBO.OM9XUNrGij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Vc5gRmXt0NVH6E7O0Sc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7OD3QGjXH.YqW2_rNPH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c2Zd._r4.mDfBvgNNWW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VH.yQOaht5FI8owY0wm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eiAtTpSFINzzsHm8t6Q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PHJ2VI2j0VbCBgZoLg_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1d70f3ivxgwAK6b.P7c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gIF3OMEqxR91yRj3bDi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dAOewrfDLvsItfRGall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uD6zGMnEJQdCPy7PjXH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GHnfSBKZPEP6rxQaAJQ"/>
</p:tagLst>
</file>

<file path=ppt/theme/theme1.xml><?xml version="1.0" encoding="utf-8"?>
<a:theme xmlns:a="http://schemas.openxmlformats.org/drawingml/2006/main" name="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8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Impumelelo Yethu Color">
    <a:dk1>
      <a:srgbClr val="000000"/>
    </a:dk1>
    <a:lt1>
      <a:srgbClr val="FFFFFF"/>
    </a:lt1>
    <a:dk2>
      <a:srgbClr val="7F7F7F"/>
    </a:dk2>
    <a:lt2>
      <a:srgbClr val="F2F2F2"/>
    </a:lt2>
    <a:accent1>
      <a:srgbClr val="D64241"/>
    </a:accent1>
    <a:accent2>
      <a:srgbClr val="8C3438"/>
    </a:accent2>
    <a:accent3>
      <a:srgbClr val="F1753E"/>
    </a:accent3>
    <a:accent4>
      <a:srgbClr val="EEB61E"/>
    </a:accent4>
    <a:accent5>
      <a:srgbClr val="F3A53F"/>
    </a:accent5>
    <a:accent6>
      <a:srgbClr val="ADADAD"/>
    </a:accent6>
    <a:hlink>
      <a:srgbClr val="F3A53F"/>
    </a:hlink>
    <a:folHlink>
      <a:srgbClr val="D6424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PresentationLoad</Template>
  <TotalTime>53917</TotalTime>
  <Words>5680</Words>
  <Application>Microsoft Office PowerPoint</Application>
  <PresentationFormat>Custom</PresentationFormat>
  <Paragraphs>982</Paragraphs>
  <Slides>38</Slides>
  <Notes>2</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38</vt:i4>
      </vt:variant>
    </vt:vector>
  </HeadingPairs>
  <TitlesOfParts>
    <vt:vector size="48" baseType="lpstr">
      <vt:lpstr>PresentationLoad</vt:lpstr>
      <vt:lpstr>Office Theme</vt:lpstr>
      <vt:lpstr>1_PresentationLoad</vt:lpstr>
      <vt:lpstr>2_PresentationLoad</vt:lpstr>
      <vt:lpstr>3_PresentationLoad</vt:lpstr>
      <vt:lpstr>4_PresentationLoad</vt:lpstr>
      <vt:lpstr>5_PresentationLoad</vt:lpstr>
      <vt:lpstr>8_PresentationLoad</vt:lpstr>
      <vt:lpstr>6_PresentationLoad</vt:lpstr>
      <vt:lpstr>think-cell Slide</vt:lpstr>
      <vt:lpstr>Briefing by the CEF Group on their Annual Performance Plans for 2021/22. Presentation to the Portfolio Committee on Mineral Resources and Energy </vt:lpstr>
      <vt:lpstr>Table of Content</vt:lpstr>
      <vt:lpstr>Slide 3</vt:lpstr>
      <vt:lpstr>CEF Group Vision &amp; Mission</vt:lpstr>
      <vt:lpstr>Operating Environment</vt:lpstr>
      <vt:lpstr>Global Mega Trends influencing the Corporate Plan </vt:lpstr>
      <vt:lpstr>Local Outlook</vt:lpstr>
      <vt:lpstr>Slide 8</vt:lpstr>
      <vt:lpstr>Slide 9</vt:lpstr>
      <vt:lpstr>CEF Group Strategic Trajectory &amp; Corporate Plan Overview FY20/21-FY24/25</vt:lpstr>
      <vt:lpstr>Macro-economic assumptions</vt:lpstr>
      <vt:lpstr>Slide 12</vt:lpstr>
      <vt:lpstr>Slide 13</vt:lpstr>
      <vt:lpstr>Slide 14</vt:lpstr>
      <vt:lpstr>Statement of Profit/ (Loss)</vt:lpstr>
      <vt:lpstr>Statement of Profit/Loss for 2021/22 by company</vt:lpstr>
      <vt:lpstr>Statement of financial position</vt:lpstr>
      <vt:lpstr>Statement of Cash flow</vt:lpstr>
      <vt:lpstr>Cash Flow Statement Notes</vt:lpstr>
      <vt:lpstr>Slide 20</vt:lpstr>
      <vt:lpstr>Slide 21</vt:lpstr>
      <vt:lpstr>Executive Summary of Group Top Risks</vt:lpstr>
      <vt:lpstr>Risks Mitigation Initiatives </vt:lpstr>
      <vt:lpstr>Slide 24</vt:lpstr>
      <vt:lpstr>Slide 25</vt:lpstr>
      <vt:lpstr>Profitability at 31 December 2021 by company</vt:lpstr>
      <vt:lpstr>Cashflows at 31 December 2021</vt:lpstr>
      <vt:lpstr>Commitments</vt:lpstr>
      <vt:lpstr>Strategic Approach to addressing PetroSA Commercial sustainability</vt:lpstr>
      <vt:lpstr>PetroSA Turnaround Programme</vt:lpstr>
      <vt:lpstr>Progress to Date in Stabilising PetroSA</vt:lpstr>
      <vt:lpstr>Key Takeaways on recent Business Performance</vt:lpstr>
      <vt:lpstr>Thank You</vt:lpstr>
      <vt:lpstr>Slide 34</vt:lpstr>
      <vt:lpstr>Slide 35</vt:lpstr>
      <vt:lpstr>Slide 36</vt:lpstr>
      <vt:lpstr>Slide 37</vt:lpstr>
      <vt:lpstr>Slide 3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Sakhiwo.Makhanya</dc:creator>
  <dc:description>PresentationLoad.com</dc:description>
  <cp:lastModifiedBy>USER</cp:lastModifiedBy>
  <cp:revision>3033</cp:revision>
  <cp:lastPrinted>2022-02-16T07:46:52Z</cp:lastPrinted>
  <dcterms:created xsi:type="dcterms:W3CDTF">2007-11-27T23:54:21Z</dcterms:created>
  <dcterms:modified xsi:type="dcterms:W3CDTF">2022-02-23T17:49:32Z</dcterms:modified>
</cp:coreProperties>
</file>